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55" r:id="rId1"/>
  </p:sldMasterIdLst>
  <p:notesMasterIdLst>
    <p:notesMasterId r:id="rId15"/>
  </p:notesMasterIdLst>
  <p:handoutMasterIdLst>
    <p:handoutMasterId r:id="rId16"/>
  </p:handoutMasterIdLst>
  <p:sldIdLst>
    <p:sldId id="281" r:id="rId2"/>
    <p:sldId id="257" r:id="rId3"/>
    <p:sldId id="258" r:id="rId4"/>
    <p:sldId id="260" r:id="rId5"/>
    <p:sldId id="283" r:id="rId6"/>
    <p:sldId id="286" r:id="rId7"/>
    <p:sldId id="266" r:id="rId8"/>
    <p:sldId id="267" r:id="rId9"/>
    <p:sldId id="282" r:id="rId10"/>
    <p:sldId id="259" r:id="rId11"/>
    <p:sldId id="287" r:id="rId12"/>
    <p:sldId id="284" r:id="rId13"/>
    <p:sldId id="285" r:id="rId14"/>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3FED9AA-6A97-45FF-BCF1-DBD9CFBE798F}">
          <p14:sldIdLst>
            <p14:sldId id="281"/>
            <p14:sldId id="257"/>
          </p14:sldIdLst>
        </p14:section>
        <p14:section name="Section 1" id="{2A7242DC-929E-4579-8F10-2B02EF80F144}">
          <p14:sldIdLst>
            <p14:sldId id="258"/>
            <p14:sldId id="260"/>
            <p14:sldId id="283"/>
            <p14:sldId id="286"/>
            <p14:sldId id="266"/>
            <p14:sldId id="267"/>
          </p14:sldIdLst>
        </p14:section>
        <p14:section name="Section 2" id="{166B4E13-456F-4DE7-8043-47B198AC9D32}">
          <p14:sldIdLst>
            <p14:sldId id="282"/>
            <p14:sldId id="259"/>
            <p14:sldId id="287"/>
            <p14:sldId id="284"/>
            <p14:sldId id="28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AF1F"/>
    <a:srgbClr val="0A5F74"/>
    <a:srgbClr val="EBBADB"/>
    <a:srgbClr val="C57C86"/>
    <a:srgbClr val="F08310"/>
    <a:srgbClr val="EB511C"/>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Level up! PowerPoint">
    <a:wholeTbl>
      <a:tcTxStyle>
        <a:fontRef idx="minor">
          <a:scrgbClr r="0" g="0" b="0"/>
        </a:fontRef>
        <a:schemeClr val="tx1"/>
      </a:tcTxStyle>
      <a:tcStyle>
        <a:tcBdr>
          <a:left>
            <a:ln>
              <a:noFill/>
            </a:ln>
          </a:left>
          <a:right>
            <a:ln>
              <a:noFill/>
            </a:ln>
          </a:right>
          <a:top>
            <a:ln>
              <a:noFill/>
            </a:ln>
          </a:top>
          <a:bottom>
            <a:ln w="9525" cap="flat" cmpd="sng" algn="ctr">
              <a:solidFill>
                <a:schemeClr val="accent5"/>
              </a:solidFill>
            </a:ln>
          </a:bottom>
          <a:insideH>
            <a:ln w="9525" cap="flat" cmpd="sng" algn="ctr">
              <a:solidFill>
                <a:schemeClr val="accent5"/>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638" autoAdjust="0"/>
    <p:restoredTop sz="94660"/>
  </p:normalViewPr>
  <p:slideViewPr>
    <p:cSldViewPr snapToGrid="0" showGuides="1">
      <p:cViewPr varScale="1">
        <p:scale>
          <a:sx n="73" d="100"/>
          <a:sy n="73" d="100"/>
        </p:scale>
        <p:origin x="606" y="84"/>
      </p:cViewPr>
      <p:guideLst/>
    </p:cSldViewPr>
  </p:slideViewPr>
  <p:notesTextViewPr>
    <p:cViewPr>
      <p:scale>
        <a:sx n="1" d="1"/>
        <a:sy n="1" d="1"/>
      </p:scale>
      <p:origin x="0" y="0"/>
    </p:cViewPr>
  </p:notesTextViewPr>
  <p:notesViewPr>
    <p:cSldViewPr snapToGrid="0" showGuides="1">
      <p:cViewPr varScale="1">
        <p:scale>
          <a:sx n="80" d="100"/>
          <a:sy n="80" d="100"/>
        </p:scale>
        <p:origin x="2910"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numCol="1" rtlCol="0"/>
          <a:lstStyle>
            <a:lvl1pPr algn="r">
              <a:defRPr sz="1200"/>
            </a:lvl1pPr>
          </a:lstStyle>
          <a:p>
            <a:fld id="{0E12572B-F973-4732-A453-119EA490170A}" type="datetimeFigureOut">
              <a:rPr lang="en-US" smtClean="0"/>
              <a:t>7/8/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8BB83C12-F094-4EDD-ABDC-7BADBDED5742}" type="slidenum">
              <a:rPr lang="en-US" smtClean="0"/>
              <a:t>‹#›</a:t>
            </a:fld>
            <a:endParaRPr lang="en-US"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numCol="1" rtlCol="0"/>
          <a:lstStyle>
            <a:lvl1pPr algn="r">
              <a:defRPr sz="1200"/>
            </a:lvl1pPr>
          </a:lstStyle>
          <a:p>
            <a:fld id="{3A8927E5-BED3-44D0-9ADF-FA873E1D6DAF}" type="datetimeFigureOut">
              <a:rPr lang="en-US" smtClean="0"/>
              <a:t>7/8/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numCol="1" rtlCol="0" anchor="ctr"/>
          <a:lstStyle/>
          <a:p>
            <a:endParaRPr lang="en-GB" alt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numCol="1"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7324DA73-AE27-4433-BD53-3E1DB61918F0}" type="slidenum">
              <a:rPr lang="en-US" smtClean="0"/>
              <a:t>‹#›</a:t>
            </a:fld>
            <a:endParaRPr lang="en-US"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en-US" dirty="0"/>
          </a:p>
        </p:txBody>
      </p:sp>
      <p:sp>
        <p:nvSpPr>
          <p:cNvPr id="4" name="Slide Number Placeholder 3"/>
          <p:cNvSpPr>
            <a:spLocks noGrp="1"/>
          </p:cNvSpPr>
          <p:nvPr>
            <p:ph type="sldNum" sz="quarter" idx="10"/>
          </p:nvPr>
        </p:nvSpPr>
        <p:spPr/>
        <p:txBody>
          <a:bodyPr numCol="1"/>
          <a:lstStyle/>
          <a:p>
            <a:fld id="{7324DA73-AE27-4433-BD53-3E1DB61918F0}" type="slidenum">
              <a:rPr lang="en-US" smtClean="0"/>
              <a:t>1</a:t>
            </a:fld>
            <a:endParaRPr lang="en-US" dirty="0"/>
          </a:p>
        </p:txBody>
      </p:sp>
    </p:spTree>
    <p:extLst>
      <p:ext uri="{BB962C8B-B14F-4D97-AF65-F5344CB8AC3E}">
        <p14:creationId xmlns:p14="http://schemas.microsoft.com/office/powerpoint/2010/main" val="16370483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6</a:t>
            </a:fld>
            <a:endParaRPr lang="de-DE" altLang="de-DE" dirty="0"/>
          </a:p>
        </p:txBody>
      </p:sp>
    </p:spTree>
    <p:extLst>
      <p:ext uri="{BB962C8B-B14F-4D97-AF65-F5344CB8AC3E}">
        <p14:creationId xmlns:p14="http://schemas.microsoft.com/office/powerpoint/2010/main" val="8254310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endParaRPr lang="de-DE" altLang="de-DE" dirty="0"/>
          </a:p>
        </p:txBody>
      </p:sp>
      <p:sp>
        <p:nvSpPr>
          <p:cNvPr id="4" name="Slide Number Placeholder 3"/>
          <p:cNvSpPr>
            <a:spLocks noGrp="1"/>
          </p:cNvSpPr>
          <p:nvPr>
            <p:ph type="sldNum" sz="quarter" idx="10"/>
          </p:nvPr>
        </p:nvSpPr>
        <p:spPr/>
        <p:txBody>
          <a:bodyPr numCol="1"/>
          <a:lstStyle/>
          <a:p>
            <a:fld id="{B0AD530B-8EC8-4709-B322-33BDFA1ED3DA}" type="slidenum">
              <a:rPr lang="de-DE" altLang="de-DE" smtClean="0"/>
              <a:t>7</a:t>
            </a:fld>
            <a:endParaRPr lang="de-DE" altLang="de-DE" dirty="0"/>
          </a:p>
        </p:txBody>
      </p:sp>
    </p:spTree>
    <p:extLst>
      <p:ext uri="{BB962C8B-B14F-4D97-AF65-F5344CB8AC3E}">
        <p14:creationId xmlns:p14="http://schemas.microsoft.com/office/powerpoint/2010/main" val="34093484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6210942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868680" y="384048"/>
            <a:ext cx="10744200" cy="866648"/>
          </a:xfrm>
          <a:prstGeom prst="rect">
            <a:avLst/>
          </a:prstGeom>
        </p:spPr>
        <p:txBody>
          <a:bodyPr numCol="1"/>
          <a:lstStyle/>
          <a:p>
            <a:r>
              <a:rPr lang="en-US" dirty="0"/>
              <a:t>Click to edit Master title style</a:t>
            </a:r>
            <a:endParaRPr lang="en-GB" altLang="en-GB" dirty="0"/>
          </a:p>
        </p:txBody>
      </p:sp>
      <p:sp>
        <p:nvSpPr>
          <p:cNvPr id="3" name="Content"/>
          <p:cNvSpPr>
            <a:spLocks noGrp="1"/>
          </p:cNvSpPr>
          <p:nvPr>
            <p:ph idx="11"/>
          </p:nvPr>
        </p:nvSpPr>
        <p:spPr>
          <a:xfrm>
            <a:off x="868680" y="1399032"/>
            <a:ext cx="10744200" cy="4928616"/>
          </a:xfrm>
          <a:prstGeom prst="rect">
            <a:avLst/>
          </a:prstGeom>
        </p:spPr>
        <p:txBody>
          <a:bodyPr numCol="1"/>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ltLang="en-GB" dirty="0"/>
          </a:p>
        </p:txBody>
      </p:sp>
    </p:spTree>
    <p:custDataLst>
      <p:tags r:id="rId1"/>
    </p:custDataLst>
    <p:extLst>
      <p:ext uri="{BB962C8B-B14F-4D97-AF65-F5344CB8AC3E}">
        <p14:creationId xmlns:p14="http://schemas.microsoft.com/office/powerpoint/2010/main" val="71331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heme" Target="../theme/theme1.xml"/><Relationship Id="rId7"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10" Type="http://schemas.openxmlformats.org/officeDocument/2006/relationships/image" Target="../media/image2.png"/><Relationship Id="rId4" Type="http://schemas.openxmlformats.org/officeDocument/2006/relationships/vmlDrawing" Target="../drawings/vmlDrawing1.v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DD2037D5-9F9A-4CC9-98B0-68BDD36B02F8}"/>
              </a:ext>
            </a:extLst>
          </p:cNvPr>
          <p:cNvGraphicFramePr>
            <a:graphicFrameLocks noChangeAspect="1"/>
          </p:cNvGraphicFramePr>
          <p:nvPr userDrawn="1">
            <p:custDataLst>
              <p:tags r:id="rId6"/>
            </p:custDataLst>
            <p:extLst>
              <p:ext uri="{D42A27DB-BD31-4B8C-83A1-F6EECF244321}">
                <p14:modId xmlns:p14="http://schemas.microsoft.com/office/powerpoint/2010/main" val="3250551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3" name="think-cell Slide" r:id="rId8" imgW="451" imgH="450" progId="TCLayout.ActiveDocument.1">
                  <p:embed/>
                </p:oleObj>
              </mc:Choice>
              <mc:Fallback>
                <p:oleObj name="think-cell Slide" r:id="rId8" imgW="451" imgH="450"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 xmlns:a16="http://schemas.microsoft.com/office/drawing/2014/main" id="{6E612F5A-FB47-481F-9DE2-4A75D564380A}"/>
              </a:ext>
            </a:extLst>
          </p:cNvPr>
          <p:cNvSpPr/>
          <p:nvPr userDrawn="1">
            <p:custDataLst>
              <p:tags r:id="rId7"/>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numCol="1" rtlCol="0" anchorCtr="0">
            <a:noAutofit/>
          </a:bodyPr>
          <a:lstStyle/>
          <a:p>
            <a:r>
              <a:rPr lang="en-US" dirty="0"/>
              <a:t>Click to edit Master title style</a:t>
            </a:r>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numCol="1"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numCol="1" rtlCol="0" anchor="ctr"/>
          <a:lstStyle>
            <a:lvl1pPr algn="l">
              <a:defRPr sz="300">
                <a:solidFill>
                  <a:schemeClr val="accent4"/>
                </a:solidFill>
              </a:defRPr>
            </a:lvl1pPr>
          </a:lstStyle>
          <a:p>
            <a:fld id="{7ECE2914-4E17-487A-A4E5-C87617449E51}" type="datetimeFigureOut">
              <a:rPr lang="en-US" smtClean="0"/>
              <a:pPr/>
              <a:t>7/8/2023</a:t>
            </a:fld>
            <a:endParaRPr lang="en-US" dirty="0"/>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numCol="1" rtlCol="0" anchor="ctr"/>
          <a:lstStyle>
            <a:lvl1pPr algn="ctr">
              <a:defRPr sz="300">
                <a:solidFill>
                  <a:schemeClr val="accent4"/>
                </a:solidFill>
              </a:defRPr>
            </a:lvl1pPr>
          </a:lstStyle>
          <a:p>
            <a:endParaRPr lang="en-US" dirty="0"/>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numCol="1" rtlCol="0" anchor="ctr"/>
          <a:lstStyle>
            <a:lvl1pPr algn="r">
              <a:defRPr sz="300">
                <a:solidFill>
                  <a:schemeClr val="accent4"/>
                </a:solidFill>
              </a:defRPr>
            </a:lvl1pPr>
          </a:lstStyle>
          <a:p>
            <a:fld id="{8F63CC74-D785-4C96-8C6E-EB177D1B9A1D}" type="slidenum">
              <a:rPr lang="en-US" smtClean="0"/>
              <a:pPr/>
              <a:t>‹#›</a:t>
            </a:fld>
            <a:endParaRPr lang="en-US" dirty="0"/>
          </a:p>
        </p:txBody>
      </p:sp>
      <p:pic>
        <p:nvPicPr>
          <p:cNvPr id="15" name="Picture 14">
            <a:extLst>
              <a:ext uri="{FF2B5EF4-FFF2-40B4-BE49-F238E27FC236}">
                <a16:creationId xmlns="" xmlns:a16="http://schemas.microsoft.com/office/drawing/2014/main" id="{517BCDC7-33E6-4E0D-8470-BD0036821924}"/>
              </a:ext>
            </a:extLst>
          </p:cNvPr>
          <p:cNvPicPr>
            <a:picLocks noChangeAspect="1"/>
          </p:cNvPicPr>
          <p:nvPr userDrawn="1"/>
        </p:nvPicPr>
        <p:blipFill>
          <a:blip r:embed="rId10"/>
          <a:stretch>
            <a:fillRect/>
          </a:stretch>
        </p:blipFill>
        <p:spPr>
          <a:xfrm>
            <a:off x="11009789" y="384048"/>
            <a:ext cx="711200" cy="616373"/>
          </a:xfrm>
          <a:prstGeom prst="rect">
            <a:avLst/>
          </a:prstGeom>
        </p:spPr>
      </p:pic>
    </p:spTree>
    <p:custDataLst>
      <p:tags r:id="rId5"/>
    </p:custDataLst>
    <p:extLst>
      <p:ext uri="{BB962C8B-B14F-4D97-AF65-F5344CB8AC3E}">
        <p14:creationId xmlns:p14="http://schemas.microsoft.com/office/powerpoint/2010/main" val="2764657770"/>
      </p:ext>
    </p:extLst>
  </p:cSld>
  <p:clrMap bg1="dk1" tx1="lt1" bg2="dk2" tx2="lt2" accent1="accent1" accent2="accent2" accent3="accent3" accent4="accent4" accent5="accent5" accent6="accent6" hlink="hlink" folHlink="folHlink"/>
  <p:sldLayoutIdLst>
    <p:sldLayoutId id="2147483654" r:id="rId1"/>
    <p:sldLayoutId id="2147483656" r:id="rId2"/>
  </p:sldLayoutIdLs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userDrawn="1">
          <p15:clr>
            <a:srgbClr val="C35EA4"/>
          </p15:clr>
        </p15:guide>
        <p15:guide id="2" pos="7328" userDrawn="1">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4.jpg"/></Relationships>
</file>

<file path=ppt/slides/_rels/slide10.xml.rels><?xml version="1.0" encoding="UTF-8" standalone="yes"?>
<Relationships xmlns="http://schemas.openxmlformats.org/package/2006/relationships"><Relationship Id="rId8" Type="http://schemas.openxmlformats.org/officeDocument/2006/relationships/hyperlink" Target="http://www.github.com/" TargetMode="External"/><Relationship Id="rId3" Type="http://schemas.openxmlformats.org/officeDocument/2006/relationships/tags" Target="../tags/tag22.xml"/><Relationship Id="rId7" Type="http://schemas.openxmlformats.org/officeDocument/2006/relationships/hyperlink" Target="http://www.i-know-python.com/" TargetMode="External"/><Relationship Id="rId2" Type="http://schemas.openxmlformats.org/officeDocument/2006/relationships/tags" Target="../tags/tag21.xml"/><Relationship Id="rId1" Type="http://schemas.openxmlformats.org/officeDocument/2006/relationships/vmlDrawing" Target="../drawings/vmlDrawing8.vml"/><Relationship Id="rId6" Type="http://schemas.openxmlformats.org/officeDocument/2006/relationships/image" Target="../media/image5.emf"/><Relationship Id="rId11" Type="http://schemas.openxmlformats.org/officeDocument/2006/relationships/image" Target="NULL"/><Relationship Id="rId5" Type="http://schemas.openxmlformats.org/officeDocument/2006/relationships/oleObject" Target="../embeddings/oleObject8.bin"/><Relationship Id="rId10" Type="http://schemas.openxmlformats.org/officeDocument/2006/relationships/image" Target="../media/image16.png"/><Relationship Id="rId4" Type="http://schemas.openxmlformats.org/officeDocument/2006/relationships/slideLayout" Target="../slideLayouts/slideLayout1.xml"/><Relationship Id="rId9" Type="http://schemas.openxmlformats.org/officeDocument/2006/relationships/hyperlink" Target="http://www.youtube.com/" TargetMode="External"/></Relationships>
</file>

<file path=ppt/slides/_rels/slide11.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tags" Target="../tags/tag26.xml"/><Relationship Id="rId7" Type="http://schemas.openxmlformats.org/officeDocument/2006/relationships/image" Target="../media/image17.png"/><Relationship Id="rId2" Type="http://schemas.openxmlformats.org/officeDocument/2006/relationships/tags" Target="../tags/tag25.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10" Type="http://schemas.openxmlformats.org/officeDocument/2006/relationships/image" Target="NULL"/><Relationship Id="rId4" Type="http://schemas.openxmlformats.org/officeDocument/2006/relationships/slideLayout" Target="../slideLayouts/slideLayout1.xml"/><Relationship Id="rId9"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notesSlide" Target="../notesSlides/notesSlide1.xml"/><Relationship Id="rId5" Type="http://schemas.openxmlformats.org/officeDocument/2006/relationships/slideLayout" Target="../slideLayouts/slideLayout2.xml"/><Relationship Id="rId4" Type="http://schemas.openxmlformats.org/officeDocument/2006/relationships/tags" Target="../tags/tag10.xml"/></Relationships>
</file>

<file path=ppt/slides/_rels/slide3.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6.png"/><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8.jpeg"/><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5.emf"/><Relationship Id="rId2" Type="http://schemas.openxmlformats.org/officeDocument/2006/relationships/tags" Target="../tags/tag1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2.xml"/><Relationship Id="rId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5.emf"/><Relationship Id="rId2" Type="http://schemas.openxmlformats.org/officeDocument/2006/relationships/tags" Target="../tags/tag1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NULL"/><Relationship Id="rId3" Type="http://schemas.openxmlformats.org/officeDocument/2006/relationships/image" Target="NULL"/><Relationship Id="rId7" Type="http://schemas.openxmlformats.org/officeDocument/2006/relationships/image" Target="NULL"/><Relationship Id="rId12"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1.png"/><Relationship Id="rId11" Type="http://schemas.openxmlformats.org/officeDocument/2006/relationships/image" Target="NULL"/><Relationship Id="rId5" Type="http://schemas.openxmlformats.org/officeDocument/2006/relationships/image" Target="NULL"/><Relationship Id="rId15" Type="http://schemas.openxmlformats.org/officeDocument/2006/relationships/image" Target="NULL"/><Relationship Id="rId10" Type="http://schemas.openxmlformats.org/officeDocument/2006/relationships/image" Target="../media/image13.png"/><Relationship Id="rId4" Type="http://schemas.openxmlformats.org/officeDocument/2006/relationships/image" Target="../media/image10.png"/><Relationship Id="rId9" Type="http://schemas.openxmlformats.org/officeDocument/2006/relationships/image" Target="NULL"/><Relationship Id="rId1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A5C30878-DBD3-456C-99A7-6C94BC8B5130}"/>
              </a:ext>
            </a:extLst>
          </p:cNvPr>
          <p:cNvSpPr txBox="1">
            <a:spLocks/>
          </p:cNvSpPr>
          <p:nvPr/>
        </p:nvSpPr>
        <p:spPr>
          <a:xfrm>
            <a:off x="863600" y="3429000"/>
            <a:ext cx="10749280" cy="2275046"/>
          </a:xfrm>
          <a:prstGeom prst="rect">
            <a:avLst/>
          </a:prstGeom>
        </p:spPr>
        <p:txBody>
          <a:bodyPr lIns="0" tIns="0" rIns="0" bIns="0" numCol="1"/>
          <a:lst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a:lstStyle>
          <a:p>
            <a:pPr>
              <a:lnSpc>
                <a:spcPct val="80000"/>
              </a:lnSpc>
            </a:pPr>
            <a:endParaRPr lang="en-US" sz="7200" dirty="0">
              <a:solidFill>
                <a:schemeClr val="accent1"/>
              </a:solidFill>
            </a:endParaRPr>
          </a:p>
        </p:txBody>
      </p:sp>
      <p:sp>
        <p:nvSpPr>
          <p:cNvPr id="5" name="Rectangle 4"/>
          <p:cNvSpPr/>
          <p:nvPr/>
        </p:nvSpPr>
        <p:spPr>
          <a:xfrm>
            <a:off x="1490804" y="309984"/>
            <a:ext cx="8866908" cy="1231106"/>
          </a:xfrm>
          <a:prstGeom prst="rect">
            <a:avLst/>
          </a:prstGeom>
          <a:solidFill>
            <a:schemeClr val="accent1">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wrap="square">
            <a:spAutoFit/>
            <a:scene3d>
              <a:camera prst="orthographicFront"/>
              <a:lightRig rig="balanced" dir="t">
                <a:rot lat="0" lon="0" rev="2100000"/>
              </a:lightRig>
            </a:scene3d>
            <a:sp3d extrusionH="57150" prstMaterial="metal">
              <a:bevelT w="38100" h="25400"/>
              <a:contourClr>
                <a:schemeClr val="bg2"/>
              </a:contourClr>
            </a:sp3d>
          </a:bodyPr>
          <a:lstStyle/>
          <a:p>
            <a:pPr algn="ctr"/>
            <a:r>
              <a:rPr lang="en-US" sz="2400" b="1" dirty="0" smtClean="0">
                <a:ln w="50800"/>
                <a:solidFill>
                  <a:srgbClr val="FFC000"/>
                </a:solidFill>
                <a:latin typeface="Times New Roman" pitchFamily="18" charset="0"/>
                <a:cs typeface="Times New Roman" pitchFamily="18" charset="0"/>
              </a:rPr>
              <a:t>Dhole Patil College of Engineering,Pune</a:t>
            </a:r>
          </a:p>
          <a:p>
            <a:pPr algn="ctr"/>
            <a:r>
              <a:rPr lang="en-US" sz="1600" b="1" i="1" dirty="0" smtClean="0">
                <a:ln w="50800"/>
                <a:solidFill>
                  <a:srgbClr val="FFC000"/>
                </a:solidFill>
                <a:latin typeface="Times New Roman" pitchFamily="18" charset="0"/>
                <a:cs typeface="Times New Roman" pitchFamily="18" charset="0"/>
              </a:rPr>
              <a:t>Affiliated to Savitribai Phule Pune University</a:t>
            </a:r>
          </a:p>
          <a:p>
            <a:pPr algn="ctr"/>
            <a:r>
              <a:rPr lang="en-US" sz="1400" b="1" i="1" dirty="0" smtClean="0">
                <a:ln w="50800"/>
                <a:solidFill>
                  <a:srgbClr val="FFC000"/>
                </a:solidFill>
                <a:latin typeface="Times New Roman" pitchFamily="18" charset="0"/>
                <a:cs typeface="Times New Roman" pitchFamily="18" charset="0"/>
              </a:rPr>
              <a:t>Approved by AICTE</a:t>
            </a:r>
          </a:p>
          <a:p>
            <a:pPr algn="ctr"/>
            <a:r>
              <a:rPr lang="en-US" b="1" dirty="0" smtClean="0">
                <a:ln w="50800"/>
                <a:solidFill>
                  <a:srgbClr val="FFC000"/>
                </a:solidFill>
              </a:rPr>
              <a:t>  </a:t>
            </a:r>
            <a:r>
              <a:rPr lang="en-US" sz="2000" b="1" dirty="0" smtClean="0">
                <a:ln w="50800"/>
                <a:solidFill>
                  <a:srgbClr val="FFC000"/>
                </a:solidFill>
              </a:rPr>
              <a:t>Department Of First Year Engineering</a:t>
            </a:r>
            <a:endParaRPr lang="en-US" sz="2000" b="1" dirty="0">
              <a:ln w="50800"/>
              <a:solidFill>
                <a:srgbClr val="FFC000"/>
              </a:solidFill>
            </a:endParaRPr>
          </a:p>
        </p:txBody>
      </p:sp>
      <p:pic>
        <p:nvPicPr>
          <p:cNvPr id="6" name="Picture 5" descr="logo.jpg"/>
          <p:cNvPicPr/>
          <p:nvPr/>
        </p:nvPicPr>
        <p:blipFill>
          <a:blip r:embed="rId3" cstate="print"/>
          <a:stretch>
            <a:fillRect/>
          </a:stretch>
        </p:blipFill>
        <p:spPr>
          <a:xfrm>
            <a:off x="0" y="191583"/>
            <a:ext cx="2168434" cy="136289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97500" y="1493"/>
            <a:ext cx="2619375" cy="1743075"/>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9" name="Rectangle 8"/>
          <p:cNvSpPr/>
          <p:nvPr/>
        </p:nvSpPr>
        <p:spPr>
          <a:xfrm>
            <a:off x="2876258" y="1849581"/>
            <a:ext cx="6096000" cy="923330"/>
          </a:xfrm>
          <a:prstGeom prst="rect">
            <a:avLst/>
          </a:prstGeom>
        </p:spPr>
        <p:txBody>
          <a:bodyPr>
            <a:spAutoFit/>
          </a:bodyPr>
          <a:lstStyle/>
          <a:p>
            <a:pPr algn="ctr">
              <a:buFont typeface="Wingdings 2" pitchFamily="18" charset="2"/>
              <a:buNone/>
            </a:pPr>
            <a:r>
              <a:rPr lang="en-US" b="1" dirty="0">
                <a:latin typeface="Times New Roman" pitchFamily="18" charset="0"/>
                <a:cs typeface="Times New Roman" pitchFamily="18" charset="0"/>
              </a:rPr>
              <a:t>A </a:t>
            </a:r>
          </a:p>
          <a:p>
            <a:pPr algn="ctr">
              <a:buFont typeface="Wingdings 2" pitchFamily="18" charset="2"/>
              <a:buNone/>
            </a:pPr>
            <a:r>
              <a:rPr lang="en-US" b="1" dirty="0">
                <a:latin typeface="Times New Roman" pitchFamily="18" charset="0"/>
                <a:cs typeface="Times New Roman" pitchFamily="18" charset="0"/>
              </a:rPr>
              <a:t>    Project Based Learning – Project Report</a:t>
            </a:r>
          </a:p>
          <a:p>
            <a:pPr algn="ctr">
              <a:buFont typeface="Wingdings 2" pitchFamily="18" charset="2"/>
              <a:buNone/>
            </a:pPr>
            <a:r>
              <a:rPr lang="en-US" b="1" dirty="0">
                <a:latin typeface="Times New Roman" pitchFamily="18" charset="0"/>
                <a:cs typeface="Times New Roman" pitchFamily="18" charset="0"/>
              </a:rPr>
              <a:t> on</a:t>
            </a:r>
          </a:p>
        </p:txBody>
      </p:sp>
      <p:sp>
        <p:nvSpPr>
          <p:cNvPr id="10" name="Rectangle 9"/>
          <p:cNvSpPr/>
          <p:nvPr/>
        </p:nvSpPr>
        <p:spPr>
          <a:xfrm>
            <a:off x="3026227" y="3414328"/>
            <a:ext cx="6424023" cy="954107"/>
          </a:xfrm>
          <a:prstGeom prst="rect">
            <a:avLst/>
          </a:prstGeom>
        </p:spPr>
        <p:txBody>
          <a:bodyPr wrap="square">
            <a:spAutoFit/>
          </a:bodyPr>
          <a:lstStyle/>
          <a:p>
            <a:r>
              <a:rPr lang="en-US" sz="2800" dirty="0" smtClean="0">
                <a:solidFill>
                  <a:schemeClr val="tx2">
                    <a:lumMod val="10000"/>
                  </a:schemeClr>
                </a:solidFill>
                <a:latin typeface="Algerian" panose="04020705040A02060702" pitchFamily="82" charset="0"/>
              </a:rPr>
              <a:t>“</a:t>
            </a:r>
            <a:r>
              <a:rPr lang="en-US" sz="2800" dirty="0" smtClean="0">
                <a:solidFill>
                  <a:srgbClr val="FFFF00"/>
                </a:solidFill>
                <a:latin typeface="Algerian" panose="04020705040A02060702" pitchFamily="82" charset="0"/>
              </a:rPr>
              <a:t>”Smart </a:t>
            </a:r>
            <a:r>
              <a:rPr lang="en-US" sz="2800" dirty="0">
                <a:solidFill>
                  <a:srgbClr val="FFFF00"/>
                </a:solidFill>
                <a:latin typeface="Algerian" panose="04020705040A02060702" pitchFamily="82" charset="0"/>
              </a:rPr>
              <a:t>Attendance System</a:t>
            </a:r>
          </a:p>
          <a:p>
            <a:r>
              <a:rPr lang="en-US" sz="2800" dirty="0">
                <a:solidFill>
                  <a:srgbClr val="FFFF00"/>
                </a:solidFill>
                <a:latin typeface="Algerian" panose="04020705040A02060702" pitchFamily="82" charset="0"/>
              </a:rPr>
              <a:t> </a:t>
            </a:r>
            <a:r>
              <a:rPr lang="en-US" sz="2800" dirty="0" smtClean="0">
                <a:solidFill>
                  <a:srgbClr val="FFFF00"/>
                </a:solidFill>
                <a:latin typeface="Algerian" panose="04020705040A02060702" pitchFamily="82" charset="0"/>
              </a:rPr>
              <a:t>     </a:t>
            </a:r>
            <a:r>
              <a:rPr lang="en-US" sz="2800" dirty="0">
                <a:solidFill>
                  <a:srgbClr val="FFFF00"/>
                </a:solidFill>
                <a:latin typeface="Algerian" panose="04020705040A02060702" pitchFamily="82" charset="0"/>
              </a:rPr>
              <a:t>Using face recognition.”</a:t>
            </a:r>
          </a:p>
        </p:txBody>
      </p:sp>
      <p:sp>
        <p:nvSpPr>
          <p:cNvPr id="11" name="Rectangle 10"/>
          <p:cNvSpPr/>
          <p:nvPr/>
        </p:nvSpPr>
        <p:spPr>
          <a:xfrm>
            <a:off x="1921927" y="5312390"/>
            <a:ext cx="8632624" cy="923330"/>
          </a:xfrm>
          <a:prstGeom prst="rect">
            <a:avLst/>
          </a:prstGeom>
        </p:spPr>
        <p:txBody>
          <a:bodyPr wrap="square">
            <a:spAutoFit/>
          </a:bodyPr>
          <a:lstStyle/>
          <a:p>
            <a:pPr>
              <a:buNone/>
            </a:pPr>
            <a:r>
              <a:rPr lang="en-US" b="1" dirty="0">
                <a:solidFill>
                  <a:schemeClr val="bg1"/>
                </a:solidFill>
                <a:latin typeface="Times New Roman" pitchFamily="18" charset="0"/>
                <a:cs typeface="Times New Roman" pitchFamily="18" charset="0"/>
              </a:rPr>
              <a:t> </a:t>
            </a:r>
            <a:r>
              <a:rPr lang="en-US" b="1" dirty="0" smtClean="0">
                <a:solidFill>
                  <a:schemeClr val="bg1"/>
                </a:solidFill>
                <a:latin typeface="Times New Roman" pitchFamily="18" charset="0"/>
                <a:cs typeface="Times New Roman" pitchFamily="18" charset="0"/>
              </a:rPr>
              <a:t>      </a:t>
            </a:r>
            <a:r>
              <a:rPr lang="en-US" b="1" dirty="0" smtClean="0">
                <a:solidFill>
                  <a:srgbClr val="FDAF1F"/>
                </a:solidFill>
                <a:latin typeface="Times New Roman" pitchFamily="18" charset="0"/>
                <a:cs typeface="Times New Roman" pitchFamily="18" charset="0"/>
              </a:rPr>
              <a:t>By</a:t>
            </a:r>
            <a:r>
              <a:rPr lang="en-US" dirty="0" smtClean="0">
                <a:solidFill>
                  <a:schemeClr val="bg1"/>
                </a:solidFill>
                <a:latin typeface="Times New Roman" pitchFamily="18" charset="0"/>
                <a:cs typeface="Times New Roman" pitchFamily="18" charset="0"/>
              </a:rPr>
              <a:t>                                                                                             </a:t>
            </a:r>
            <a:r>
              <a:rPr lang="en-US" b="1" dirty="0">
                <a:solidFill>
                  <a:srgbClr val="FDAF1F"/>
                </a:solidFill>
                <a:latin typeface="Times New Roman" pitchFamily="18" charset="0"/>
                <a:cs typeface="Times New Roman" pitchFamily="18" charset="0"/>
              </a:rPr>
              <a:t>Under the guidance of</a:t>
            </a:r>
          </a:p>
          <a:p>
            <a:pPr>
              <a:buNone/>
            </a:pPr>
            <a:r>
              <a:rPr lang="en-US" b="1" dirty="0" err="1">
                <a:latin typeface="Times New Roman" pitchFamily="18" charset="0"/>
                <a:cs typeface="Times New Roman" pitchFamily="18" charset="0"/>
              </a:rPr>
              <a:t>Anup</a:t>
            </a:r>
            <a:r>
              <a:rPr lang="en-US" b="1" dirty="0">
                <a:latin typeface="Times New Roman" pitchFamily="18" charset="0"/>
                <a:cs typeface="Times New Roman" pitchFamily="18" charset="0"/>
              </a:rPr>
              <a:t> Jagtap  &amp;  </a:t>
            </a:r>
          </a:p>
          <a:p>
            <a:pPr>
              <a:buNone/>
            </a:pPr>
            <a:r>
              <a:rPr lang="en-US" b="1" dirty="0" smtClean="0">
                <a:latin typeface="Times New Roman" pitchFamily="18" charset="0"/>
                <a:cs typeface="Times New Roman" pitchFamily="18" charset="0"/>
              </a:rPr>
              <a:t>Aniket </a:t>
            </a:r>
            <a:r>
              <a:rPr lang="en-US" b="1" dirty="0">
                <a:latin typeface="Times New Roman" pitchFamily="18" charset="0"/>
                <a:cs typeface="Times New Roman" pitchFamily="18" charset="0"/>
              </a:rPr>
              <a:t>Jagtap.                                                                               Prof. </a:t>
            </a:r>
            <a:r>
              <a:rPr lang="en-US" b="1" dirty="0" err="1">
                <a:latin typeface="Times New Roman" pitchFamily="18" charset="0"/>
                <a:cs typeface="Times New Roman" pitchFamily="18" charset="0"/>
              </a:rPr>
              <a:t>Swapnil</a:t>
            </a:r>
            <a:r>
              <a:rPr lang="en-US" b="1" dirty="0">
                <a:latin typeface="Times New Roman" pitchFamily="18" charset="0"/>
                <a:cs typeface="Times New Roman" pitchFamily="18" charset="0"/>
              </a:rPr>
              <a:t> </a:t>
            </a:r>
            <a:r>
              <a:rPr lang="en-US" b="1" dirty="0" err="1">
                <a:latin typeface="Times New Roman" pitchFamily="18" charset="0"/>
                <a:cs typeface="Times New Roman" pitchFamily="18" charset="0"/>
              </a:rPr>
              <a:t>Rokade</a:t>
            </a:r>
            <a:r>
              <a:rPr lang="en-US" b="1" dirty="0">
                <a:latin typeface="Times New Roman" pitchFamily="18" charset="0"/>
                <a:cs typeface="Times New Roman" pitchFamily="18" charset="0"/>
              </a:rPr>
              <a:t>  </a:t>
            </a:r>
          </a:p>
        </p:txBody>
      </p:sp>
    </p:spTree>
    <p:custDataLst>
      <p:tags r:id="rId1"/>
    </p:custDataLst>
    <p:extLst>
      <p:ext uri="{BB962C8B-B14F-4D97-AF65-F5344CB8AC3E}">
        <p14:creationId xmlns:p14="http://schemas.microsoft.com/office/powerpoint/2010/main" val="239912330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E18B07EE-A45E-4446-A223-5B883B13E13D}"/>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1" name="think-cell Slide" r:id="rId5" imgW="344" imgH="344" progId="TCLayout.ActiveDocument.1">
                  <p:embed/>
                </p:oleObj>
              </mc:Choice>
              <mc:Fallback>
                <p:oleObj name="think-cell Slide" r:id="rId5" imgW="344" imgH="344" progId="TCLayout.ActiveDocument.1">
                  <p:embed/>
                  <p:pic>
                    <p:nvPicPr>
                      <p:cNvPr id="10" name="Object 9" hidden="1">
                        <a:extLst>
                          <a:ext uri="{FF2B5EF4-FFF2-40B4-BE49-F238E27FC236}">
                            <a16:creationId xmlns="" xmlns:a16="http://schemas.microsoft.com/office/drawing/2014/main" id="{E18B07EE-A45E-4446-A223-5B883B13E1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 xmlns:a16="http://schemas.microsoft.com/office/drawing/2014/main" id="{CA8813BB-D448-4521-9F33-B74EFDC2BCD9}"/>
              </a:ext>
            </a:extLst>
          </p:cNvPr>
          <p:cNvSpPr/>
          <p:nvPr/>
        </p:nvSpPr>
        <p:spPr>
          <a:xfrm>
            <a:off x="3472794" y="1871692"/>
            <a:ext cx="360734" cy="2988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 xmlns:a16="http://schemas.microsoft.com/office/drawing/2014/main" id="{226F08B3-37B7-4D5C-80DD-85ECEA54CD23}"/>
              </a:ext>
            </a:extLst>
          </p:cNvPr>
          <p:cNvSpPr/>
          <p:nvPr/>
        </p:nvSpPr>
        <p:spPr>
          <a:xfrm>
            <a:off x="5500914" y="1629624"/>
            <a:ext cx="6691086" cy="35987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 xmlns:a16="http://schemas.microsoft.com/office/drawing/2014/main" id="{DF7833B0-BA71-4453-853F-974C3C7535A2}"/>
              </a:ext>
            </a:extLst>
          </p:cNvPr>
          <p:cNvSpPr txBox="1"/>
          <p:nvPr/>
        </p:nvSpPr>
        <p:spPr>
          <a:xfrm>
            <a:off x="5847372" y="479091"/>
            <a:ext cx="2563202" cy="553998"/>
          </a:xfrm>
          <a:prstGeom prst="rect">
            <a:avLst/>
          </a:prstGeom>
          <a:noFill/>
        </p:spPr>
        <p:txBody>
          <a:bodyPr wrap="none" lIns="0" tIns="0" rIns="0" bIns="0" numCol="1" rtlCol="0">
            <a:spAutoFit/>
          </a:bodyPr>
          <a:lstStyle/>
          <a:p>
            <a:r>
              <a:rPr lang="de-DE" altLang="de-DE" sz="3600" dirty="0" smtClean="0">
                <a:solidFill>
                  <a:srgbClr val="FFC000"/>
                </a:solidFill>
                <a:latin typeface="+mj-lt"/>
              </a:rPr>
              <a:t>REFERENCE</a:t>
            </a:r>
            <a:endParaRPr lang="de-DE" altLang="de-DE" sz="3600" dirty="0">
              <a:solidFill>
                <a:srgbClr val="FFC000"/>
              </a:solidFill>
              <a:latin typeface="+mj-lt"/>
            </a:endParaRPr>
          </a:p>
        </p:txBody>
      </p:sp>
      <p:sp>
        <p:nvSpPr>
          <p:cNvPr id="9" name="TextBox 8">
            <a:extLst>
              <a:ext uri="{FF2B5EF4-FFF2-40B4-BE49-F238E27FC236}">
                <a16:creationId xmlns="" xmlns:a16="http://schemas.microsoft.com/office/drawing/2014/main" id="{60CD49EC-E6A4-4053-A5B4-CB9DBB8C3F88}"/>
              </a:ext>
            </a:extLst>
          </p:cNvPr>
          <p:cNvSpPr txBox="1"/>
          <p:nvPr/>
        </p:nvSpPr>
        <p:spPr>
          <a:xfrm>
            <a:off x="5409764" y="1505163"/>
            <a:ext cx="4949087" cy="3255186"/>
          </a:xfrm>
          <a:prstGeom prst="rect">
            <a:avLst/>
          </a:prstGeom>
          <a:noFill/>
        </p:spPr>
        <p:txBody>
          <a:bodyPr wrap="square" lIns="0" tIns="0" rIns="0" bIns="0" numCol="1" rtlCol="0">
            <a:spAutoFit/>
          </a:bodyPr>
          <a:lstStyle/>
          <a:p>
            <a:pPr marL="342900" indent="-342900">
              <a:lnSpc>
                <a:spcPct val="150000"/>
              </a:lnSpc>
              <a:buFont typeface="Arial" panose="020B0604020202020204" pitchFamily="34" charset="0"/>
              <a:buChar char="•"/>
            </a:pPr>
            <a:r>
              <a:rPr lang="de-DE" altLang="de-DE" sz="2400" dirty="0" smtClean="0">
                <a:hlinkClick r:id="rId7"/>
              </a:rPr>
              <a:t>www.i-know-python.com</a:t>
            </a:r>
            <a:endParaRPr lang="de-DE" altLang="de-DE" sz="2400" dirty="0" smtClean="0"/>
          </a:p>
          <a:p>
            <a:pPr marL="342900" indent="-342900">
              <a:lnSpc>
                <a:spcPct val="150000"/>
              </a:lnSpc>
              <a:buFont typeface="Arial" panose="020B0604020202020204" pitchFamily="34" charset="0"/>
              <a:buChar char="•"/>
            </a:pPr>
            <a:r>
              <a:rPr lang="de-DE" altLang="de-DE" sz="2400" dirty="0" smtClean="0">
                <a:hlinkClick r:id="rId8"/>
              </a:rPr>
              <a:t>www.github.com</a:t>
            </a:r>
            <a:r>
              <a:rPr lang="de-DE" altLang="de-DE" sz="2400" dirty="0" smtClean="0"/>
              <a:t>.  </a:t>
            </a:r>
          </a:p>
          <a:p>
            <a:pPr marL="342900" indent="-342900">
              <a:lnSpc>
                <a:spcPct val="150000"/>
              </a:lnSpc>
              <a:buFont typeface="Arial" panose="020B0604020202020204" pitchFamily="34" charset="0"/>
              <a:buChar char="•"/>
            </a:pPr>
            <a:r>
              <a:rPr lang="de-DE" altLang="de-DE" sz="2400" dirty="0" smtClean="0"/>
              <a:t>Python 3.11.3</a:t>
            </a:r>
          </a:p>
          <a:p>
            <a:pPr marL="342900" indent="-342900">
              <a:lnSpc>
                <a:spcPct val="150000"/>
              </a:lnSpc>
              <a:buFont typeface="Arial" panose="020B0604020202020204" pitchFamily="34" charset="0"/>
              <a:buChar char="•"/>
            </a:pPr>
            <a:r>
              <a:rPr lang="de-DE" altLang="de-DE" sz="2400" dirty="0" smtClean="0"/>
              <a:t>pypl.org</a:t>
            </a:r>
          </a:p>
          <a:p>
            <a:pPr marL="342900" indent="-342900">
              <a:lnSpc>
                <a:spcPct val="150000"/>
              </a:lnSpc>
              <a:buFont typeface="Arial" panose="020B0604020202020204" pitchFamily="34" charset="0"/>
              <a:buChar char="•"/>
            </a:pPr>
            <a:r>
              <a:rPr lang="de-DE" altLang="de-DE" sz="2400" dirty="0" smtClean="0">
                <a:hlinkClick r:id="rId9"/>
              </a:rPr>
              <a:t>www.youtube.com</a:t>
            </a:r>
            <a:endParaRPr lang="de-DE" altLang="de-DE" sz="2400" dirty="0" smtClean="0"/>
          </a:p>
          <a:p>
            <a:pPr marL="342900" indent="-342900">
              <a:lnSpc>
                <a:spcPct val="150000"/>
              </a:lnSpc>
              <a:buFont typeface="Arial" panose="020B0604020202020204" pitchFamily="34" charset="0"/>
              <a:buChar char="•"/>
            </a:pPr>
            <a:r>
              <a:rPr lang="de-DE" altLang="de-DE" sz="2400" dirty="0" smtClean="0"/>
              <a:t>www.wikipedia.com</a:t>
            </a:r>
            <a:endParaRPr lang="de-DE" altLang="de-DE" sz="2400" dirty="0"/>
          </a:p>
        </p:txBody>
      </p:sp>
      <p:pic>
        <p:nvPicPr>
          <p:cNvPr id="53" name="Graphic 115" descr="Checklist">
            <a:extLst>
              <a:ext uri="{FF2B5EF4-FFF2-40B4-BE49-F238E27FC236}">
                <a16:creationId xmlns:a16="http://schemas.microsoft.com/office/drawing/2014/main" xmlns="" id="{01E34EE8-7C8E-C14E-B260-DEA4CD870CEF}"/>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430552" y="1871692"/>
            <a:ext cx="2731655" cy="2731655"/>
          </a:xfrm>
          <a:prstGeom prst="rect">
            <a:avLst/>
          </a:prstGeom>
        </p:spPr>
      </p:pic>
    </p:spTree>
    <p:custDataLst>
      <p:tags r:id="rId2"/>
    </p:custDataLst>
    <p:extLst>
      <p:ext uri="{BB962C8B-B14F-4D97-AF65-F5344CB8AC3E}">
        <p14:creationId xmlns:p14="http://schemas.microsoft.com/office/powerpoint/2010/main" val="2362446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0" nodeType="withEffect">
                                  <p:stCondLst>
                                    <p:cond delay="260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E18B07EE-A45E-4446-A223-5B883B13E13D}"/>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4" name="think-cell Slide" r:id="rId5" imgW="344" imgH="344" progId="TCLayout.ActiveDocument.1">
                  <p:embed/>
                </p:oleObj>
              </mc:Choice>
              <mc:Fallback>
                <p:oleObj name="think-cell Slide" r:id="rId5" imgW="344" imgH="344"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 xmlns:a16="http://schemas.microsoft.com/office/drawing/2014/main" id="{CA8813BB-D448-4521-9F33-B74EFDC2BCD9}"/>
              </a:ext>
            </a:extLst>
          </p:cNvPr>
          <p:cNvSpPr/>
          <p:nvPr/>
        </p:nvSpPr>
        <p:spPr>
          <a:xfrm>
            <a:off x="3472794" y="1871692"/>
            <a:ext cx="360734" cy="2988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 xmlns:a16="http://schemas.microsoft.com/office/drawing/2014/main" id="{226F08B3-37B7-4D5C-80DD-85ECEA54CD23}"/>
              </a:ext>
            </a:extLst>
          </p:cNvPr>
          <p:cNvSpPr/>
          <p:nvPr/>
        </p:nvSpPr>
        <p:spPr>
          <a:xfrm>
            <a:off x="5500914" y="1629624"/>
            <a:ext cx="6691086" cy="35987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 xmlns:a16="http://schemas.microsoft.com/office/drawing/2014/main" id="{DF7833B0-BA71-4453-853F-974C3C7535A2}"/>
              </a:ext>
            </a:extLst>
          </p:cNvPr>
          <p:cNvSpPr txBox="1"/>
          <p:nvPr/>
        </p:nvSpPr>
        <p:spPr>
          <a:xfrm>
            <a:off x="5847372" y="479091"/>
            <a:ext cx="3052118" cy="553998"/>
          </a:xfrm>
          <a:prstGeom prst="rect">
            <a:avLst/>
          </a:prstGeom>
          <a:noFill/>
        </p:spPr>
        <p:txBody>
          <a:bodyPr wrap="none" lIns="0" tIns="0" rIns="0" bIns="0" numCol="1" rtlCol="0">
            <a:spAutoFit/>
          </a:bodyPr>
          <a:lstStyle/>
          <a:p>
            <a:r>
              <a:rPr lang="de-DE" altLang="de-DE" sz="3600" dirty="0" smtClean="0">
                <a:solidFill>
                  <a:srgbClr val="FFC000"/>
                </a:solidFill>
                <a:latin typeface="+mj-lt"/>
              </a:rPr>
              <a:t>CONCLUSION</a:t>
            </a:r>
            <a:endParaRPr lang="de-DE" altLang="de-DE" sz="3600" dirty="0">
              <a:solidFill>
                <a:srgbClr val="FFC000"/>
              </a:solidFill>
              <a:latin typeface="+mj-lt"/>
            </a:endParaRPr>
          </a:p>
        </p:txBody>
      </p:sp>
      <p:sp>
        <p:nvSpPr>
          <p:cNvPr id="9" name="TextBox 8">
            <a:extLst>
              <a:ext uri="{FF2B5EF4-FFF2-40B4-BE49-F238E27FC236}">
                <a16:creationId xmlns="" xmlns:a16="http://schemas.microsoft.com/office/drawing/2014/main" id="{60CD49EC-E6A4-4053-A5B4-CB9DBB8C3F88}"/>
              </a:ext>
            </a:extLst>
          </p:cNvPr>
          <p:cNvSpPr txBox="1"/>
          <p:nvPr/>
        </p:nvSpPr>
        <p:spPr>
          <a:xfrm>
            <a:off x="5409764" y="1505163"/>
            <a:ext cx="4949087" cy="4431983"/>
          </a:xfrm>
          <a:prstGeom prst="rect">
            <a:avLst/>
          </a:prstGeom>
          <a:noFill/>
        </p:spPr>
        <p:txBody>
          <a:bodyPr wrap="square" lIns="0" tIns="0" rIns="0" bIns="0" numCol="1" rtlCol="0">
            <a:spAutoFit/>
          </a:bodyPr>
          <a:lstStyle/>
          <a:p>
            <a:r>
              <a:rPr lang="en-US" sz="2400" dirty="0"/>
              <a:t>In conclusion, the smart attendance system developed using Python is an efficient and effective solution for automating the attendance management process. By leveraging computer vision techniques and machine learning algorithms, the system is capable of accurately and automatically recognizing individuals and recording their attendance.</a:t>
            </a:r>
          </a:p>
          <a:p>
            <a:endParaRPr lang="de-DE" altLang="de-DE" sz="2400" dirty="0">
              <a:solidFill>
                <a:schemeClr val="accent5"/>
              </a:solidFill>
            </a:endParaRPr>
          </a:p>
        </p:txBody>
      </p:sp>
      <p:grpSp>
        <p:nvGrpSpPr>
          <p:cNvPr id="11" name="Group 10">
            <a:extLst>
              <a:ext uri="{FF2B5EF4-FFF2-40B4-BE49-F238E27FC236}">
                <a16:creationId xmlns="" xmlns:a16="http://schemas.microsoft.com/office/drawing/2014/main" id="{3670B76A-5E8F-6A42-8E1C-3EEB0D4BC79D}"/>
              </a:ext>
            </a:extLst>
          </p:cNvPr>
          <p:cNvGrpSpPr/>
          <p:nvPr/>
        </p:nvGrpSpPr>
        <p:grpSpPr>
          <a:xfrm>
            <a:off x="313427" y="1660416"/>
            <a:ext cx="2681438" cy="3128963"/>
            <a:chOff x="3231281" y="3146331"/>
            <a:chExt cx="2681438" cy="3128963"/>
          </a:xfrm>
          <a:effectLst>
            <a:outerShdw blurRad="127000" dist="38100" dir="18900000" sx="103000" sy="103000" algn="bl" rotWithShape="0">
              <a:prstClr val="black">
                <a:alpha val="40000"/>
              </a:prstClr>
            </a:outerShdw>
          </a:effectLst>
        </p:grpSpPr>
        <p:sp>
          <p:nvSpPr>
            <p:cNvPr id="12" name="Freeform 11">
              <a:extLst>
                <a:ext uri="{FF2B5EF4-FFF2-40B4-BE49-F238E27FC236}">
                  <a16:creationId xmlns="" xmlns:a16="http://schemas.microsoft.com/office/drawing/2014/main" id="{A291E92A-CCB8-4B49-9239-F7FF46FD9295}"/>
                </a:ext>
              </a:extLst>
            </p:cNvPr>
            <p:cNvSpPr/>
            <p:nvPr/>
          </p:nvSpPr>
          <p:spPr>
            <a:xfrm>
              <a:off x="3231281" y="3146331"/>
              <a:ext cx="2681438" cy="3128963"/>
            </a:xfrm>
            <a:custGeom>
              <a:avLst/>
              <a:gdLst>
                <a:gd name="connsiteX0" fmla="*/ 268716 w 2359012"/>
                <a:gd name="connsiteY0" fmla="*/ 731901 h 2752725"/>
                <a:gd name="connsiteX1" fmla="*/ 210121 w 2359012"/>
                <a:gd name="connsiteY1" fmla="*/ 968026 h 2752725"/>
                <a:gd name="connsiteX2" fmla="*/ 254638 w 2359012"/>
                <a:gd name="connsiteY2" fmla="*/ 1083945 h 2752725"/>
                <a:gd name="connsiteX3" fmla="*/ 7322 w 2359012"/>
                <a:gd name="connsiteY3" fmla="*/ 1508951 h 2752725"/>
                <a:gd name="connsiteX4" fmla="*/ 178541 w 2359012"/>
                <a:gd name="connsiteY4" fmla="*/ 1662970 h 2752725"/>
                <a:gd name="connsiteX5" fmla="*/ 127080 w 2359012"/>
                <a:gd name="connsiteY5" fmla="*/ 1827372 h 2752725"/>
                <a:gd name="connsiteX6" fmla="*/ 187482 w 2359012"/>
                <a:gd name="connsiteY6" fmla="*/ 1899095 h 2752725"/>
                <a:gd name="connsiteX7" fmla="*/ 145248 w 2359012"/>
                <a:gd name="connsiteY7" fmla="*/ 1977676 h 2752725"/>
                <a:gd name="connsiteX8" fmla="*/ 168268 w 2359012"/>
                <a:gd name="connsiteY8" fmla="*/ 2126457 h 2752725"/>
                <a:gd name="connsiteX9" fmla="*/ 181394 w 2359012"/>
                <a:gd name="connsiteY9" fmla="*/ 2255901 h 2752725"/>
                <a:gd name="connsiteX10" fmla="*/ 328738 w 2359012"/>
                <a:gd name="connsiteY10" fmla="*/ 2304479 h 2752725"/>
                <a:gd name="connsiteX11" fmla="*/ 687155 w 2359012"/>
                <a:gd name="connsiteY11" fmla="*/ 2421255 h 2752725"/>
                <a:gd name="connsiteX12" fmla="*/ 884152 w 2359012"/>
                <a:gd name="connsiteY12" fmla="*/ 2754631 h 2752725"/>
                <a:gd name="connsiteX13" fmla="*/ 2070887 w 2359012"/>
                <a:gd name="connsiteY13" fmla="*/ 2751011 h 2752725"/>
                <a:gd name="connsiteX14" fmla="*/ 1971961 w 2359012"/>
                <a:gd name="connsiteY14" fmla="*/ 1912144 h 2752725"/>
                <a:gd name="connsiteX15" fmla="*/ 1697726 w 2359012"/>
                <a:gd name="connsiteY15" fmla="*/ 72486 h 2752725"/>
                <a:gd name="connsiteX16" fmla="*/ 268716 w 2359012"/>
                <a:gd name="connsiteY16" fmla="*/ 731901 h 2752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59012" h="2752725">
                  <a:moveTo>
                    <a:pt x="268716" y="731901"/>
                  </a:moveTo>
                  <a:cubicBezTo>
                    <a:pt x="222201" y="866394"/>
                    <a:pt x="202702" y="914496"/>
                    <a:pt x="210121" y="968026"/>
                  </a:cubicBezTo>
                  <a:cubicBezTo>
                    <a:pt x="215543" y="1006698"/>
                    <a:pt x="254638" y="1023176"/>
                    <a:pt x="254638" y="1083945"/>
                  </a:cubicBezTo>
                  <a:cubicBezTo>
                    <a:pt x="254638" y="1191387"/>
                    <a:pt x="-763" y="1432846"/>
                    <a:pt x="7322" y="1508951"/>
                  </a:cubicBezTo>
                  <a:cubicBezTo>
                    <a:pt x="12554" y="1561529"/>
                    <a:pt x="142014" y="1594676"/>
                    <a:pt x="178541" y="1662970"/>
                  </a:cubicBezTo>
                  <a:cubicBezTo>
                    <a:pt x="201465" y="1706499"/>
                    <a:pt x="176829" y="1776603"/>
                    <a:pt x="127080" y="1827372"/>
                  </a:cubicBezTo>
                  <a:cubicBezTo>
                    <a:pt x="131931" y="1880616"/>
                    <a:pt x="155616" y="1889760"/>
                    <a:pt x="187482" y="1899095"/>
                  </a:cubicBezTo>
                  <a:cubicBezTo>
                    <a:pt x="151907" y="1908620"/>
                    <a:pt x="141348" y="1944148"/>
                    <a:pt x="145248" y="1977676"/>
                  </a:cubicBezTo>
                  <a:cubicBezTo>
                    <a:pt x="235994" y="2004918"/>
                    <a:pt x="186816" y="2063401"/>
                    <a:pt x="168268" y="2126457"/>
                  </a:cubicBezTo>
                  <a:cubicBezTo>
                    <a:pt x="156070" y="2169709"/>
                    <a:pt x="160763" y="2215988"/>
                    <a:pt x="181394" y="2255901"/>
                  </a:cubicBezTo>
                  <a:cubicBezTo>
                    <a:pt x="200419" y="2295335"/>
                    <a:pt x="255970" y="2300193"/>
                    <a:pt x="328738" y="2304479"/>
                  </a:cubicBezTo>
                  <a:cubicBezTo>
                    <a:pt x="425191" y="2310003"/>
                    <a:pt x="549514" y="2307432"/>
                    <a:pt x="687155" y="2421255"/>
                  </a:cubicBezTo>
                  <a:cubicBezTo>
                    <a:pt x="773906" y="2492979"/>
                    <a:pt x="851715" y="2632044"/>
                    <a:pt x="884152" y="2754631"/>
                  </a:cubicBezTo>
                  <a:lnTo>
                    <a:pt x="2070887" y="2751011"/>
                  </a:lnTo>
                  <a:cubicBezTo>
                    <a:pt x="1935054" y="2426494"/>
                    <a:pt x="1845449" y="2022825"/>
                    <a:pt x="1971961" y="1912144"/>
                  </a:cubicBezTo>
                  <a:cubicBezTo>
                    <a:pt x="2436344" y="1506474"/>
                    <a:pt x="2622592" y="375952"/>
                    <a:pt x="1697726" y="72486"/>
                  </a:cubicBezTo>
                  <a:cubicBezTo>
                    <a:pt x="1031780" y="-145923"/>
                    <a:pt x="448591" y="210884"/>
                    <a:pt x="268716" y="731901"/>
                  </a:cubicBezTo>
                  <a:close/>
                </a:path>
              </a:pathLst>
            </a:custGeom>
            <a:solidFill>
              <a:srgbClr val="FFC100"/>
            </a:solidFill>
            <a:ln w="9525" cap="flat">
              <a:noFill/>
              <a:prstDash val="solid"/>
              <a:miter/>
            </a:ln>
          </p:spPr>
          <p:txBody>
            <a:bodyPr rtlCol="0" anchor="ctr"/>
            <a:lstStyle/>
            <a:p>
              <a:endParaRPr lang="en-US" dirty="0">
                <a:solidFill>
                  <a:schemeClr val="bg1">
                    <a:lumMod val="50000"/>
                  </a:schemeClr>
                </a:solidFill>
              </a:endParaRPr>
            </a:p>
          </p:txBody>
        </p:sp>
        <p:sp>
          <p:nvSpPr>
            <p:cNvPr id="13" name="Freeform 12">
              <a:extLst>
                <a:ext uri="{FF2B5EF4-FFF2-40B4-BE49-F238E27FC236}">
                  <a16:creationId xmlns="" xmlns:a16="http://schemas.microsoft.com/office/drawing/2014/main" id="{8E97F378-C287-574E-8512-57D406E2A539}"/>
                </a:ext>
              </a:extLst>
            </p:cNvPr>
            <p:cNvSpPr/>
            <p:nvPr/>
          </p:nvSpPr>
          <p:spPr>
            <a:xfrm>
              <a:off x="3812328" y="3353125"/>
              <a:ext cx="800107" cy="801188"/>
            </a:xfrm>
            <a:custGeom>
              <a:avLst/>
              <a:gdLst>
                <a:gd name="connsiteX0" fmla="*/ 423576 w 703898"/>
                <a:gd name="connsiteY0" fmla="*/ 88773 h 704850"/>
                <a:gd name="connsiteX1" fmla="*/ 495678 w 703898"/>
                <a:gd name="connsiteY1" fmla="*/ 118872 h 704850"/>
                <a:gd name="connsiteX2" fmla="*/ 548851 w 703898"/>
                <a:gd name="connsiteY2" fmla="*/ 66294 h 704850"/>
                <a:gd name="connsiteX3" fmla="*/ 645494 w 703898"/>
                <a:gd name="connsiteY3" fmla="*/ 164116 h 704850"/>
                <a:gd name="connsiteX4" fmla="*/ 592417 w 703898"/>
                <a:gd name="connsiteY4" fmla="*/ 216694 h 704850"/>
                <a:gd name="connsiteX5" fmla="*/ 620953 w 703898"/>
                <a:gd name="connsiteY5" fmla="*/ 287846 h 704850"/>
                <a:gd name="connsiteX6" fmla="*/ 695623 w 703898"/>
                <a:gd name="connsiteY6" fmla="*/ 287846 h 704850"/>
                <a:gd name="connsiteX7" fmla="*/ 702092 w 703898"/>
                <a:gd name="connsiteY7" fmla="*/ 354521 h 704850"/>
                <a:gd name="connsiteX8" fmla="*/ 694958 w 703898"/>
                <a:gd name="connsiteY8" fmla="*/ 425101 h 704850"/>
                <a:gd name="connsiteX9" fmla="*/ 620192 w 703898"/>
                <a:gd name="connsiteY9" fmla="*/ 425101 h 704850"/>
                <a:gd name="connsiteX10" fmla="*/ 590514 w 703898"/>
                <a:gd name="connsiteY10" fmla="*/ 495967 h 704850"/>
                <a:gd name="connsiteX11" fmla="*/ 643497 w 703898"/>
                <a:gd name="connsiteY11" fmla="*/ 549116 h 704850"/>
                <a:gd name="connsiteX12" fmla="*/ 545807 w 703898"/>
                <a:gd name="connsiteY12" fmla="*/ 645986 h 704850"/>
                <a:gd name="connsiteX13" fmla="*/ 493300 w 703898"/>
                <a:gd name="connsiteY13" fmla="*/ 592836 h 704850"/>
                <a:gd name="connsiteX14" fmla="*/ 423576 w 703898"/>
                <a:gd name="connsiteY14" fmla="*/ 621411 h 704850"/>
                <a:gd name="connsiteX15" fmla="*/ 423576 w 703898"/>
                <a:gd name="connsiteY15" fmla="*/ 696182 h 704850"/>
                <a:gd name="connsiteX16" fmla="*/ 286125 w 703898"/>
                <a:gd name="connsiteY16" fmla="*/ 696182 h 704850"/>
                <a:gd name="connsiteX17" fmla="*/ 286125 w 703898"/>
                <a:gd name="connsiteY17" fmla="*/ 621887 h 704850"/>
                <a:gd name="connsiteX18" fmla="*/ 214023 w 703898"/>
                <a:gd name="connsiteY18" fmla="*/ 591693 h 704850"/>
                <a:gd name="connsiteX19" fmla="*/ 161421 w 703898"/>
                <a:gd name="connsiteY19" fmla="*/ 644366 h 704850"/>
                <a:gd name="connsiteX20" fmla="*/ 64302 w 703898"/>
                <a:gd name="connsiteY20" fmla="*/ 546545 h 704850"/>
                <a:gd name="connsiteX21" fmla="*/ 117380 w 703898"/>
                <a:gd name="connsiteY21" fmla="*/ 493871 h 704850"/>
                <a:gd name="connsiteX22" fmla="*/ 88273 w 703898"/>
                <a:gd name="connsiteY22" fmla="*/ 422720 h 704850"/>
                <a:gd name="connsiteX23" fmla="*/ 13602 w 703898"/>
                <a:gd name="connsiteY23" fmla="*/ 422720 h 704850"/>
                <a:gd name="connsiteX24" fmla="*/ 7134 w 703898"/>
                <a:gd name="connsiteY24" fmla="*/ 356045 h 704850"/>
                <a:gd name="connsiteX25" fmla="*/ 14363 w 703898"/>
                <a:gd name="connsiteY25" fmla="*/ 285464 h 704850"/>
                <a:gd name="connsiteX26" fmla="*/ 89034 w 703898"/>
                <a:gd name="connsiteY26" fmla="*/ 285464 h 704850"/>
                <a:gd name="connsiteX27" fmla="*/ 118807 w 703898"/>
                <a:gd name="connsiteY27" fmla="*/ 214694 h 704850"/>
                <a:gd name="connsiteX28" fmla="*/ 66300 w 703898"/>
                <a:gd name="connsiteY28" fmla="*/ 161163 h 704850"/>
                <a:gd name="connsiteX29" fmla="*/ 163989 w 703898"/>
                <a:gd name="connsiteY29" fmla="*/ 64294 h 704850"/>
                <a:gd name="connsiteX30" fmla="*/ 216497 w 703898"/>
                <a:gd name="connsiteY30" fmla="*/ 117443 h 704850"/>
                <a:gd name="connsiteX31" fmla="*/ 286125 w 703898"/>
                <a:gd name="connsiteY31" fmla="*/ 88868 h 704850"/>
                <a:gd name="connsiteX32" fmla="*/ 286125 w 703898"/>
                <a:gd name="connsiteY32" fmla="*/ 14002 h 704850"/>
                <a:gd name="connsiteX33" fmla="*/ 423576 w 703898"/>
                <a:gd name="connsiteY33" fmla="*/ 14002 h 704850"/>
                <a:gd name="connsiteX34" fmla="*/ 423576 w 703898"/>
                <a:gd name="connsiteY34" fmla="*/ 88773 h 704850"/>
                <a:gd name="connsiteX35" fmla="*/ 354898 w 703898"/>
                <a:gd name="connsiteY35" fmla="*/ 185166 h 704850"/>
                <a:gd name="connsiteX36" fmla="*/ 184821 w 703898"/>
                <a:gd name="connsiteY36" fmla="*/ 355283 h 704850"/>
                <a:gd name="connsiteX37" fmla="*/ 354708 w 703898"/>
                <a:gd name="connsiteY37" fmla="*/ 525590 h 704850"/>
                <a:gd name="connsiteX38" fmla="*/ 524785 w 703898"/>
                <a:gd name="connsiteY38" fmla="*/ 355473 h 704850"/>
                <a:gd name="connsiteX39" fmla="*/ 524785 w 703898"/>
                <a:gd name="connsiteY39" fmla="*/ 355283 h 704850"/>
                <a:gd name="connsiteX40" fmla="*/ 354898 w 703898"/>
                <a:gd name="connsiteY40" fmla="*/ 185166 h 704850"/>
                <a:gd name="connsiteX41" fmla="*/ 354898 w 703898"/>
                <a:gd name="connsiteY41" fmla="*/ 205073 h 704850"/>
                <a:gd name="connsiteX42" fmla="*/ 204701 w 703898"/>
                <a:gd name="connsiteY42" fmla="*/ 355283 h 704850"/>
                <a:gd name="connsiteX43" fmla="*/ 354708 w 703898"/>
                <a:gd name="connsiteY43" fmla="*/ 505682 h 704850"/>
                <a:gd name="connsiteX44" fmla="*/ 504905 w 703898"/>
                <a:gd name="connsiteY44" fmla="*/ 355473 h 704850"/>
                <a:gd name="connsiteX45" fmla="*/ 504905 w 703898"/>
                <a:gd name="connsiteY45" fmla="*/ 355283 h 704850"/>
                <a:gd name="connsiteX46" fmla="*/ 354898 w 703898"/>
                <a:gd name="connsiteY46" fmla="*/ 205073 h 704850"/>
                <a:gd name="connsiteX47" fmla="*/ 354898 w 703898"/>
                <a:gd name="connsiteY47" fmla="*/ 173165 h 704850"/>
                <a:gd name="connsiteX48" fmla="*/ 172836 w 703898"/>
                <a:gd name="connsiteY48" fmla="*/ 355283 h 704850"/>
                <a:gd name="connsiteX49" fmla="*/ 354708 w 703898"/>
                <a:gd name="connsiteY49" fmla="*/ 537591 h 704850"/>
                <a:gd name="connsiteX50" fmla="*/ 536770 w 703898"/>
                <a:gd name="connsiteY50" fmla="*/ 355473 h 704850"/>
                <a:gd name="connsiteX51" fmla="*/ 536770 w 703898"/>
                <a:gd name="connsiteY51" fmla="*/ 355283 h 704850"/>
                <a:gd name="connsiteX52" fmla="*/ 354898 w 703898"/>
                <a:gd name="connsiteY52" fmla="*/ 173165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03898" h="704850">
                  <a:moveTo>
                    <a:pt x="423576" y="88773"/>
                  </a:moveTo>
                  <a:cubicBezTo>
                    <a:pt x="448928" y="95288"/>
                    <a:pt x="473212" y="105425"/>
                    <a:pt x="495678" y="118872"/>
                  </a:cubicBezTo>
                  <a:lnTo>
                    <a:pt x="548851" y="66294"/>
                  </a:lnTo>
                  <a:cubicBezTo>
                    <a:pt x="587226" y="92160"/>
                    <a:pt x="620078" y="125413"/>
                    <a:pt x="645494" y="164116"/>
                  </a:cubicBezTo>
                  <a:lnTo>
                    <a:pt x="592417" y="216694"/>
                  </a:lnTo>
                  <a:cubicBezTo>
                    <a:pt x="605212" y="238955"/>
                    <a:pt x="614818" y="262906"/>
                    <a:pt x="620953" y="287846"/>
                  </a:cubicBezTo>
                  <a:lnTo>
                    <a:pt x="695623" y="287846"/>
                  </a:lnTo>
                  <a:cubicBezTo>
                    <a:pt x="699925" y="309809"/>
                    <a:pt x="702091" y="332139"/>
                    <a:pt x="702092" y="354521"/>
                  </a:cubicBezTo>
                  <a:cubicBezTo>
                    <a:pt x="702098" y="378228"/>
                    <a:pt x="699708" y="401875"/>
                    <a:pt x="694958" y="425101"/>
                  </a:cubicBezTo>
                  <a:lnTo>
                    <a:pt x="620192" y="425101"/>
                  </a:lnTo>
                  <a:cubicBezTo>
                    <a:pt x="613711" y="450015"/>
                    <a:pt x="603718" y="473876"/>
                    <a:pt x="590514" y="495967"/>
                  </a:cubicBezTo>
                  <a:lnTo>
                    <a:pt x="643497" y="549116"/>
                  </a:lnTo>
                  <a:cubicBezTo>
                    <a:pt x="617643" y="587550"/>
                    <a:pt x="584440" y="620474"/>
                    <a:pt x="545807" y="645986"/>
                  </a:cubicBezTo>
                  <a:lnTo>
                    <a:pt x="493300" y="592836"/>
                  </a:lnTo>
                  <a:cubicBezTo>
                    <a:pt x="471476" y="605516"/>
                    <a:pt x="448015" y="615131"/>
                    <a:pt x="423576" y="621411"/>
                  </a:cubicBezTo>
                  <a:lnTo>
                    <a:pt x="423576" y="696182"/>
                  </a:lnTo>
                  <a:cubicBezTo>
                    <a:pt x="378214" y="705327"/>
                    <a:pt x="331487" y="705327"/>
                    <a:pt x="286125" y="696182"/>
                  </a:cubicBezTo>
                  <a:lnTo>
                    <a:pt x="286125" y="621887"/>
                  </a:lnTo>
                  <a:cubicBezTo>
                    <a:pt x="260755" y="615382"/>
                    <a:pt x="236466" y="605210"/>
                    <a:pt x="214023" y="591693"/>
                  </a:cubicBezTo>
                  <a:lnTo>
                    <a:pt x="161421" y="644366"/>
                  </a:lnTo>
                  <a:cubicBezTo>
                    <a:pt x="122896" y="618524"/>
                    <a:pt x="89883" y="585273"/>
                    <a:pt x="64302" y="546545"/>
                  </a:cubicBezTo>
                  <a:lnTo>
                    <a:pt x="117380" y="493871"/>
                  </a:lnTo>
                  <a:cubicBezTo>
                    <a:pt x="104357" y="471657"/>
                    <a:pt x="94556" y="447699"/>
                    <a:pt x="88273" y="422720"/>
                  </a:cubicBezTo>
                  <a:lnTo>
                    <a:pt x="13602" y="422720"/>
                  </a:lnTo>
                  <a:cubicBezTo>
                    <a:pt x="9337" y="400751"/>
                    <a:pt x="7171" y="378425"/>
                    <a:pt x="7134" y="356045"/>
                  </a:cubicBezTo>
                  <a:cubicBezTo>
                    <a:pt x="7121" y="332332"/>
                    <a:pt x="9544" y="308681"/>
                    <a:pt x="14363" y="285464"/>
                  </a:cubicBezTo>
                  <a:lnTo>
                    <a:pt x="89034" y="285464"/>
                  </a:lnTo>
                  <a:cubicBezTo>
                    <a:pt x="95607" y="260597"/>
                    <a:pt x="105629" y="236775"/>
                    <a:pt x="118807" y="214694"/>
                  </a:cubicBezTo>
                  <a:lnTo>
                    <a:pt x="66300" y="161163"/>
                  </a:lnTo>
                  <a:cubicBezTo>
                    <a:pt x="92162" y="122736"/>
                    <a:pt x="125363" y="89814"/>
                    <a:pt x="163989" y="64294"/>
                  </a:cubicBezTo>
                  <a:lnTo>
                    <a:pt x="216497" y="117443"/>
                  </a:lnTo>
                  <a:cubicBezTo>
                    <a:pt x="238279" y="104748"/>
                    <a:pt x="261711" y="95132"/>
                    <a:pt x="286125" y="88868"/>
                  </a:cubicBezTo>
                  <a:lnTo>
                    <a:pt x="286125" y="14002"/>
                  </a:lnTo>
                  <a:cubicBezTo>
                    <a:pt x="331487" y="4858"/>
                    <a:pt x="378214" y="4858"/>
                    <a:pt x="423576" y="14002"/>
                  </a:cubicBezTo>
                  <a:lnTo>
                    <a:pt x="423576" y="88773"/>
                  </a:lnTo>
                  <a:close/>
                  <a:moveTo>
                    <a:pt x="354898" y="185166"/>
                  </a:moveTo>
                  <a:cubicBezTo>
                    <a:pt x="261020" y="185114"/>
                    <a:pt x="184874" y="261277"/>
                    <a:pt x="184821" y="355283"/>
                  </a:cubicBezTo>
                  <a:cubicBezTo>
                    <a:pt x="184769" y="449288"/>
                    <a:pt x="260829" y="525537"/>
                    <a:pt x="354708" y="525590"/>
                  </a:cubicBezTo>
                  <a:cubicBezTo>
                    <a:pt x="448586" y="525642"/>
                    <a:pt x="524733" y="449478"/>
                    <a:pt x="524785" y="355473"/>
                  </a:cubicBezTo>
                  <a:cubicBezTo>
                    <a:pt x="524785" y="355410"/>
                    <a:pt x="524785" y="355346"/>
                    <a:pt x="524785" y="355283"/>
                  </a:cubicBezTo>
                  <a:cubicBezTo>
                    <a:pt x="524733" y="261352"/>
                    <a:pt x="448702" y="185219"/>
                    <a:pt x="354898" y="185166"/>
                  </a:cubicBezTo>
                  <a:close/>
                  <a:moveTo>
                    <a:pt x="354898" y="205073"/>
                  </a:moveTo>
                  <a:cubicBezTo>
                    <a:pt x="271999" y="205021"/>
                    <a:pt x="204754" y="272272"/>
                    <a:pt x="204701" y="355283"/>
                  </a:cubicBezTo>
                  <a:cubicBezTo>
                    <a:pt x="204649" y="438293"/>
                    <a:pt x="271809" y="505630"/>
                    <a:pt x="354708" y="505682"/>
                  </a:cubicBezTo>
                  <a:cubicBezTo>
                    <a:pt x="437607" y="505735"/>
                    <a:pt x="504852" y="438484"/>
                    <a:pt x="504905" y="355473"/>
                  </a:cubicBezTo>
                  <a:cubicBezTo>
                    <a:pt x="504905" y="355410"/>
                    <a:pt x="504905" y="355346"/>
                    <a:pt x="504905" y="355283"/>
                  </a:cubicBezTo>
                  <a:cubicBezTo>
                    <a:pt x="504905" y="272324"/>
                    <a:pt x="437744" y="205073"/>
                    <a:pt x="354898" y="205073"/>
                  </a:cubicBezTo>
                  <a:close/>
                  <a:moveTo>
                    <a:pt x="354898" y="173165"/>
                  </a:moveTo>
                  <a:cubicBezTo>
                    <a:pt x="254400" y="173112"/>
                    <a:pt x="172888" y="254649"/>
                    <a:pt x="172836" y="355283"/>
                  </a:cubicBezTo>
                  <a:cubicBezTo>
                    <a:pt x="172783" y="455916"/>
                    <a:pt x="254210" y="537538"/>
                    <a:pt x="354708" y="537591"/>
                  </a:cubicBezTo>
                  <a:cubicBezTo>
                    <a:pt x="455206" y="537644"/>
                    <a:pt x="536718" y="456107"/>
                    <a:pt x="536770" y="355473"/>
                  </a:cubicBezTo>
                  <a:cubicBezTo>
                    <a:pt x="536770" y="355410"/>
                    <a:pt x="536770" y="355346"/>
                    <a:pt x="536770" y="355283"/>
                  </a:cubicBezTo>
                  <a:cubicBezTo>
                    <a:pt x="536770" y="254702"/>
                    <a:pt x="455343" y="173165"/>
                    <a:pt x="354898" y="173165"/>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14" name="Freeform 13">
              <a:extLst>
                <a:ext uri="{FF2B5EF4-FFF2-40B4-BE49-F238E27FC236}">
                  <a16:creationId xmlns="" xmlns:a16="http://schemas.microsoft.com/office/drawing/2014/main" id="{BDC6A89C-61B0-EE40-B7CD-27A5AB8779D1}"/>
                </a:ext>
              </a:extLst>
            </p:cNvPr>
            <p:cNvSpPr/>
            <p:nvPr/>
          </p:nvSpPr>
          <p:spPr>
            <a:xfrm>
              <a:off x="3811896" y="3353125"/>
              <a:ext cx="800107" cy="627958"/>
            </a:xfrm>
            <a:custGeom>
              <a:avLst/>
              <a:gdLst>
                <a:gd name="connsiteX0" fmla="*/ 423956 w 703898"/>
                <a:gd name="connsiteY0" fmla="*/ 88773 h 552450"/>
                <a:gd name="connsiteX1" fmla="*/ 496058 w 703898"/>
                <a:gd name="connsiteY1" fmla="*/ 118872 h 552450"/>
                <a:gd name="connsiteX2" fmla="*/ 549231 w 703898"/>
                <a:gd name="connsiteY2" fmla="*/ 66294 h 552450"/>
                <a:gd name="connsiteX3" fmla="*/ 645875 w 703898"/>
                <a:gd name="connsiteY3" fmla="*/ 164116 h 552450"/>
                <a:gd name="connsiteX4" fmla="*/ 644924 w 703898"/>
                <a:gd name="connsiteY4" fmla="*/ 165068 h 552450"/>
                <a:gd name="connsiteX5" fmla="*/ 549231 w 703898"/>
                <a:gd name="connsiteY5" fmla="*/ 68580 h 552450"/>
                <a:gd name="connsiteX6" fmla="*/ 496058 w 703898"/>
                <a:gd name="connsiteY6" fmla="*/ 121253 h 552450"/>
                <a:gd name="connsiteX7" fmla="*/ 423956 w 703898"/>
                <a:gd name="connsiteY7" fmla="*/ 91059 h 552450"/>
                <a:gd name="connsiteX8" fmla="*/ 423956 w 703898"/>
                <a:gd name="connsiteY8" fmla="*/ 88773 h 552450"/>
                <a:gd name="connsiteX9" fmla="*/ 593653 w 703898"/>
                <a:gd name="connsiteY9" fmla="*/ 218218 h 552450"/>
                <a:gd name="connsiteX10" fmla="*/ 622189 w 703898"/>
                <a:gd name="connsiteY10" fmla="*/ 287846 h 552450"/>
                <a:gd name="connsiteX11" fmla="*/ 696860 w 703898"/>
                <a:gd name="connsiteY11" fmla="*/ 287846 h 552450"/>
                <a:gd name="connsiteX12" fmla="*/ 703328 w 703898"/>
                <a:gd name="connsiteY12" fmla="*/ 354521 h 552450"/>
                <a:gd name="connsiteX13" fmla="*/ 703328 w 703898"/>
                <a:gd name="connsiteY13" fmla="*/ 355664 h 552450"/>
                <a:gd name="connsiteX14" fmla="*/ 696860 w 703898"/>
                <a:gd name="connsiteY14" fmla="*/ 289846 h 552450"/>
                <a:gd name="connsiteX15" fmla="*/ 622189 w 703898"/>
                <a:gd name="connsiteY15" fmla="*/ 289846 h 552450"/>
                <a:gd name="connsiteX16" fmla="*/ 593653 w 703898"/>
                <a:gd name="connsiteY16" fmla="*/ 218789 h 552450"/>
                <a:gd name="connsiteX17" fmla="*/ 592131 w 703898"/>
                <a:gd name="connsiteY17" fmla="*/ 215932 h 552450"/>
                <a:gd name="connsiteX18" fmla="*/ 593653 w 703898"/>
                <a:gd name="connsiteY18" fmla="*/ 216408 h 552450"/>
                <a:gd name="connsiteX19" fmla="*/ 594509 w 703898"/>
                <a:gd name="connsiteY19" fmla="*/ 217932 h 552450"/>
                <a:gd name="connsiteX20" fmla="*/ 592226 w 703898"/>
                <a:gd name="connsiteY20" fmla="*/ 497205 h 552450"/>
                <a:gd name="connsiteX21" fmla="*/ 643877 w 703898"/>
                <a:gd name="connsiteY21" fmla="*/ 549116 h 552450"/>
                <a:gd name="connsiteX22" fmla="*/ 642926 w 703898"/>
                <a:gd name="connsiteY22" fmla="*/ 550545 h 552450"/>
                <a:gd name="connsiteX23" fmla="*/ 589848 w 703898"/>
                <a:gd name="connsiteY23" fmla="*/ 497015 h 552450"/>
                <a:gd name="connsiteX24" fmla="*/ 591370 w 703898"/>
                <a:gd name="connsiteY24" fmla="*/ 496348 h 552450"/>
                <a:gd name="connsiteX25" fmla="*/ 592226 w 703898"/>
                <a:gd name="connsiteY25" fmla="*/ 497205 h 552450"/>
                <a:gd name="connsiteX26" fmla="*/ 65539 w 703898"/>
                <a:gd name="connsiteY26" fmla="*/ 547878 h 552450"/>
                <a:gd name="connsiteX27" fmla="*/ 64683 w 703898"/>
                <a:gd name="connsiteY27" fmla="*/ 546545 h 552450"/>
                <a:gd name="connsiteX28" fmla="*/ 116904 w 703898"/>
                <a:gd name="connsiteY28" fmla="*/ 494729 h 552450"/>
                <a:gd name="connsiteX29" fmla="*/ 117760 w 703898"/>
                <a:gd name="connsiteY29" fmla="*/ 493871 h 552450"/>
                <a:gd name="connsiteX30" fmla="*/ 119187 w 703898"/>
                <a:gd name="connsiteY30" fmla="*/ 494443 h 552450"/>
                <a:gd name="connsiteX31" fmla="*/ 65539 w 703898"/>
                <a:gd name="connsiteY31" fmla="*/ 547878 h 552450"/>
                <a:gd name="connsiteX32" fmla="*/ 7515 w 703898"/>
                <a:gd name="connsiteY32" fmla="*/ 356426 h 552450"/>
                <a:gd name="connsiteX33" fmla="*/ 7515 w 703898"/>
                <a:gd name="connsiteY33" fmla="*/ 355283 h 552450"/>
                <a:gd name="connsiteX34" fmla="*/ 14744 w 703898"/>
                <a:gd name="connsiteY34" fmla="*/ 284702 h 552450"/>
                <a:gd name="connsiteX35" fmla="*/ 89414 w 703898"/>
                <a:gd name="connsiteY35" fmla="*/ 284702 h 552450"/>
                <a:gd name="connsiteX36" fmla="*/ 117951 w 703898"/>
                <a:gd name="connsiteY36" fmla="*/ 215360 h 552450"/>
                <a:gd name="connsiteX37" fmla="*/ 118807 w 703898"/>
                <a:gd name="connsiteY37" fmla="*/ 213836 h 552450"/>
                <a:gd name="connsiteX38" fmla="*/ 120424 w 703898"/>
                <a:gd name="connsiteY38" fmla="*/ 213170 h 552450"/>
                <a:gd name="connsiteX39" fmla="*/ 118807 w 703898"/>
                <a:gd name="connsiteY39" fmla="*/ 216218 h 552450"/>
                <a:gd name="connsiteX40" fmla="*/ 89034 w 703898"/>
                <a:gd name="connsiteY40" fmla="*/ 287084 h 552450"/>
                <a:gd name="connsiteX41" fmla="*/ 14363 w 703898"/>
                <a:gd name="connsiteY41" fmla="*/ 287084 h 552450"/>
                <a:gd name="connsiteX42" fmla="*/ 7134 w 703898"/>
                <a:gd name="connsiteY42" fmla="*/ 356426 h 552450"/>
                <a:gd name="connsiteX43" fmla="*/ 67536 w 703898"/>
                <a:gd name="connsiteY43" fmla="*/ 162020 h 552450"/>
                <a:gd name="connsiteX44" fmla="*/ 66585 w 703898"/>
                <a:gd name="connsiteY44" fmla="*/ 161163 h 552450"/>
                <a:gd name="connsiteX45" fmla="*/ 164370 w 703898"/>
                <a:gd name="connsiteY45" fmla="*/ 64294 h 552450"/>
                <a:gd name="connsiteX46" fmla="*/ 216877 w 703898"/>
                <a:gd name="connsiteY46" fmla="*/ 117443 h 552450"/>
                <a:gd name="connsiteX47" fmla="*/ 286506 w 703898"/>
                <a:gd name="connsiteY47" fmla="*/ 88868 h 552450"/>
                <a:gd name="connsiteX48" fmla="*/ 286506 w 703898"/>
                <a:gd name="connsiteY48" fmla="*/ 91154 h 552450"/>
                <a:gd name="connsiteX49" fmla="*/ 216877 w 703898"/>
                <a:gd name="connsiteY49" fmla="*/ 119729 h 552450"/>
                <a:gd name="connsiteX50" fmla="*/ 164370 w 703898"/>
                <a:gd name="connsiteY50" fmla="*/ 66580 h 552450"/>
                <a:gd name="connsiteX51" fmla="*/ 67536 w 703898"/>
                <a:gd name="connsiteY51" fmla="*/ 161830 h 552450"/>
                <a:gd name="connsiteX52" fmla="*/ 286316 w 703898"/>
                <a:gd name="connsiteY52" fmla="*/ 16288 h 552450"/>
                <a:gd name="connsiteX53" fmla="*/ 286316 w 703898"/>
                <a:gd name="connsiteY53" fmla="*/ 14002 h 552450"/>
                <a:gd name="connsiteX54" fmla="*/ 423766 w 703898"/>
                <a:gd name="connsiteY54" fmla="*/ 14002 h 552450"/>
                <a:gd name="connsiteX55" fmla="*/ 423766 w 703898"/>
                <a:gd name="connsiteY55" fmla="*/ 16288 h 552450"/>
                <a:gd name="connsiteX56" fmla="*/ 286316 w 703898"/>
                <a:gd name="connsiteY56" fmla="*/ 16288 h 552450"/>
                <a:gd name="connsiteX57" fmla="*/ 355088 w 703898"/>
                <a:gd name="connsiteY57" fmla="*/ 185166 h 552450"/>
                <a:gd name="connsiteX58" fmla="*/ 525165 w 703898"/>
                <a:gd name="connsiteY58" fmla="*/ 355092 h 552450"/>
                <a:gd name="connsiteX59" fmla="*/ 525166 w 703898"/>
                <a:gd name="connsiteY59" fmla="*/ 355283 h 552450"/>
                <a:gd name="connsiteX60" fmla="*/ 525166 w 703898"/>
                <a:gd name="connsiteY60" fmla="*/ 356521 h 552450"/>
                <a:gd name="connsiteX61" fmla="*/ 355279 w 703898"/>
                <a:gd name="connsiteY61" fmla="*/ 186404 h 552450"/>
                <a:gd name="connsiteX62" fmla="*/ 185392 w 703898"/>
                <a:gd name="connsiteY62" fmla="*/ 356521 h 552450"/>
                <a:gd name="connsiteX63" fmla="*/ 185392 w 703898"/>
                <a:gd name="connsiteY63" fmla="*/ 355283 h 552450"/>
                <a:gd name="connsiteX64" fmla="*/ 355279 w 703898"/>
                <a:gd name="connsiteY64" fmla="*/ 185166 h 552450"/>
                <a:gd name="connsiteX65" fmla="*/ 505095 w 703898"/>
                <a:gd name="connsiteY65" fmla="*/ 356616 h 552450"/>
                <a:gd name="connsiteX66" fmla="*/ 355088 w 703898"/>
                <a:gd name="connsiteY66" fmla="*/ 506825 h 552450"/>
                <a:gd name="connsiteX67" fmla="*/ 205082 w 703898"/>
                <a:gd name="connsiteY67" fmla="*/ 356616 h 552450"/>
                <a:gd name="connsiteX68" fmla="*/ 205082 w 703898"/>
                <a:gd name="connsiteY68" fmla="*/ 357759 h 552450"/>
                <a:gd name="connsiteX69" fmla="*/ 355088 w 703898"/>
                <a:gd name="connsiteY69" fmla="*/ 507968 h 552450"/>
                <a:gd name="connsiteX70" fmla="*/ 505095 w 703898"/>
                <a:gd name="connsiteY70" fmla="*/ 357759 h 552450"/>
                <a:gd name="connsiteX71" fmla="*/ 505095 w 703898"/>
                <a:gd name="connsiteY71" fmla="*/ 356616 h 552450"/>
                <a:gd name="connsiteX72" fmla="*/ 536961 w 703898"/>
                <a:gd name="connsiteY72" fmla="*/ 356616 h 552450"/>
                <a:gd name="connsiteX73" fmla="*/ 350881 w 703898"/>
                <a:gd name="connsiteY73" fmla="*/ 534616 h 552450"/>
                <a:gd name="connsiteX74" fmla="*/ 173121 w 703898"/>
                <a:gd name="connsiteY74" fmla="*/ 356616 h 552450"/>
                <a:gd name="connsiteX75" fmla="*/ 173121 w 703898"/>
                <a:gd name="connsiteY75" fmla="*/ 357759 h 552450"/>
                <a:gd name="connsiteX76" fmla="*/ 355088 w 703898"/>
                <a:gd name="connsiteY76" fmla="*/ 539972 h 552450"/>
                <a:gd name="connsiteX77" fmla="*/ 537056 w 703898"/>
                <a:gd name="connsiteY77" fmla="*/ 357759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703898" h="552450">
                  <a:moveTo>
                    <a:pt x="423956" y="88773"/>
                  </a:moveTo>
                  <a:cubicBezTo>
                    <a:pt x="449309" y="95288"/>
                    <a:pt x="473592" y="105425"/>
                    <a:pt x="496058" y="118872"/>
                  </a:cubicBezTo>
                  <a:lnTo>
                    <a:pt x="549231" y="66294"/>
                  </a:lnTo>
                  <a:cubicBezTo>
                    <a:pt x="587606" y="92160"/>
                    <a:pt x="620459" y="125413"/>
                    <a:pt x="645875" y="164116"/>
                  </a:cubicBezTo>
                  <a:lnTo>
                    <a:pt x="644924" y="165068"/>
                  </a:lnTo>
                  <a:cubicBezTo>
                    <a:pt x="619634" y="126950"/>
                    <a:pt x="587122" y="94168"/>
                    <a:pt x="549231" y="68580"/>
                  </a:cubicBezTo>
                  <a:lnTo>
                    <a:pt x="496058" y="121253"/>
                  </a:lnTo>
                  <a:cubicBezTo>
                    <a:pt x="473616" y="107736"/>
                    <a:pt x="449327" y="97565"/>
                    <a:pt x="423956" y="91059"/>
                  </a:cubicBezTo>
                  <a:lnTo>
                    <a:pt x="423956" y="88773"/>
                  </a:lnTo>
                  <a:close/>
                  <a:moveTo>
                    <a:pt x="593653" y="218218"/>
                  </a:moveTo>
                  <a:cubicBezTo>
                    <a:pt x="606328" y="239997"/>
                    <a:pt x="615931" y="263429"/>
                    <a:pt x="622189" y="287846"/>
                  </a:cubicBezTo>
                  <a:lnTo>
                    <a:pt x="696860" y="287846"/>
                  </a:lnTo>
                  <a:cubicBezTo>
                    <a:pt x="701177" y="309807"/>
                    <a:pt x="703343" y="332138"/>
                    <a:pt x="703328" y="354521"/>
                  </a:cubicBezTo>
                  <a:lnTo>
                    <a:pt x="703328" y="355664"/>
                  </a:lnTo>
                  <a:cubicBezTo>
                    <a:pt x="703263" y="333569"/>
                    <a:pt x="701097" y="311530"/>
                    <a:pt x="696860" y="289846"/>
                  </a:cubicBezTo>
                  <a:lnTo>
                    <a:pt x="622189" y="289846"/>
                  </a:lnTo>
                  <a:cubicBezTo>
                    <a:pt x="616071" y="264931"/>
                    <a:pt x="606464" y="241009"/>
                    <a:pt x="593653" y="218789"/>
                  </a:cubicBezTo>
                  <a:lnTo>
                    <a:pt x="592131" y="215932"/>
                  </a:lnTo>
                  <a:lnTo>
                    <a:pt x="593653" y="216408"/>
                  </a:lnTo>
                  <a:lnTo>
                    <a:pt x="594509" y="217932"/>
                  </a:lnTo>
                  <a:close/>
                  <a:moveTo>
                    <a:pt x="592226" y="497205"/>
                  </a:moveTo>
                  <a:lnTo>
                    <a:pt x="643877" y="549116"/>
                  </a:lnTo>
                  <a:lnTo>
                    <a:pt x="642926" y="550545"/>
                  </a:lnTo>
                  <a:lnTo>
                    <a:pt x="589848" y="497015"/>
                  </a:lnTo>
                  <a:lnTo>
                    <a:pt x="591370" y="496348"/>
                  </a:lnTo>
                  <a:lnTo>
                    <a:pt x="592226" y="497205"/>
                  </a:lnTo>
                  <a:close/>
                  <a:moveTo>
                    <a:pt x="65539" y="547878"/>
                  </a:moveTo>
                  <a:lnTo>
                    <a:pt x="64683" y="546545"/>
                  </a:lnTo>
                  <a:lnTo>
                    <a:pt x="116904" y="494729"/>
                  </a:lnTo>
                  <a:lnTo>
                    <a:pt x="117760" y="493871"/>
                  </a:lnTo>
                  <a:lnTo>
                    <a:pt x="119187" y="494443"/>
                  </a:lnTo>
                  <a:lnTo>
                    <a:pt x="65539" y="547878"/>
                  </a:lnTo>
                  <a:close/>
                  <a:moveTo>
                    <a:pt x="7515" y="356426"/>
                  </a:moveTo>
                  <a:lnTo>
                    <a:pt x="7515" y="355283"/>
                  </a:lnTo>
                  <a:cubicBezTo>
                    <a:pt x="7502" y="331570"/>
                    <a:pt x="9924" y="307919"/>
                    <a:pt x="14744" y="284702"/>
                  </a:cubicBezTo>
                  <a:lnTo>
                    <a:pt x="89414" y="284702"/>
                  </a:lnTo>
                  <a:cubicBezTo>
                    <a:pt x="95696" y="260384"/>
                    <a:pt x="105299" y="237050"/>
                    <a:pt x="117951" y="215360"/>
                  </a:cubicBezTo>
                  <a:lnTo>
                    <a:pt x="118807" y="213836"/>
                  </a:lnTo>
                  <a:lnTo>
                    <a:pt x="120424" y="213170"/>
                  </a:lnTo>
                  <a:lnTo>
                    <a:pt x="118807" y="216218"/>
                  </a:lnTo>
                  <a:cubicBezTo>
                    <a:pt x="105573" y="238304"/>
                    <a:pt x="95548" y="262166"/>
                    <a:pt x="89034" y="287084"/>
                  </a:cubicBezTo>
                  <a:lnTo>
                    <a:pt x="14363" y="287084"/>
                  </a:lnTo>
                  <a:cubicBezTo>
                    <a:pt x="9627" y="309895"/>
                    <a:pt x="7205" y="333127"/>
                    <a:pt x="7134" y="356426"/>
                  </a:cubicBezTo>
                  <a:close/>
                  <a:moveTo>
                    <a:pt x="67536" y="162020"/>
                  </a:moveTo>
                  <a:lnTo>
                    <a:pt x="66585" y="161163"/>
                  </a:lnTo>
                  <a:cubicBezTo>
                    <a:pt x="92475" y="122727"/>
                    <a:pt x="125709" y="89804"/>
                    <a:pt x="164370" y="64294"/>
                  </a:cubicBezTo>
                  <a:lnTo>
                    <a:pt x="216877" y="117443"/>
                  </a:lnTo>
                  <a:cubicBezTo>
                    <a:pt x="238659" y="104748"/>
                    <a:pt x="262091" y="95132"/>
                    <a:pt x="286506" y="88868"/>
                  </a:cubicBezTo>
                  <a:lnTo>
                    <a:pt x="286506" y="91154"/>
                  </a:lnTo>
                  <a:cubicBezTo>
                    <a:pt x="262078" y="97379"/>
                    <a:pt x="238641" y="106997"/>
                    <a:pt x="216877" y="119729"/>
                  </a:cubicBezTo>
                  <a:lnTo>
                    <a:pt x="164370" y="66580"/>
                  </a:lnTo>
                  <a:cubicBezTo>
                    <a:pt x="126165" y="91662"/>
                    <a:pt x="93262" y="124027"/>
                    <a:pt x="67536" y="161830"/>
                  </a:cubicBezTo>
                  <a:close/>
                  <a:moveTo>
                    <a:pt x="286316" y="16288"/>
                  </a:moveTo>
                  <a:lnTo>
                    <a:pt x="286316" y="14002"/>
                  </a:lnTo>
                  <a:cubicBezTo>
                    <a:pt x="331677" y="4858"/>
                    <a:pt x="378404" y="4858"/>
                    <a:pt x="423766" y="14002"/>
                  </a:cubicBezTo>
                  <a:lnTo>
                    <a:pt x="423766" y="16288"/>
                  </a:lnTo>
                  <a:cubicBezTo>
                    <a:pt x="378404" y="7144"/>
                    <a:pt x="331677" y="7144"/>
                    <a:pt x="286316" y="16288"/>
                  </a:cubicBezTo>
                  <a:close/>
                  <a:moveTo>
                    <a:pt x="355088" y="185166"/>
                  </a:moveTo>
                  <a:cubicBezTo>
                    <a:pt x="448914" y="185061"/>
                    <a:pt x="525060" y="261139"/>
                    <a:pt x="525165" y="355092"/>
                  </a:cubicBezTo>
                  <a:cubicBezTo>
                    <a:pt x="525166" y="355156"/>
                    <a:pt x="525166" y="355219"/>
                    <a:pt x="525166" y="355283"/>
                  </a:cubicBezTo>
                  <a:lnTo>
                    <a:pt x="525166" y="356521"/>
                  </a:lnTo>
                  <a:cubicBezTo>
                    <a:pt x="525166" y="262568"/>
                    <a:pt x="449105" y="186404"/>
                    <a:pt x="355279" y="186404"/>
                  </a:cubicBezTo>
                  <a:cubicBezTo>
                    <a:pt x="261453" y="186404"/>
                    <a:pt x="185392" y="262568"/>
                    <a:pt x="185392" y="356521"/>
                  </a:cubicBezTo>
                  <a:lnTo>
                    <a:pt x="185392" y="355283"/>
                  </a:lnTo>
                  <a:cubicBezTo>
                    <a:pt x="185444" y="261352"/>
                    <a:pt x="261474" y="185219"/>
                    <a:pt x="355279" y="185166"/>
                  </a:cubicBezTo>
                  <a:close/>
                  <a:moveTo>
                    <a:pt x="505095" y="356616"/>
                  </a:moveTo>
                  <a:cubicBezTo>
                    <a:pt x="505095" y="439574"/>
                    <a:pt x="437935" y="506825"/>
                    <a:pt x="355088" y="506825"/>
                  </a:cubicBezTo>
                  <a:cubicBezTo>
                    <a:pt x="272242" y="506825"/>
                    <a:pt x="205082" y="439574"/>
                    <a:pt x="205082" y="356616"/>
                  </a:cubicBezTo>
                  <a:lnTo>
                    <a:pt x="205082" y="357759"/>
                  </a:lnTo>
                  <a:cubicBezTo>
                    <a:pt x="205082" y="440717"/>
                    <a:pt x="272242" y="507968"/>
                    <a:pt x="355088" y="507968"/>
                  </a:cubicBezTo>
                  <a:cubicBezTo>
                    <a:pt x="437935" y="507968"/>
                    <a:pt x="505095" y="440717"/>
                    <a:pt x="505095" y="357759"/>
                  </a:cubicBezTo>
                  <a:lnTo>
                    <a:pt x="505095" y="356616"/>
                  </a:lnTo>
                  <a:close/>
                  <a:moveTo>
                    <a:pt x="536961" y="356616"/>
                  </a:moveTo>
                  <a:cubicBezTo>
                    <a:pt x="534663" y="457223"/>
                    <a:pt x="451352" y="536917"/>
                    <a:pt x="350881" y="534616"/>
                  </a:cubicBezTo>
                  <a:cubicBezTo>
                    <a:pt x="253643" y="532389"/>
                    <a:pt x="175345" y="453986"/>
                    <a:pt x="173121" y="356616"/>
                  </a:cubicBezTo>
                  <a:lnTo>
                    <a:pt x="173121" y="357759"/>
                  </a:lnTo>
                  <a:cubicBezTo>
                    <a:pt x="173121" y="458393"/>
                    <a:pt x="254591" y="539972"/>
                    <a:pt x="355088" y="539972"/>
                  </a:cubicBezTo>
                  <a:cubicBezTo>
                    <a:pt x="455586" y="539972"/>
                    <a:pt x="537056" y="458393"/>
                    <a:pt x="537056" y="357759"/>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15" name="Freeform 14">
              <a:extLst>
                <a:ext uri="{FF2B5EF4-FFF2-40B4-BE49-F238E27FC236}">
                  <a16:creationId xmlns="" xmlns:a16="http://schemas.microsoft.com/office/drawing/2014/main" id="{C8723B14-205C-EB44-8EBD-7FAE801EE0D1}"/>
                </a:ext>
              </a:extLst>
            </p:cNvPr>
            <p:cNvSpPr/>
            <p:nvPr/>
          </p:nvSpPr>
          <p:spPr>
            <a:xfrm>
              <a:off x="3812004" y="3527654"/>
              <a:ext cx="800107" cy="627958"/>
            </a:xfrm>
            <a:custGeom>
              <a:avLst/>
              <a:gdLst>
                <a:gd name="connsiteX0" fmla="*/ 645780 w 703898"/>
                <a:gd name="connsiteY0" fmla="*/ 10573 h 552450"/>
                <a:gd name="connsiteX1" fmla="*/ 593558 w 703898"/>
                <a:gd name="connsiteY1" fmla="*/ 62198 h 552450"/>
                <a:gd name="connsiteX2" fmla="*/ 592702 w 703898"/>
                <a:gd name="connsiteY2" fmla="*/ 63055 h 552450"/>
                <a:gd name="connsiteX3" fmla="*/ 591180 w 703898"/>
                <a:gd name="connsiteY3" fmla="*/ 62484 h 552450"/>
                <a:gd name="connsiteX4" fmla="*/ 643972 w 703898"/>
                <a:gd name="connsiteY4" fmla="*/ 9906 h 552450"/>
                <a:gd name="connsiteX5" fmla="*/ 645780 w 703898"/>
                <a:gd name="connsiteY5" fmla="*/ 9906 h 552450"/>
                <a:gd name="connsiteX6" fmla="*/ 702852 w 703898"/>
                <a:gd name="connsiteY6" fmla="*/ 201073 h 552450"/>
                <a:gd name="connsiteX7" fmla="*/ 702852 w 703898"/>
                <a:gd name="connsiteY7" fmla="*/ 202120 h 552450"/>
                <a:gd name="connsiteX8" fmla="*/ 695718 w 703898"/>
                <a:gd name="connsiteY8" fmla="*/ 272701 h 552450"/>
                <a:gd name="connsiteX9" fmla="*/ 621048 w 703898"/>
                <a:gd name="connsiteY9" fmla="*/ 272701 h 552450"/>
                <a:gd name="connsiteX10" fmla="*/ 592512 w 703898"/>
                <a:gd name="connsiteY10" fmla="*/ 342138 h 552450"/>
                <a:gd name="connsiteX11" fmla="*/ 591655 w 703898"/>
                <a:gd name="connsiteY11" fmla="*/ 343567 h 552450"/>
                <a:gd name="connsiteX12" fmla="*/ 590134 w 703898"/>
                <a:gd name="connsiteY12" fmla="*/ 344329 h 552450"/>
                <a:gd name="connsiteX13" fmla="*/ 591655 w 703898"/>
                <a:gd name="connsiteY13" fmla="*/ 341281 h 552450"/>
                <a:gd name="connsiteX14" fmla="*/ 621428 w 703898"/>
                <a:gd name="connsiteY14" fmla="*/ 270415 h 552450"/>
                <a:gd name="connsiteX15" fmla="*/ 696099 w 703898"/>
                <a:gd name="connsiteY15" fmla="*/ 270415 h 552450"/>
                <a:gd name="connsiteX16" fmla="*/ 703233 w 703898"/>
                <a:gd name="connsiteY16" fmla="*/ 201073 h 552450"/>
                <a:gd name="connsiteX17" fmla="*/ 643782 w 703898"/>
                <a:gd name="connsiteY17" fmla="*/ 395573 h 552450"/>
                <a:gd name="connsiteX18" fmla="*/ 546092 w 703898"/>
                <a:gd name="connsiteY18" fmla="*/ 492728 h 552450"/>
                <a:gd name="connsiteX19" fmla="*/ 493585 w 703898"/>
                <a:gd name="connsiteY19" fmla="*/ 439674 h 552450"/>
                <a:gd name="connsiteX20" fmla="*/ 423861 w 703898"/>
                <a:gd name="connsiteY20" fmla="*/ 468249 h 552450"/>
                <a:gd name="connsiteX21" fmla="*/ 423861 w 703898"/>
                <a:gd name="connsiteY21" fmla="*/ 466058 h 552450"/>
                <a:gd name="connsiteX22" fmla="*/ 493585 w 703898"/>
                <a:gd name="connsiteY22" fmla="*/ 437483 h 552450"/>
                <a:gd name="connsiteX23" fmla="*/ 546092 w 703898"/>
                <a:gd name="connsiteY23" fmla="*/ 490823 h 552450"/>
                <a:gd name="connsiteX24" fmla="*/ 641975 w 703898"/>
                <a:gd name="connsiteY24" fmla="*/ 396811 h 552450"/>
                <a:gd name="connsiteX25" fmla="*/ 643782 w 703898"/>
                <a:gd name="connsiteY25" fmla="*/ 396811 h 552450"/>
                <a:gd name="connsiteX26" fmla="*/ 423861 w 703898"/>
                <a:gd name="connsiteY26" fmla="*/ 540830 h 552450"/>
                <a:gd name="connsiteX27" fmla="*/ 423861 w 703898"/>
                <a:gd name="connsiteY27" fmla="*/ 543115 h 552450"/>
                <a:gd name="connsiteX28" fmla="*/ 286411 w 703898"/>
                <a:gd name="connsiteY28" fmla="*/ 543115 h 552450"/>
                <a:gd name="connsiteX29" fmla="*/ 286411 w 703898"/>
                <a:gd name="connsiteY29" fmla="*/ 540830 h 552450"/>
                <a:gd name="connsiteX30" fmla="*/ 423861 w 703898"/>
                <a:gd name="connsiteY30" fmla="*/ 540830 h 552450"/>
                <a:gd name="connsiteX31" fmla="*/ 286411 w 703898"/>
                <a:gd name="connsiteY31" fmla="*/ 468344 h 552450"/>
                <a:gd name="connsiteX32" fmla="*/ 214309 w 703898"/>
                <a:gd name="connsiteY32" fmla="*/ 438150 h 552450"/>
                <a:gd name="connsiteX33" fmla="*/ 161706 w 703898"/>
                <a:gd name="connsiteY33" fmla="*/ 490823 h 552450"/>
                <a:gd name="connsiteX34" fmla="*/ 64587 w 703898"/>
                <a:gd name="connsiteY34" fmla="*/ 393002 h 552450"/>
                <a:gd name="connsiteX35" fmla="*/ 66395 w 703898"/>
                <a:gd name="connsiteY35" fmla="*/ 393002 h 552450"/>
                <a:gd name="connsiteX36" fmla="*/ 161516 w 703898"/>
                <a:gd name="connsiteY36" fmla="*/ 488252 h 552450"/>
                <a:gd name="connsiteX37" fmla="*/ 214594 w 703898"/>
                <a:gd name="connsiteY37" fmla="*/ 435578 h 552450"/>
                <a:gd name="connsiteX38" fmla="*/ 286696 w 703898"/>
                <a:gd name="connsiteY38" fmla="*/ 465772 h 552450"/>
                <a:gd name="connsiteX39" fmla="*/ 286696 w 703898"/>
                <a:gd name="connsiteY39" fmla="*/ 468059 h 552450"/>
                <a:gd name="connsiteX40" fmla="*/ 116809 w 703898"/>
                <a:gd name="connsiteY40" fmla="*/ 338900 h 552450"/>
                <a:gd name="connsiteX41" fmla="*/ 88273 w 703898"/>
                <a:gd name="connsiteY41" fmla="*/ 269177 h 552450"/>
                <a:gd name="connsiteX42" fmla="*/ 13602 w 703898"/>
                <a:gd name="connsiteY42" fmla="*/ 269176 h 552450"/>
                <a:gd name="connsiteX43" fmla="*/ 7134 w 703898"/>
                <a:gd name="connsiteY43" fmla="*/ 202501 h 552450"/>
                <a:gd name="connsiteX44" fmla="*/ 7134 w 703898"/>
                <a:gd name="connsiteY44" fmla="*/ 201454 h 552450"/>
                <a:gd name="connsiteX45" fmla="*/ 13602 w 703898"/>
                <a:gd name="connsiteY45" fmla="*/ 267271 h 552450"/>
                <a:gd name="connsiteX46" fmla="*/ 88273 w 703898"/>
                <a:gd name="connsiteY46" fmla="*/ 267271 h 552450"/>
                <a:gd name="connsiteX47" fmla="*/ 117665 w 703898"/>
                <a:gd name="connsiteY47" fmla="*/ 338423 h 552450"/>
                <a:gd name="connsiteX48" fmla="*/ 119092 w 703898"/>
                <a:gd name="connsiteY48" fmla="*/ 341281 h 552450"/>
                <a:gd name="connsiteX49" fmla="*/ 117665 w 703898"/>
                <a:gd name="connsiteY49" fmla="*/ 340709 h 552450"/>
                <a:gd name="connsiteX50" fmla="*/ 116809 w 703898"/>
                <a:gd name="connsiteY50" fmla="*/ 339280 h 552450"/>
                <a:gd name="connsiteX51" fmla="*/ 118236 w 703898"/>
                <a:gd name="connsiteY51" fmla="*/ 59912 h 552450"/>
                <a:gd name="connsiteX52" fmla="*/ 66585 w 703898"/>
                <a:gd name="connsiteY52" fmla="*/ 7620 h 552450"/>
                <a:gd name="connsiteX53" fmla="*/ 68487 w 703898"/>
                <a:gd name="connsiteY53" fmla="*/ 7144 h 552450"/>
                <a:gd name="connsiteX54" fmla="*/ 120804 w 703898"/>
                <a:gd name="connsiteY54" fmla="*/ 60007 h 552450"/>
                <a:gd name="connsiteX55" fmla="*/ 119187 w 703898"/>
                <a:gd name="connsiteY55" fmla="*/ 60769 h 552450"/>
                <a:gd name="connsiteX56" fmla="*/ 118331 w 703898"/>
                <a:gd name="connsiteY56" fmla="*/ 59912 h 552450"/>
                <a:gd name="connsiteX57" fmla="*/ 525070 w 703898"/>
                <a:gd name="connsiteY57" fmla="*/ 200596 h 552450"/>
                <a:gd name="connsiteX58" fmla="*/ 525070 w 703898"/>
                <a:gd name="connsiteY58" fmla="*/ 201740 h 552450"/>
                <a:gd name="connsiteX59" fmla="*/ 359157 w 703898"/>
                <a:gd name="connsiteY59" fmla="*/ 375930 h 552450"/>
                <a:gd name="connsiteX60" fmla="*/ 185201 w 703898"/>
                <a:gd name="connsiteY60" fmla="*/ 209792 h 552450"/>
                <a:gd name="connsiteX61" fmla="*/ 185201 w 703898"/>
                <a:gd name="connsiteY61" fmla="*/ 201740 h 552450"/>
                <a:gd name="connsiteX62" fmla="*/ 185201 w 703898"/>
                <a:gd name="connsiteY62" fmla="*/ 200596 h 552450"/>
                <a:gd name="connsiteX63" fmla="*/ 355088 w 703898"/>
                <a:gd name="connsiteY63" fmla="*/ 370713 h 552450"/>
                <a:gd name="connsiteX64" fmla="*/ 524975 w 703898"/>
                <a:gd name="connsiteY64" fmla="*/ 200596 h 552450"/>
                <a:gd name="connsiteX65" fmla="*/ 355184 w 703898"/>
                <a:gd name="connsiteY65" fmla="*/ 51530 h 552450"/>
                <a:gd name="connsiteX66" fmla="*/ 505190 w 703898"/>
                <a:gd name="connsiteY66" fmla="*/ 200597 h 552450"/>
                <a:gd name="connsiteX67" fmla="*/ 505190 w 703898"/>
                <a:gd name="connsiteY67" fmla="*/ 199453 h 552450"/>
                <a:gd name="connsiteX68" fmla="*/ 355184 w 703898"/>
                <a:gd name="connsiteY68" fmla="*/ 49244 h 552450"/>
                <a:gd name="connsiteX69" fmla="*/ 205177 w 703898"/>
                <a:gd name="connsiteY69" fmla="*/ 199453 h 552450"/>
                <a:gd name="connsiteX70" fmla="*/ 205177 w 703898"/>
                <a:gd name="connsiteY70" fmla="*/ 200596 h 552450"/>
                <a:gd name="connsiteX71" fmla="*/ 355184 w 703898"/>
                <a:gd name="connsiteY71" fmla="*/ 51530 h 552450"/>
                <a:gd name="connsiteX72" fmla="*/ 355184 w 703898"/>
                <a:gd name="connsiteY72" fmla="*/ 19621 h 552450"/>
                <a:gd name="connsiteX73" fmla="*/ 537056 w 703898"/>
                <a:gd name="connsiteY73" fmla="*/ 200596 h 552450"/>
                <a:gd name="connsiteX74" fmla="*/ 537056 w 703898"/>
                <a:gd name="connsiteY74" fmla="*/ 199453 h 552450"/>
                <a:gd name="connsiteX75" fmla="*/ 355088 w 703898"/>
                <a:gd name="connsiteY75" fmla="*/ 17240 h 552450"/>
                <a:gd name="connsiteX76" fmla="*/ 173121 w 703898"/>
                <a:gd name="connsiteY76" fmla="*/ 199453 h 552450"/>
                <a:gd name="connsiteX77" fmla="*/ 173121 w 703898"/>
                <a:gd name="connsiteY77" fmla="*/ 200596 h 552450"/>
                <a:gd name="connsiteX78" fmla="*/ 355184 w 703898"/>
                <a:gd name="connsiteY78" fmla="*/ 19621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703898" h="552450">
                  <a:moveTo>
                    <a:pt x="645780" y="10573"/>
                  </a:moveTo>
                  <a:lnTo>
                    <a:pt x="593558" y="62198"/>
                  </a:lnTo>
                  <a:lnTo>
                    <a:pt x="592702" y="63055"/>
                  </a:lnTo>
                  <a:lnTo>
                    <a:pt x="591180" y="62484"/>
                  </a:lnTo>
                  <a:lnTo>
                    <a:pt x="643972" y="9906"/>
                  </a:lnTo>
                  <a:lnTo>
                    <a:pt x="645780" y="9906"/>
                  </a:lnTo>
                  <a:close/>
                  <a:moveTo>
                    <a:pt x="702852" y="201073"/>
                  </a:moveTo>
                  <a:lnTo>
                    <a:pt x="702852" y="202120"/>
                  </a:lnTo>
                  <a:cubicBezTo>
                    <a:pt x="702859" y="225828"/>
                    <a:pt x="700469" y="249475"/>
                    <a:pt x="695718" y="272701"/>
                  </a:cubicBezTo>
                  <a:lnTo>
                    <a:pt x="621048" y="272701"/>
                  </a:lnTo>
                  <a:cubicBezTo>
                    <a:pt x="614700" y="297027"/>
                    <a:pt x="605101" y="320384"/>
                    <a:pt x="592512" y="342138"/>
                  </a:cubicBezTo>
                  <a:lnTo>
                    <a:pt x="591655" y="343567"/>
                  </a:lnTo>
                  <a:lnTo>
                    <a:pt x="590134" y="344329"/>
                  </a:lnTo>
                  <a:lnTo>
                    <a:pt x="591655" y="341281"/>
                  </a:lnTo>
                  <a:cubicBezTo>
                    <a:pt x="604850" y="319174"/>
                    <a:pt x="614873" y="295318"/>
                    <a:pt x="621428" y="270415"/>
                  </a:cubicBezTo>
                  <a:lnTo>
                    <a:pt x="696099" y="270415"/>
                  </a:lnTo>
                  <a:cubicBezTo>
                    <a:pt x="700756" y="247593"/>
                    <a:pt x="703146" y="224366"/>
                    <a:pt x="703233" y="201073"/>
                  </a:cubicBezTo>
                  <a:close/>
                  <a:moveTo>
                    <a:pt x="643782" y="395573"/>
                  </a:moveTo>
                  <a:cubicBezTo>
                    <a:pt x="617991" y="434138"/>
                    <a:pt x="584780" y="467166"/>
                    <a:pt x="546092" y="492728"/>
                  </a:cubicBezTo>
                  <a:lnTo>
                    <a:pt x="493585" y="439674"/>
                  </a:lnTo>
                  <a:cubicBezTo>
                    <a:pt x="471761" y="452354"/>
                    <a:pt x="448301" y="461969"/>
                    <a:pt x="423861" y="468249"/>
                  </a:cubicBezTo>
                  <a:lnTo>
                    <a:pt x="423861" y="466058"/>
                  </a:lnTo>
                  <a:cubicBezTo>
                    <a:pt x="448314" y="459817"/>
                    <a:pt x="471780" y="450200"/>
                    <a:pt x="493585" y="437483"/>
                  </a:cubicBezTo>
                  <a:lnTo>
                    <a:pt x="546092" y="490823"/>
                  </a:lnTo>
                  <a:cubicBezTo>
                    <a:pt x="583803" y="465964"/>
                    <a:pt x="616360" y="434041"/>
                    <a:pt x="641975" y="396811"/>
                  </a:cubicBezTo>
                  <a:lnTo>
                    <a:pt x="643782" y="396811"/>
                  </a:lnTo>
                  <a:close/>
                  <a:moveTo>
                    <a:pt x="423861" y="540830"/>
                  </a:moveTo>
                  <a:lnTo>
                    <a:pt x="423861" y="543115"/>
                  </a:lnTo>
                  <a:cubicBezTo>
                    <a:pt x="378499" y="552260"/>
                    <a:pt x="331773" y="552260"/>
                    <a:pt x="286411" y="543115"/>
                  </a:cubicBezTo>
                  <a:lnTo>
                    <a:pt x="286411" y="540830"/>
                  </a:lnTo>
                  <a:cubicBezTo>
                    <a:pt x="331773" y="549974"/>
                    <a:pt x="378499" y="549974"/>
                    <a:pt x="423861" y="540830"/>
                  </a:cubicBezTo>
                  <a:close/>
                  <a:moveTo>
                    <a:pt x="286411" y="468344"/>
                  </a:moveTo>
                  <a:cubicBezTo>
                    <a:pt x="261040" y="461839"/>
                    <a:pt x="236751" y="451667"/>
                    <a:pt x="214309" y="438150"/>
                  </a:cubicBezTo>
                  <a:lnTo>
                    <a:pt x="161706" y="490823"/>
                  </a:lnTo>
                  <a:cubicBezTo>
                    <a:pt x="123181" y="464981"/>
                    <a:pt x="90169" y="431730"/>
                    <a:pt x="64587" y="393002"/>
                  </a:cubicBezTo>
                  <a:lnTo>
                    <a:pt x="66395" y="393002"/>
                  </a:lnTo>
                  <a:cubicBezTo>
                    <a:pt x="91691" y="430580"/>
                    <a:pt x="123988" y="462921"/>
                    <a:pt x="161516" y="488252"/>
                  </a:cubicBezTo>
                  <a:lnTo>
                    <a:pt x="214594" y="435578"/>
                  </a:lnTo>
                  <a:cubicBezTo>
                    <a:pt x="237056" y="449056"/>
                    <a:pt x="261339" y="459225"/>
                    <a:pt x="286696" y="465772"/>
                  </a:cubicBezTo>
                  <a:lnTo>
                    <a:pt x="286696" y="468059"/>
                  </a:lnTo>
                  <a:close/>
                  <a:moveTo>
                    <a:pt x="116809" y="338900"/>
                  </a:moveTo>
                  <a:cubicBezTo>
                    <a:pt x="104120" y="317093"/>
                    <a:pt x="94516" y="293628"/>
                    <a:pt x="88273" y="269177"/>
                  </a:cubicBezTo>
                  <a:lnTo>
                    <a:pt x="13602" y="269176"/>
                  </a:lnTo>
                  <a:cubicBezTo>
                    <a:pt x="9337" y="247208"/>
                    <a:pt x="7171" y="224882"/>
                    <a:pt x="7134" y="202501"/>
                  </a:cubicBezTo>
                  <a:lnTo>
                    <a:pt x="7134" y="201454"/>
                  </a:lnTo>
                  <a:cubicBezTo>
                    <a:pt x="7251" y="223546"/>
                    <a:pt x="9417" y="245580"/>
                    <a:pt x="13602" y="267271"/>
                  </a:cubicBezTo>
                  <a:lnTo>
                    <a:pt x="88273" y="267271"/>
                  </a:lnTo>
                  <a:cubicBezTo>
                    <a:pt x="94646" y="292266"/>
                    <a:pt x="104542" y="316224"/>
                    <a:pt x="117665" y="338423"/>
                  </a:cubicBezTo>
                  <a:lnTo>
                    <a:pt x="119092" y="341281"/>
                  </a:lnTo>
                  <a:lnTo>
                    <a:pt x="117665" y="340709"/>
                  </a:lnTo>
                  <a:lnTo>
                    <a:pt x="116809" y="339280"/>
                  </a:lnTo>
                  <a:close/>
                  <a:moveTo>
                    <a:pt x="118236" y="59912"/>
                  </a:moveTo>
                  <a:lnTo>
                    <a:pt x="66585" y="7620"/>
                  </a:lnTo>
                  <a:lnTo>
                    <a:pt x="68487" y="7144"/>
                  </a:lnTo>
                  <a:lnTo>
                    <a:pt x="120804" y="60007"/>
                  </a:lnTo>
                  <a:lnTo>
                    <a:pt x="119187" y="60769"/>
                  </a:lnTo>
                  <a:lnTo>
                    <a:pt x="118331" y="59912"/>
                  </a:lnTo>
                  <a:close/>
                  <a:moveTo>
                    <a:pt x="525070" y="200596"/>
                  </a:moveTo>
                  <a:lnTo>
                    <a:pt x="525070" y="201740"/>
                  </a:lnTo>
                  <a:cubicBezTo>
                    <a:pt x="527291" y="295719"/>
                    <a:pt x="453009" y="373706"/>
                    <a:pt x="359157" y="375930"/>
                  </a:cubicBezTo>
                  <a:cubicBezTo>
                    <a:pt x="265304" y="378153"/>
                    <a:pt x="187422" y="303771"/>
                    <a:pt x="185201" y="209792"/>
                  </a:cubicBezTo>
                  <a:cubicBezTo>
                    <a:pt x="185138" y="207108"/>
                    <a:pt x="185138" y="204423"/>
                    <a:pt x="185201" y="201740"/>
                  </a:cubicBezTo>
                  <a:lnTo>
                    <a:pt x="185201" y="200596"/>
                  </a:lnTo>
                  <a:cubicBezTo>
                    <a:pt x="185201" y="294549"/>
                    <a:pt x="261262" y="370713"/>
                    <a:pt x="355088" y="370713"/>
                  </a:cubicBezTo>
                  <a:cubicBezTo>
                    <a:pt x="448914" y="370713"/>
                    <a:pt x="524975" y="294549"/>
                    <a:pt x="524975" y="200596"/>
                  </a:cubicBezTo>
                  <a:close/>
                  <a:moveTo>
                    <a:pt x="355184" y="51530"/>
                  </a:moveTo>
                  <a:cubicBezTo>
                    <a:pt x="437565" y="51580"/>
                    <a:pt x="504511" y="118107"/>
                    <a:pt x="505190" y="200597"/>
                  </a:cubicBezTo>
                  <a:lnTo>
                    <a:pt x="505190" y="199453"/>
                  </a:lnTo>
                  <a:cubicBezTo>
                    <a:pt x="505190" y="116495"/>
                    <a:pt x="438030" y="49244"/>
                    <a:pt x="355184" y="49244"/>
                  </a:cubicBezTo>
                  <a:cubicBezTo>
                    <a:pt x="272337" y="49244"/>
                    <a:pt x="205177" y="116495"/>
                    <a:pt x="205177" y="199453"/>
                  </a:cubicBezTo>
                  <a:lnTo>
                    <a:pt x="205177" y="200596"/>
                  </a:lnTo>
                  <a:cubicBezTo>
                    <a:pt x="205804" y="118085"/>
                    <a:pt x="272781" y="51528"/>
                    <a:pt x="355184" y="51530"/>
                  </a:cubicBezTo>
                  <a:close/>
                  <a:moveTo>
                    <a:pt x="355184" y="19621"/>
                  </a:moveTo>
                  <a:cubicBezTo>
                    <a:pt x="455185" y="19620"/>
                    <a:pt x="536428" y="100462"/>
                    <a:pt x="537056" y="200596"/>
                  </a:cubicBezTo>
                  <a:lnTo>
                    <a:pt x="537056" y="199453"/>
                  </a:lnTo>
                  <a:cubicBezTo>
                    <a:pt x="537056" y="98820"/>
                    <a:pt x="455586" y="17240"/>
                    <a:pt x="355088" y="17240"/>
                  </a:cubicBezTo>
                  <a:cubicBezTo>
                    <a:pt x="254591" y="17240"/>
                    <a:pt x="173121" y="98820"/>
                    <a:pt x="173121" y="199453"/>
                  </a:cubicBezTo>
                  <a:lnTo>
                    <a:pt x="173121" y="200596"/>
                  </a:lnTo>
                  <a:cubicBezTo>
                    <a:pt x="173801" y="100410"/>
                    <a:pt x="255130" y="19567"/>
                    <a:pt x="355184" y="19621"/>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16" name="Freeform 15">
              <a:extLst>
                <a:ext uri="{FF2B5EF4-FFF2-40B4-BE49-F238E27FC236}">
                  <a16:creationId xmlns="" xmlns:a16="http://schemas.microsoft.com/office/drawing/2014/main" id="{CDC34448-314B-F840-B38D-4B610E62143F}"/>
                </a:ext>
              </a:extLst>
            </p:cNvPr>
            <p:cNvSpPr/>
            <p:nvPr/>
          </p:nvSpPr>
          <p:spPr>
            <a:xfrm>
              <a:off x="4934640" y="3203389"/>
              <a:ext cx="216245" cy="216537"/>
            </a:xfrm>
            <a:custGeom>
              <a:avLst/>
              <a:gdLst>
                <a:gd name="connsiteX0" fmla="*/ 76858 w 190242"/>
                <a:gd name="connsiteY0" fmla="*/ 53816 h 190500"/>
                <a:gd name="connsiteX1" fmla="*/ 136698 w 190242"/>
                <a:gd name="connsiteY1" fmla="*/ 77011 h 190500"/>
                <a:gd name="connsiteX2" fmla="*/ 113534 w 190242"/>
                <a:gd name="connsiteY2" fmla="*/ 136932 h 190500"/>
                <a:gd name="connsiteX3" fmla="*/ 53694 w 190242"/>
                <a:gd name="connsiteY3" fmla="*/ 113737 h 190500"/>
                <a:gd name="connsiteX4" fmla="*/ 53648 w 190242"/>
                <a:gd name="connsiteY4" fmla="*/ 113633 h 190500"/>
                <a:gd name="connsiteX5" fmla="*/ 76858 w 190242"/>
                <a:gd name="connsiteY5" fmla="*/ 53816 h 190500"/>
                <a:gd name="connsiteX6" fmla="*/ 53839 w 190242"/>
                <a:gd name="connsiteY6" fmla="*/ 17431 h 190500"/>
                <a:gd name="connsiteX7" fmla="*/ 58024 w 190242"/>
                <a:gd name="connsiteY7" fmla="*/ 35243 h 190500"/>
                <a:gd name="connsiteX8" fmla="*/ 44422 w 190242"/>
                <a:gd name="connsiteY8" fmla="*/ 46196 h 190500"/>
                <a:gd name="connsiteX9" fmla="*/ 27966 w 190242"/>
                <a:gd name="connsiteY9" fmla="*/ 38291 h 190500"/>
                <a:gd name="connsiteX10" fmla="*/ 20641 w 190242"/>
                <a:gd name="connsiteY10" fmla="*/ 48482 h 190500"/>
                <a:gd name="connsiteX11" fmla="*/ 33007 w 190242"/>
                <a:gd name="connsiteY11" fmla="*/ 61722 h 190500"/>
                <a:gd name="connsiteX12" fmla="*/ 26634 w 190242"/>
                <a:gd name="connsiteY12" fmla="*/ 78105 h 190500"/>
                <a:gd name="connsiteX13" fmla="*/ 8466 w 190242"/>
                <a:gd name="connsiteY13" fmla="*/ 79534 h 190500"/>
                <a:gd name="connsiteX14" fmla="*/ 7134 w 190242"/>
                <a:gd name="connsiteY14" fmla="*/ 92107 h 190500"/>
                <a:gd name="connsiteX15" fmla="*/ 24541 w 190242"/>
                <a:gd name="connsiteY15" fmla="*/ 97346 h 190500"/>
                <a:gd name="connsiteX16" fmla="*/ 27300 w 190242"/>
                <a:gd name="connsiteY16" fmla="*/ 114681 h 190500"/>
                <a:gd name="connsiteX17" fmla="*/ 12176 w 190242"/>
                <a:gd name="connsiteY17" fmla="*/ 124968 h 190500"/>
                <a:gd name="connsiteX18" fmla="*/ 17312 w 190242"/>
                <a:gd name="connsiteY18" fmla="*/ 136589 h 190500"/>
                <a:gd name="connsiteX19" fmla="*/ 35100 w 190242"/>
                <a:gd name="connsiteY19" fmla="*/ 132398 h 190500"/>
                <a:gd name="connsiteX20" fmla="*/ 46039 w 190242"/>
                <a:gd name="connsiteY20" fmla="*/ 146018 h 190500"/>
                <a:gd name="connsiteX21" fmla="*/ 38144 w 190242"/>
                <a:gd name="connsiteY21" fmla="*/ 162497 h 190500"/>
                <a:gd name="connsiteX22" fmla="*/ 48417 w 190242"/>
                <a:gd name="connsiteY22" fmla="*/ 170021 h 190500"/>
                <a:gd name="connsiteX23" fmla="*/ 61639 w 190242"/>
                <a:gd name="connsiteY23" fmla="*/ 157448 h 190500"/>
                <a:gd name="connsiteX24" fmla="*/ 78000 w 190242"/>
                <a:gd name="connsiteY24" fmla="*/ 163830 h 190500"/>
                <a:gd name="connsiteX25" fmla="*/ 79426 w 190242"/>
                <a:gd name="connsiteY25" fmla="*/ 182023 h 190500"/>
                <a:gd name="connsiteX26" fmla="*/ 91982 w 190242"/>
                <a:gd name="connsiteY26" fmla="*/ 183356 h 190500"/>
                <a:gd name="connsiteX27" fmla="*/ 97214 w 190242"/>
                <a:gd name="connsiteY27" fmla="*/ 165926 h 190500"/>
                <a:gd name="connsiteX28" fmla="*/ 114526 w 190242"/>
                <a:gd name="connsiteY28" fmla="*/ 163163 h 190500"/>
                <a:gd name="connsiteX29" fmla="*/ 125275 w 190242"/>
                <a:gd name="connsiteY29" fmla="*/ 178403 h 190500"/>
                <a:gd name="connsiteX30" fmla="*/ 136785 w 190242"/>
                <a:gd name="connsiteY30" fmla="*/ 173260 h 190500"/>
                <a:gd name="connsiteX31" fmla="*/ 132599 w 190242"/>
                <a:gd name="connsiteY31" fmla="*/ 155448 h 190500"/>
                <a:gd name="connsiteX32" fmla="*/ 146297 w 190242"/>
                <a:gd name="connsiteY32" fmla="*/ 144494 h 190500"/>
                <a:gd name="connsiteX33" fmla="*/ 162658 w 190242"/>
                <a:gd name="connsiteY33" fmla="*/ 152400 h 190500"/>
                <a:gd name="connsiteX34" fmla="*/ 170172 w 190242"/>
                <a:gd name="connsiteY34" fmla="*/ 142208 h 190500"/>
                <a:gd name="connsiteX35" fmla="*/ 157616 w 190242"/>
                <a:gd name="connsiteY35" fmla="*/ 128873 h 190500"/>
                <a:gd name="connsiteX36" fmla="*/ 163989 w 190242"/>
                <a:gd name="connsiteY36" fmla="*/ 112490 h 190500"/>
                <a:gd name="connsiteX37" fmla="*/ 182158 w 190242"/>
                <a:gd name="connsiteY37" fmla="*/ 111062 h 190500"/>
                <a:gd name="connsiteX38" fmla="*/ 183584 w 190242"/>
                <a:gd name="connsiteY38" fmla="*/ 98489 h 190500"/>
                <a:gd name="connsiteX39" fmla="*/ 166082 w 190242"/>
                <a:gd name="connsiteY39" fmla="*/ 93250 h 190500"/>
                <a:gd name="connsiteX40" fmla="*/ 163419 w 190242"/>
                <a:gd name="connsiteY40" fmla="*/ 75914 h 190500"/>
                <a:gd name="connsiteX41" fmla="*/ 178448 w 190242"/>
                <a:gd name="connsiteY41" fmla="*/ 65627 h 190500"/>
                <a:gd name="connsiteX42" fmla="*/ 172836 w 190242"/>
                <a:gd name="connsiteY42" fmla="*/ 54007 h 190500"/>
                <a:gd name="connsiteX43" fmla="*/ 155048 w 190242"/>
                <a:gd name="connsiteY43" fmla="*/ 58198 h 190500"/>
                <a:gd name="connsiteX44" fmla="*/ 144299 w 190242"/>
                <a:gd name="connsiteY44" fmla="*/ 44482 h 190500"/>
                <a:gd name="connsiteX45" fmla="*/ 152194 w 190242"/>
                <a:gd name="connsiteY45" fmla="*/ 28099 h 190500"/>
                <a:gd name="connsiteX46" fmla="*/ 142016 w 190242"/>
                <a:gd name="connsiteY46" fmla="*/ 20574 h 190500"/>
                <a:gd name="connsiteX47" fmla="*/ 128604 w 190242"/>
                <a:gd name="connsiteY47" fmla="*/ 33147 h 190500"/>
                <a:gd name="connsiteX48" fmla="*/ 112243 w 190242"/>
                <a:gd name="connsiteY48" fmla="*/ 26765 h 190500"/>
                <a:gd name="connsiteX49" fmla="*/ 110816 w 190242"/>
                <a:gd name="connsiteY49" fmla="*/ 8573 h 190500"/>
                <a:gd name="connsiteX50" fmla="*/ 98260 w 190242"/>
                <a:gd name="connsiteY50" fmla="*/ 7144 h 190500"/>
                <a:gd name="connsiteX51" fmla="*/ 93029 w 190242"/>
                <a:gd name="connsiteY51" fmla="*/ 24670 h 190500"/>
                <a:gd name="connsiteX52" fmla="*/ 75717 w 190242"/>
                <a:gd name="connsiteY52" fmla="*/ 27337 h 190500"/>
                <a:gd name="connsiteX53" fmla="*/ 65444 w 190242"/>
                <a:gd name="connsiteY53" fmla="*/ 12287 h 190500"/>
                <a:gd name="connsiteX54" fmla="*/ 53839 w 190242"/>
                <a:gd name="connsiteY54" fmla="*/ 17431 h 190500"/>
                <a:gd name="connsiteX55" fmla="*/ 71436 w 190242"/>
                <a:gd name="connsiteY55" fmla="*/ 41624 h 190500"/>
                <a:gd name="connsiteX56" fmla="*/ 41594 w 190242"/>
                <a:gd name="connsiteY56" fmla="*/ 119179 h 190500"/>
                <a:gd name="connsiteX57" fmla="*/ 119043 w 190242"/>
                <a:gd name="connsiteY57" fmla="*/ 149061 h 190500"/>
                <a:gd name="connsiteX58" fmla="*/ 148886 w 190242"/>
                <a:gd name="connsiteY58" fmla="*/ 71507 h 190500"/>
                <a:gd name="connsiteX59" fmla="*/ 148770 w 190242"/>
                <a:gd name="connsiteY59" fmla="*/ 71247 h 190500"/>
                <a:gd name="connsiteX60" fmla="*/ 71436 w 190242"/>
                <a:gd name="connsiteY60" fmla="*/ 4162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90242" h="190500">
                  <a:moveTo>
                    <a:pt x="76858" y="53816"/>
                  </a:moveTo>
                  <a:cubicBezTo>
                    <a:pt x="99779" y="43675"/>
                    <a:pt x="126570" y="54060"/>
                    <a:pt x="136698" y="77011"/>
                  </a:cubicBezTo>
                  <a:cubicBezTo>
                    <a:pt x="146826" y="99963"/>
                    <a:pt x="136455" y="126791"/>
                    <a:pt x="113534" y="136932"/>
                  </a:cubicBezTo>
                  <a:cubicBezTo>
                    <a:pt x="90613" y="147074"/>
                    <a:pt x="63822" y="136689"/>
                    <a:pt x="53694" y="113737"/>
                  </a:cubicBezTo>
                  <a:cubicBezTo>
                    <a:pt x="53679" y="113703"/>
                    <a:pt x="53664" y="113668"/>
                    <a:pt x="53648" y="113633"/>
                  </a:cubicBezTo>
                  <a:cubicBezTo>
                    <a:pt x="43596" y="90697"/>
                    <a:pt x="53978" y="63940"/>
                    <a:pt x="76858" y="53816"/>
                  </a:cubicBezTo>
                  <a:close/>
                  <a:moveTo>
                    <a:pt x="53839" y="17431"/>
                  </a:moveTo>
                  <a:lnTo>
                    <a:pt x="58024" y="35243"/>
                  </a:lnTo>
                  <a:cubicBezTo>
                    <a:pt x="53026" y="38275"/>
                    <a:pt x="48452" y="41958"/>
                    <a:pt x="44422" y="46196"/>
                  </a:cubicBezTo>
                  <a:lnTo>
                    <a:pt x="27966" y="38291"/>
                  </a:lnTo>
                  <a:lnTo>
                    <a:pt x="20641" y="48482"/>
                  </a:lnTo>
                  <a:lnTo>
                    <a:pt x="33007" y="61722"/>
                  </a:lnTo>
                  <a:cubicBezTo>
                    <a:pt x="30216" y="66899"/>
                    <a:pt x="28076" y="72402"/>
                    <a:pt x="26634" y="78105"/>
                  </a:cubicBezTo>
                  <a:lnTo>
                    <a:pt x="8466" y="79534"/>
                  </a:lnTo>
                  <a:lnTo>
                    <a:pt x="7134" y="92107"/>
                  </a:lnTo>
                  <a:lnTo>
                    <a:pt x="24541" y="97346"/>
                  </a:lnTo>
                  <a:cubicBezTo>
                    <a:pt x="24707" y="103219"/>
                    <a:pt x="25634" y="109047"/>
                    <a:pt x="27300" y="114681"/>
                  </a:cubicBezTo>
                  <a:lnTo>
                    <a:pt x="12176" y="124968"/>
                  </a:lnTo>
                  <a:lnTo>
                    <a:pt x="17312" y="136589"/>
                  </a:lnTo>
                  <a:lnTo>
                    <a:pt x="35100" y="132398"/>
                  </a:lnTo>
                  <a:cubicBezTo>
                    <a:pt x="38159" y="137381"/>
                    <a:pt x="41834" y="141958"/>
                    <a:pt x="46039" y="146018"/>
                  </a:cubicBezTo>
                  <a:lnTo>
                    <a:pt x="38144" y="162497"/>
                  </a:lnTo>
                  <a:lnTo>
                    <a:pt x="48417" y="170021"/>
                  </a:lnTo>
                  <a:lnTo>
                    <a:pt x="61639" y="157448"/>
                  </a:lnTo>
                  <a:cubicBezTo>
                    <a:pt x="66816" y="160227"/>
                    <a:pt x="72309" y="162370"/>
                    <a:pt x="78000" y="163830"/>
                  </a:cubicBezTo>
                  <a:lnTo>
                    <a:pt x="79426" y="182023"/>
                  </a:lnTo>
                  <a:lnTo>
                    <a:pt x="91982" y="183356"/>
                  </a:lnTo>
                  <a:lnTo>
                    <a:pt x="97214" y="165926"/>
                  </a:lnTo>
                  <a:cubicBezTo>
                    <a:pt x="103080" y="165760"/>
                    <a:pt x="108899" y="164831"/>
                    <a:pt x="114526" y="163163"/>
                  </a:cubicBezTo>
                  <a:lnTo>
                    <a:pt x="125275" y="178403"/>
                  </a:lnTo>
                  <a:lnTo>
                    <a:pt x="136785" y="173260"/>
                  </a:lnTo>
                  <a:lnTo>
                    <a:pt x="132599" y="155448"/>
                  </a:lnTo>
                  <a:cubicBezTo>
                    <a:pt x="137589" y="152362"/>
                    <a:pt x="142188" y="148684"/>
                    <a:pt x="146297" y="144494"/>
                  </a:cubicBezTo>
                  <a:lnTo>
                    <a:pt x="162658" y="152400"/>
                  </a:lnTo>
                  <a:lnTo>
                    <a:pt x="170172" y="142208"/>
                  </a:lnTo>
                  <a:lnTo>
                    <a:pt x="157616" y="128873"/>
                  </a:lnTo>
                  <a:cubicBezTo>
                    <a:pt x="160432" y="123708"/>
                    <a:pt x="162574" y="118202"/>
                    <a:pt x="163989" y="112490"/>
                  </a:cubicBezTo>
                  <a:lnTo>
                    <a:pt x="182158" y="111062"/>
                  </a:lnTo>
                  <a:lnTo>
                    <a:pt x="183584" y="98489"/>
                  </a:lnTo>
                  <a:lnTo>
                    <a:pt x="166082" y="93250"/>
                  </a:lnTo>
                  <a:cubicBezTo>
                    <a:pt x="165902" y="87384"/>
                    <a:pt x="165007" y="81563"/>
                    <a:pt x="163419" y="75914"/>
                  </a:cubicBezTo>
                  <a:lnTo>
                    <a:pt x="178448" y="65627"/>
                  </a:lnTo>
                  <a:lnTo>
                    <a:pt x="172836" y="54007"/>
                  </a:lnTo>
                  <a:lnTo>
                    <a:pt x="155048" y="58198"/>
                  </a:lnTo>
                  <a:cubicBezTo>
                    <a:pt x="152056" y="53191"/>
                    <a:pt x="148444" y="48583"/>
                    <a:pt x="144299" y="44482"/>
                  </a:cubicBezTo>
                  <a:lnTo>
                    <a:pt x="152194" y="28099"/>
                  </a:lnTo>
                  <a:lnTo>
                    <a:pt x="142016" y="20574"/>
                  </a:lnTo>
                  <a:lnTo>
                    <a:pt x="128604" y="33147"/>
                  </a:lnTo>
                  <a:cubicBezTo>
                    <a:pt x="123453" y="30312"/>
                    <a:pt x="117952" y="28166"/>
                    <a:pt x="112243" y="26765"/>
                  </a:cubicBezTo>
                  <a:lnTo>
                    <a:pt x="110816" y="8573"/>
                  </a:lnTo>
                  <a:lnTo>
                    <a:pt x="98260" y="7144"/>
                  </a:lnTo>
                  <a:lnTo>
                    <a:pt x="93029" y="24670"/>
                  </a:lnTo>
                  <a:cubicBezTo>
                    <a:pt x="87171" y="24850"/>
                    <a:pt x="81357" y="25746"/>
                    <a:pt x="75717" y="27337"/>
                  </a:cubicBezTo>
                  <a:lnTo>
                    <a:pt x="65444" y="12287"/>
                  </a:lnTo>
                  <a:lnTo>
                    <a:pt x="53839" y="17431"/>
                  </a:lnTo>
                  <a:close/>
                  <a:moveTo>
                    <a:pt x="71436" y="41624"/>
                  </a:moveTo>
                  <a:cubicBezTo>
                    <a:pt x="41808" y="54788"/>
                    <a:pt x="28447" y="89511"/>
                    <a:pt x="41594" y="119179"/>
                  </a:cubicBezTo>
                  <a:cubicBezTo>
                    <a:pt x="54740" y="148847"/>
                    <a:pt x="89416" y="162225"/>
                    <a:pt x="119043" y="149061"/>
                  </a:cubicBezTo>
                  <a:cubicBezTo>
                    <a:pt x="148671" y="135897"/>
                    <a:pt x="162032" y="101175"/>
                    <a:pt x="148886" y="71507"/>
                  </a:cubicBezTo>
                  <a:cubicBezTo>
                    <a:pt x="148847" y="71420"/>
                    <a:pt x="148809" y="71334"/>
                    <a:pt x="148770" y="71247"/>
                  </a:cubicBezTo>
                  <a:cubicBezTo>
                    <a:pt x="135564" y="41703"/>
                    <a:pt x="100961" y="28449"/>
                    <a:pt x="71436" y="41624"/>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17" name="Freeform 16">
              <a:extLst>
                <a:ext uri="{FF2B5EF4-FFF2-40B4-BE49-F238E27FC236}">
                  <a16:creationId xmlns="" xmlns:a16="http://schemas.microsoft.com/office/drawing/2014/main" id="{7F00FAAF-3038-0842-A6FA-E468C13B7F6E}"/>
                </a:ext>
              </a:extLst>
            </p:cNvPr>
            <p:cNvSpPr/>
            <p:nvPr/>
          </p:nvSpPr>
          <p:spPr>
            <a:xfrm>
              <a:off x="4934315" y="3215082"/>
              <a:ext cx="216245" cy="194884"/>
            </a:xfrm>
            <a:custGeom>
              <a:avLst/>
              <a:gdLst>
                <a:gd name="connsiteX0" fmla="*/ 140685 w 190242"/>
                <a:gd name="connsiteY0" fmla="*/ 82487 h 171450"/>
                <a:gd name="connsiteX1" fmla="*/ 99652 w 190242"/>
                <a:gd name="connsiteY1" fmla="*/ 131886 h 171450"/>
                <a:gd name="connsiteX2" fmla="*/ 50319 w 190242"/>
                <a:gd name="connsiteY2" fmla="*/ 90799 h 171450"/>
                <a:gd name="connsiteX3" fmla="*/ 50129 w 190242"/>
                <a:gd name="connsiteY3" fmla="*/ 86678 h 171450"/>
                <a:gd name="connsiteX4" fmla="*/ 53934 w 190242"/>
                <a:gd name="connsiteY4" fmla="*/ 102394 h 171450"/>
                <a:gd name="connsiteX5" fmla="*/ 113905 w 190242"/>
                <a:gd name="connsiteY5" fmla="*/ 125246 h 171450"/>
                <a:gd name="connsiteX6" fmla="*/ 140684 w 190242"/>
                <a:gd name="connsiteY6" fmla="*/ 82487 h 171450"/>
                <a:gd name="connsiteX7" fmla="*/ 54124 w 190242"/>
                <a:gd name="connsiteY7" fmla="*/ 7144 h 171450"/>
                <a:gd name="connsiteX8" fmla="*/ 54124 w 190242"/>
                <a:gd name="connsiteY8" fmla="*/ 7144 h 171450"/>
                <a:gd name="connsiteX9" fmla="*/ 58500 w 190242"/>
                <a:gd name="connsiteY9" fmla="*/ 26194 h 171450"/>
                <a:gd name="connsiteX10" fmla="*/ 58500 w 190242"/>
                <a:gd name="connsiteY10" fmla="*/ 25432 h 171450"/>
                <a:gd name="connsiteX11" fmla="*/ 54314 w 190242"/>
                <a:gd name="connsiteY11" fmla="*/ 7620 h 171450"/>
                <a:gd name="connsiteX12" fmla="*/ 152004 w 190242"/>
                <a:gd name="connsiteY12" fmla="*/ 17526 h 171450"/>
                <a:gd name="connsiteX13" fmla="*/ 152004 w 190242"/>
                <a:gd name="connsiteY13" fmla="*/ 17526 h 171450"/>
                <a:gd name="connsiteX14" fmla="*/ 144585 w 190242"/>
                <a:gd name="connsiteY14" fmla="*/ 34195 h 171450"/>
                <a:gd name="connsiteX15" fmla="*/ 143919 w 190242"/>
                <a:gd name="connsiteY15" fmla="*/ 34195 h 171450"/>
                <a:gd name="connsiteX16" fmla="*/ 143919 w 190242"/>
                <a:gd name="connsiteY16" fmla="*/ 33528 h 171450"/>
                <a:gd name="connsiteX17" fmla="*/ 151528 w 190242"/>
                <a:gd name="connsiteY17" fmla="*/ 17812 h 171450"/>
                <a:gd name="connsiteX18" fmla="*/ 151528 w 190242"/>
                <a:gd name="connsiteY18" fmla="*/ 17145 h 171450"/>
                <a:gd name="connsiteX19" fmla="*/ 177972 w 190242"/>
                <a:gd name="connsiteY19" fmla="*/ 54578 h 171450"/>
                <a:gd name="connsiteX20" fmla="*/ 177972 w 190242"/>
                <a:gd name="connsiteY20" fmla="*/ 55340 h 171450"/>
                <a:gd name="connsiteX21" fmla="*/ 163609 w 190242"/>
                <a:gd name="connsiteY21" fmla="*/ 65627 h 171450"/>
                <a:gd name="connsiteX22" fmla="*/ 163609 w 190242"/>
                <a:gd name="connsiteY22" fmla="*/ 64961 h 171450"/>
                <a:gd name="connsiteX23" fmla="*/ 178638 w 190242"/>
                <a:gd name="connsiteY23" fmla="*/ 54578 h 171450"/>
                <a:gd name="connsiteX24" fmla="*/ 165892 w 190242"/>
                <a:gd name="connsiteY24" fmla="*/ 81344 h 171450"/>
                <a:gd name="connsiteX25" fmla="*/ 165892 w 190242"/>
                <a:gd name="connsiteY25" fmla="*/ 82010 h 171450"/>
                <a:gd name="connsiteX26" fmla="*/ 165892 w 190242"/>
                <a:gd name="connsiteY26" fmla="*/ 82010 h 171450"/>
                <a:gd name="connsiteX27" fmla="*/ 165892 w 190242"/>
                <a:gd name="connsiteY27" fmla="*/ 81344 h 171450"/>
                <a:gd name="connsiteX28" fmla="*/ 183299 w 190242"/>
                <a:gd name="connsiteY28" fmla="*/ 88202 h 171450"/>
                <a:gd name="connsiteX29" fmla="*/ 183299 w 190242"/>
                <a:gd name="connsiteY29" fmla="*/ 88202 h 171450"/>
                <a:gd name="connsiteX30" fmla="*/ 181872 w 190242"/>
                <a:gd name="connsiteY30" fmla="*/ 100775 h 171450"/>
                <a:gd name="connsiteX31" fmla="*/ 163704 w 190242"/>
                <a:gd name="connsiteY31" fmla="*/ 102203 h 171450"/>
                <a:gd name="connsiteX32" fmla="*/ 157902 w 190242"/>
                <a:gd name="connsiteY32" fmla="*/ 118110 h 171450"/>
                <a:gd name="connsiteX33" fmla="*/ 157902 w 190242"/>
                <a:gd name="connsiteY33" fmla="*/ 118681 h 171450"/>
                <a:gd name="connsiteX34" fmla="*/ 157331 w 190242"/>
                <a:gd name="connsiteY34" fmla="*/ 118681 h 171450"/>
                <a:gd name="connsiteX35" fmla="*/ 164180 w 190242"/>
                <a:gd name="connsiteY35" fmla="*/ 101155 h 171450"/>
                <a:gd name="connsiteX36" fmla="*/ 182443 w 190242"/>
                <a:gd name="connsiteY36" fmla="*/ 99727 h 171450"/>
                <a:gd name="connsiteX37" fmla="*/ 183680 w 190242"/>
                <a:gd name="connsiteY37" fmla="*/ 88106 h 171450"/>
                <a:gd name="connsiteX38" fmla="*/ 169697 w 190242"/>
                <a:gd name="connsiteY38" fmla="*/ 131445 h 171450"/>
                <a:gd name="connsiteX39" fmla="*/ 162563 w 190242"/>
                <a:gd name="connsiteY39" fmla="*/ 140970 h 171450"/>
                <a:gd name="connsiteX40" fmla="*/ 146107 w 190242"/>
                <a:gd name="connsiteY40" fmla="*/ 133064 h 171450"/>
                <a:gd name="connsiteX41" fmla="*/ 132504 w 190242"/>
                <a:gd name="connsiteY41" fmla="*/ 144018 h 171450"/>
                <a:gd name="connsiteX42" fmla="*/ 132504 w 190242"/>
                <a:gd name="connsiteY42" fmla="*/ 144018 h 171450"/>
                <a:gd name="connsiteX43" fmla="*/ 132504 w 190242"/>
                <a:gd name="connsiteY43" fmla="*/ 144780 h 171450"/>
                <a:gd name="connsiteX44" fmla="*/ 132504 w 190242"/>
                <a:gd name="connsiteY44" fmla="*/ 144780 h 171450"/>
                <a:gd name="connsiteX45" fmla="*/ 146011 w 190242"/>
                <a:gd name="connsiteY45" fmla="*/ 133922 h 171450"/>
                <a:gd name="connsiteX46" fmla="*/ 162372 w 190242"/>
                <a:gd name="connsiteY46" fmla="*/ 141827 h 171450"/>
                <a:gd name="connsiteX47" fmla="*/ 169887 w 190242"/>
                <a:gd name="connsiteY47" fmla="*/ 131540 h 171450"/>
                <a:gd name="connsiteX48" fmla="*/ 169887 w 190242"/>
                <a:gd name="connsiteY48" fmla="*/ 131540 h 171450"/>
                <a:gd name="connsiteX49" fmla="*/ 136499 w 190242"/>
                <a:gd name="connsiteY49" fmla="*/ 162116 h 171450"/>
                <a:gd name="connsiteX50" fmla="*/ 136499 w 190242"/>
                <a:gd name="connsiteY50" fmla="*/ 162973 h 171450"/>
                <a:gd name="connsiteX51" fmla="*/ 124990 w 190242"/>
                <a:gd name="connsiteY51" fmla="*/ 168116 h 171450"/>
                <a:gd name="connsiteX52" fmla="*/ 114621 w 190242"/>
                <a:gd name="connsiteY52" fmla="*/ 152972 h 171450"/>
                <a:gd name="connsiteX53" fmla="*/ 97309 w 190242"/>
                <a:gd name="connsiteY53" fmla="*/ 155734 h 171450"/>
                <a:gd name="connsiteX54" fmla="*/ 92078 w 190242"/>
                <a:gd name="connsiteY54" fmla="*/ 173165 h 171450"/>
                <a:gd name="connsiteX55" fmla="*/ 79522 w 190242"/>
                <a:gd name="connsiteY55" fmla="*/ 171831 h 171450"/>
                <a:gd name="connsiteX56" fmla="*/ 78000 w 190242"/>
                <a:gd name="connsiteY56" fmla="*/ 153638 h 171450"/>
                <a:gd name="connsiteX57" fmla="*/ 61639 w 190242"/>
                <a:gd name="connsiteY57" fmla="*/ 147257 h 171450"/>
                <a:gd name="connsiteX58" fmla="*/ 48417 w 190242"/>
                <a:gd name="connsiteY58" fmla="*/ 159830 h 171450"/>
                <a:gd name="connsiteX59" fmla="*/ 38144 w 190242"/>
                <a:gd name="connsiteY59" fmla="*/ 152305 h 171450"/>
                <a:gd name="connsiteX60" fmla="*/ 38144 w 190242"/>
                <a:gd name="connsiteY60" fmla="*/ 151638 h 171450"/>
                <a:gd name="connsiteX61" fmla="*/ 47656 w 190242"/>
                <a:gd name="connsiteY61" fmla="*/ 158877 h 171450"/>
                <a:gd name="connsiteX62" fmla="*/ 60973 w 190242"/>
                <a:gd name="connsiteY62" fmla="*/ 146304 h 171450"/>
                <a:gd name="connsiteX63" fmla="*/ 77239 w 190242"/>
                <a:gd name="connsiteY63" fmla="*/ 152686 h 171450"/>
                <a:gd name="connsiteX64" fmla="*/ 78665 w 190242"/>
                <a:gd name="connsiteY64" fmla="*/ 170879 h 171450"/>
                <a:gd name="connsiteX65" fmla="*/ 91221 w 190242"/>
                <a:gd name="connsiteY65" fmla="*/ 172212 h 171450"/>
                <a:gd name="connsiteX66" fmla="*/ 96548 w 190242"/>
                <a:gd name="connsiteY66" fmla="*/ 154781 h 171450"/>
                <a:gd name="connsiteX67" fmla="*/ 113860 w 190242"/>
                <a:gd name="connsiteY67" fmla="*/ 152019 h 171450"/>
                <a:gd name="connsiteX68" fmla="*/ 125560 w 190242"/>
                <a:gd name="connsiteY68" fmla="*/ 167164 h 171450"/>
                <a:gd name="connsiteX69" fmla="*/ 136975 w 190242"/>
                <a:gd name="connsiteY69" fmla="*/ 162116 h 171450"/>
                <a:gd name="connsiteX70" fmla="*/ 46039 w 190242"/>
                <a:gd name="connsiteY70" fmla="*/ 135541 h 171450"/>
                <a:gd name="connsiteX71" fmla="*/ 35385 w 190242"/>
                <a:gd name="connsiteY71" fmla="*/ 122206 h 171450"/>
                <a:gd name="connsiteX72" fmla="*/ 17597 w 190242"/>
                <a:gd name="connsiteY72" fmla="*/ 126397 h 171450"/>
                <a:gd name="connsiteX73" fmla="*/ 12461 w 190242"/>
                <a:gd name="connsiteY73" fmla="*/ 114776 h 171450"/>
                <a:gd name="connsiteX74" fmla="*/ 12461 w 190242"/>
                <a:gd name="connsiteY74" fmla="*/ 114776 h 171450"/>
                <a:gd name="connsiteX75" fmla="*/ 17217 w 190242"/>
                <a:gd name="connsiteY75" fmla="*/ 125635 h 171450"/>
                <a:gd name="connsiteX76" fmla="*/ 35005 w 190242"/>
                <a:gd name="connsiteY76" fmla="*/ 121444 h 171450"/>
                <a:gd name="connsiteX77" fmla="*/ 46039 w 190242"/>
                <a:gd name="connsiteY77" fmla="*/ 135065 h 171450"/>
                <a:gd name="connsiteX78" fmla="*/ 46609 w 190242"/>
                <a:gd name="connsiteY78" fmla="*/ 135731 h 171450"/>
                <a:gd name="connsiteX79" fmla="*/ 46039 w 190242"/>
                <a:gd name="connsiteY79" fmla="*/ 135731 h 171450"/>
                <a:gd name="connsiteX80" fmla="*/ 46039 w 190242"/>
                <a:gd name="connsiteY80" fmla="*/ 135731 h 171450"/>
                <a:gd name="connsiteX81" fmla="*/ 27014 w 190242"/>
                <a:gd name="connsiteY81" fmla="*/ 103632 h 171450"/>
                <a:gd name="connsiteX82" fmla="*/ 24636 w 190242"/>
                <a:gd name="connsiteY82" fmla="*/ 88011 h 171450"/>
                <a:gd name="connsiteX83" fmla="*/ 27680 w 190242"/>
                <a:gd name="connsiteY83" fmla="*/ 105156 h 171450"/>
                <a:gd name="connsiteX84" fmla="*/ 27680 w 190242"/>
                <a:gd name="connsiteY84" fmla="*/ 104489 h 171450"/>
                <a:gd name="connsiteX85" fmla="*/ 27680 w 190242"/>
                <a:gd name="connsiteY85" fmla="*/ 103632 h 171450"/>
                <a:gd name="connsiteX86" fmla="*/ 24541 w 190242"/>
                <a:gd name="connsiteY86" fmla="*/ 87154 h 171450"/>
                <a:gd name="connsiteX87" fmla="*/ 7134 w 190242"/>
                <a:gd name="connsiteY87" fmla="*/ 81915 h 171450"/>
                <a:gd name="connsiteX88" fmla="*/ 7134 w 190242"/>
                <a:gd name="connsiteY88" fmla="*/ 80963 h 171450"/>
                <a:gd name="connsiteX89" fmla="*/ 24446 w 190242"/>
                <a:gd name="connsiteY89" fmla="*/ 86201 h 171450"/>
                <a:gd name="connsiteX90" fmla="*/ 24446 w 190242"/>
                <a:gd name="connsiteY90" fmla="*/ 87154 h 171450"/>
                <a:gd name="connsiteX91" fmla="*/ 32627 w 190242"/>
                <a:gd name="connsiteY91" fmla="*/ 51149 h 171450"/>
                <a:gd name="connsiteX92" fmla="*/ 20927 w 190242"/>
                <a:gd name="connsiteY92" fmla="*/ 38195 h 171450"/>
                <a:gd name="connsiteX93" fmla="*/ 20927 w 190242"/>
                <a:gd name="connsiteY93" fmla="*/ 38195 h 171450"/>
                <a:gd name="connsiteX94" fmla="*/ 33007 w 190242"/>
                <a:gd name="connsiteY94" fmla="*/ 51054 h 171450"/>
                <a:gd name="connsiteX95" fmla="*/ 33768 w 190242"/>
                <a:gd name="connsiteY95" fmla="*/ 51816 h 171450"/>
                <a:gd name="connsiteX96" fmla="*/ 33102 w 190242"/>
                <a:gd name="connsiteY96" fmla="*/ 51816 h 171450"/>
                <a:gd name="connsiteX97" fmla="*/ 33102 w 190242"/>
                <a:gd name="connsiteY97" fmla="*/ 51816 h 171450"/>
                <a:gd name="connsiteX98" fmla="*/ 71436 w 190242"/>
                <a:gd name="connsiteY98" fmla="*/ 31337 h 171450"/>
                <a:gd name="connsiteX99" fmla="*/ 149019 w 190242"/>
                <a:gd name="connsiteY99" fmla="*/ 60872 h 171450"/>
                <a:gd name="connsiteX100" fmla="*/ 154097 w 190242"/>
                <a:gd name="connsiteY100" fmla="*/ 82010 h 171450"/>
                <a:gd name="connsiteX101" fmla="*/ 149150 w 190242"/>
                <a:gd name="connsiteY101" fmla="*/ 60388 h 171450"/>
                <a:gd name="connsiteX102" fmla="*/ 71680 w 190242"/>
                <a:gd name="connsiteY102" fmla="*/ 30560 h 171450"/>
                <a:gd name="connsiteX103" fmla="*/ 36907 w 190242"/>
                <a:gd name="connsiteY103" fmla="*/ 87249 h 171450"/>
                <a:gd name="connsiteX104" fmla="*/ 71722 w 190242"/>
                <a:gd name="connsiteY104" fmla="*/ 3133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90242" h="171450">
                  <a:moveTo>
                    <a:pt x="140685" y="82487"/>
                  </a:moveTo>
                  <a:cubicBezTo>
                    <a:pt x="142977" y="107474"/>
                    <a:pt x="124606" y="129591"/>
                    <a:pt x="99652" y="131886"/>
                  </a:cubicBezTo>
                  <a:cubicBezTo>
                    <a:pt x="74699" y="134182"/>
                    <a:pt x="52611" y="115786"/>
                    <a:pt x="50319" y="90799"/>
                  </a:cubicBezTo>
                  <a:cubicBezTo>
                    <a:pt x="50193" y="89429"/>
                    <a:pt x="50130" y="88053"/>
                    <a:pt x="50129" y="86678"/>
                  </a:cubicBezTo>
                  <a:cubicBezTo>
                    <a:pt x="50421" y="92106"/>
                    <a:pt x="51711" y="97434"/>
                    <a:pt x="53934" y="102394"/>
                  </a:cubicBezTo>
                  <a:cubicBezTo>
                    <a:pt x="64192" y="125287"/>
                    <a:pt x="91042" y="135519"/>
                    <a:pt x="113905" y="125246"/>
                  </a:cubicBezTo>
                  <a:cubicBezTo>
                    <a:pt x="130644" y="117725"/>
                    <a:pt x="141212" y="100850"/>
                    <a:pt x="140684" y="82487"/>
                  </a:cubicBezTo>
                  <a:close/>
                  <a:moveTo>
                    <a:pt x="54124" y="7144"/>
                  </a:moveTo>
                  <a:lnTo>
                    <a:pt x="54124" y="7144"/>
                  </a:lnTo>
                  <a:lnTo>
                    <a:pt x="58500" y="26194"/>
                  </a:lnTo>
                  <a:lnTo>
                    <a:pt x="58500" y="25432"/>
                  </a:lnTo>
                  <a:lnTo>
                    <a:pt x="54314" y="7620"/>
                  </a:lnTo>
                  <a:close/>
                  <a:moveTo>
                    <a:pt x="152004" y="17526"/>
                  </a:moveTo>
                  <a:lnTo>
                    <a:pt x="152004" y="17526"/>
                  </a:lnTo>
                  <a:lnTo>
                    <a:pt x="144585" y="34195"/>
                  </a:lnTo>
                  <a:lnTo>
                    <a:pt x="143919" y="34195"/>
                  </a:lnTo>
                  <a:lnTo>
                    <a:pt x="143919" y="33528"/>
                  </a:lnTo>
                  <a:lnTo>
                    <a:pt x="151528" y="17812"/>
                  </a:lnTo>
                  <a:lnTo>
                    <a:pt x="151528" y="17145"/>
                  </a:lnTo>
                  <a:close/>
                  <a:moveTo>
                    <a:pt x="177972" y="54578"/>
                  </a:moveTo>
                  <a:lnTo>
                    <a:pt x="177972" y="55340"/>
                  </a:lnTo>
                  <a:lnTo>
                    <a:pt x="163609" y="65627"/>
                  </a:lnTo>
                  <a:lnTo>
                    <a:pt x="163609" y="64961"/>
                  </a:lnTo>
                  <a:lnTo>
                    <a:pt x="178638" y="54578"/>
                  </a:lnTo>
                  <a:close/>
                  <a:moveTo>
                    <a:pt x="165892" y="81344"/>
                  </a:moveTo>
                  <a:lnTo>
                    <a:pt x="165892" y="82010"/>
                  </a:lnTo>
                  <a:lnTo>
                    <a:pt x="165892" y="82010"/>
                  </a:lnTo>
                  <a:lnTo>
                    <a:pt x="165892" y="81344"/>
                  </a:lnTo>
                  <a:close/>
                  <a:moveTo>
                    <a:pt x="183299" y="88202"/>
                  </a:moveTo>
                  <a:lnTo>
                    <a:pt x="183299" y="88202"/>
                  </a:lnTo>
                  <a:lnTo>
                    <a:pt x="181872" y="100775"/>
                  </a:lnTo>
                  <a:lnTo>
                    <a:pt x="163704" y="102203"/>
                  </a:lnTo>
                  <a:cubicBezTo>
                    <a:pt x="162401" y="107715"/>
                    <a:pt x="160453" y="113054"/>
                    <a:pt x="157902" y="118110"/>
                  </a:cubicBezTo>
                  <a:lnTo>
                    <a:pt x="157902" y="118681"/>
                  </a:lnTo>
                  <a:lnTo>
                    <a:pt x="157331" y="118681"/>
                  </a:lnTo>
                  <a:cubicBezTo>
                    <a:pt x="160240" y="113105"/>
                    <a:pt x="162537" y="107228"/>
                    <a:pt x="164180" y="101155"/>
                  </a:cubicBezTo>
                  <a:lnTo>
                    <a:pt x="182443" y="99727"/>
                  </a:lnTo>
                  <a:lnTo>
                    <a:pt x="183680" y="88106"/>
                  </a:lnTo>
                  <a:close/>
                  <a:moveTo>
                    <a:pt x="169697" y="131445"/>
                  </a:moveTo>
                  <a:lnTo>
                    <a:pt x="162563" y="140970"/>
                  </a:lnTo>
                  <a:lnTo>
                    <a:pt x="146107" y="133064"/>
                  </a:lnTo>
                  <a:cubicBezTo>
                    <a:pt x="142027" y="137247"/>
                    <a:pt x="137460" y="140925"/>
                    <a:pt x="132504" y="144018"/>
                  </a:cubicBezTo>
                  <a:lnTo>
                    <a:pt x="132504" y="144018"/>
                  </a:lnTo>
                  <a:lnTo>
                    <a:pt x="132504" y="144780"/>
                  </a:lnTo>
                  <a:lnTo>
                    <a:pt x="132504" y="144780"/>
                  </a:lnTo>
                  <a:cubicBezTo>
                    <a:pt x="137431" y="141725"/>
                    <a:pt x="141967" y="138078"/>
                    <a:pt x="146011" y="133922"/>
                  </a:cubicBezTo>
                  <a:lnTo>
                    <a:pt x="162372" y="141827"/>
                  </a:lnTo>
                  <a:lnTo>
                    <a:pt x="169887" y="131540"/>
                  </a:lnTo>
                  <a:lnTo>
                    <a:pt x="169887" y="131540"/>
                  </a:lnTo>
                  <a:close/>
                  <a:moveTo>
                    <a:pt x="136499" y="162116"/>
                  </a:moveTo>
                  <a:lnTo>
                    <a:pt x="136499" y="162973"/>
                  </a:lnTo>
                  <a:lnTo>
                    <a:pt x="124990" y="168116"/>
                  </a:lnTo>
                  <a:lnTo>
                    <a:pt x="114621" y="152972"/>
                  </a:lnTo>
                  <a:cubicBezTo>
                    <a:pt x="108995" y="154639"/>
                    <a:pt x="103175" y="155568"/>
                    <a:pt x="97309" y="155734"/>
                  </a:cubicBezTo>
                  <a:lnTo>
                    <a:pt x="92078" y="173165"/>
                  </a:lnTo>
                  <a:lnTo>
                    <a:pt x="79522" y="171831"/>
                  </a:lnTo>
                  <a:lnTo>
                    <a:pt x="78000" y="153638"/>
                  </a:lnTo>
                  <a:cubicBezTo>
                    <a:pt x="72309" y="152178"/>
                    <a:pt x="66816" y="150036"/>
                    <a:pt x="61639" y="147257"/>
                  </a:cubicBezTo>
                  <a:lnTo>
                    <a:pt x="48417" y="159830"/>
                  </a:lnTo>
                  <a:lnTo>
                    <a:pt x="38144" y="152305"/>
                  </a:lnTo>
                  <a:lnTo>
                    <a:pt x="38144" y="151638"/>
                  </a:lnTo>
                  <a:lnTo>
                    <a:pt x="47656" y="158877"/>
                  </a:lnTo>
                  <a:lnTo>
                    <a:pt x="60973" y="146304"/>
                  </a:lnTo>
                  <a:cubicBezTo>
                    <a:pt x="66117" y="149083"/>
                    <a:pt x="71579" y="151226"/>
                    <a:pt x="77239" y="152686"/>
                  </a:cubicBezTo>
                  <a:lnTo>
                    <a:pt x="78665" y="170879"/>
                  </a:lnTo>
                  <a:lnTo>
                    <a:pt x="91221" y="172212"/>
                  </a:lnTo>
                  <a:lnTo>
                    <a:pt x="96548" y="154781"/>
                  </a:lnTo>
                  <a:cubicBezTo>
                    <a:pt x="102413" y="154600"/>
                    <a:pt x="108230" y="153671"/>
                    <a:pt x="113860" y="152019"/>
                  </a:cubicBezTo>
                  <a:lnTo>
                    <a:pt x="125560" y="167164"/>
                  </a:lnTo>
                  <a:lnTo>
                    <a:pt x="136975" y="162116"/>
                  </a:lnTo>
                  <a:close/>
                  <a:moveTo>
                    <a:pt x="46039" y="135541"/>
                  </a:moveTo>
                  <a:cubicBezTo>
                    <a:pt x="41931" y="131571"/>
                    <a:pt x="38351" y="127090"/>
                    <a:pt x="35385" y="122206"/>
                  </a:cubicBezTo>
                  <a:lnTo>
                    <a:pt x="17597" y="126397"/>
                  </a:lnTo>
                  <a:lnTo>
                    <a:pt x="12461" y="114776"/>
                  </a:lnTo>
                  <a:lnTo>
                    <a:pt x="12461" y="114776"/>
                  </a:lnTo>
                  <a:lnTo>
                    <a:pt x="17217" y="125635"/>
                  </a:lnTo>
                  <a:lnTo>
                    <a:pt x="35005" y="121444"/>
                  </a:lnTo>
                  <a:cubicBezTo>
                    <a:pt x="38096" y="126430"/>
                    <a:pt x="41804" y="131007"/>
                    <a:pt x="46039" y="135065"/>
                  </a:cubicBezTo>
                  <a:lnTo>
                    <a:pt x="46609" y="135731"/>
                  </a:lnTo>
                  <a:lnTo>
                    <a:pt x="46039" y="135731"/>
                  </a:lnTo>
                  <a:lnTo>
                    <a:pt x="46039" y="135731"/>
                  </a:lnTo>
                  <a:close/>
                  <a:moveTo>
                    <a:pt x="27014" y="103632"/>
                  </a:moveTo>
                  <a:cubicBezTo>
                    <a:pt x="25613" y="98536"/>
                    <a:pt x="24815" y="93293"/>
                    <a:pt x="24636" y="88011"/>
                  </a:cubicBezTo>
                  <a:cubicBezTo>
                    <a:pt x="24986" y="93825"/>
                    <a:pt x="26007" y="99578"/>
                    <a:pt x="27680" y="105156"/>
                  </a:cubicBezTo>
                  <a:lnTo>
                    <a:pt x="27680" y="104489"/>
                  </a:lnTo>
                  <a:lnTo>
                    <a:pt x="27680" y="103632"/>
                  </a:lnTo>
                  <a:close/>
                  <a:moveTo>
                    <a:pt x="24541" y="87154"/>
                  </a:moveTo>
                  <a:lnTo>
                    <a:pt x="7134" y="81915"/>
                  </a:lnTo>
                  <a:lnTo>
                    <a:pt x="7134" y="80963"/>
                  </a:lnTo>
                  <a:lnTo>
                    <a:pt x="24446" y="86201"/>
                  </a:lnTo>
                  <a:lnTo>
                    <a:pt x="24446" y="87154"/>
                  </a:lnTo>
                  <a:close/>
                  <a:moveTo>
                    <a:pt x="32627" y="51149"/>
                  </a:moveTo>
                  <a:lnTo>
                    <a:pt x="20927" y="38195"/>
                  </a:lnTo>
                  <a:lnTo>
                    <a:pt x="20927" y="38195"/>
                  </a:lnTo>
                  <a:lnTo>
                    <a:pt x="33007" y="51054"/>
                  </a:lnTo>
                  <a:lnTo>
                    <a:pt x="33768" y="51816"/>
                  </a:lnTo>
                  <a:lnTo>
                    <a:pt x="33102" y="51816"/>
                  </a:lnTo>
                  <a:lnTo>
                    <a:pt x="33102" y="51816"/>
                  </a:lnTo>
                  <a:close/>
                  <a:moveTo>
                    <a:pt x="71436" y="31337"/>
                  </a:moveTo>
                  <a:cubicBezTo>
                    <a:pt x="101005" y="18040"/>
                    <a:pt x="135740" y="31263"/>
                    <a:pt x="149019" y="60872"/>
                  </a:cubicBezTo>
                  <a:cubicBezTo>
                    <a:pt x="152010" y="67540"/>
                    <a:pt x="153732" y="74709"/>
                    <a:pt x="154097" y="82010"/>
                  </a:cubicBezTo>
                  <a:cubicBezTo>
                    <a:pt x="153793" y="74559"/>
                    <a:pt x="152116" y="67229"/>
                    <a:pt x="149150" y="60388"/>
                  </a:cubicBezTo>
                  <a:cubicBezTo>
                    <a:pt x="135983" y="30730"/>
                    <a:pt x="101298" y="17375"/>
                    <a:pt x="71680" y="30560"/>
                  </a:cubicBezTo>
                  <a:cubicBezTo>
                    <a:pt x="49495" y="40436"/>
                    <a:pt x="35673" y="62970"/>
                    <a:pt x="36907" y="87249"/>
                  </a:cubicBezTo>
                  <a:cubicBezTo>
                    <a:pt x="35979" y="63230"/>
                    <a:pt x="49775" y="41074"/>
                    <a:pt x="71722" y="31337"/>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18" name="Freeform 17">
              <a:extLst>
                <a:ext uri="{FF2B5EF4-FFF2-40B4-BE49-F238E27FC236}">
                  <a16:creationId xmlns="" xmlns:a16="http://schemas.microsoft.com/office/drawing/2014/main" id="{D4C1E585-300E-AA43-870C-EBB697AD7417}"/>
                </a:ext>
              </a:extLst>
            </p:cNvPr>
            <p:cNvSpPr/>
            <p:nvPr/>
          </p:nvSpPr>
          <p:spPr>
            <a:xfrm>
              <a:off x="4934532" y="3203389"/>
              <a:ext cx="216245" cy="194884"/>
            </a:xfrm>
            <a:custGeom>
              <a:avLst/>
              <a:gdLst>
                <a:gd name="connsiteX0" fmla="*/ 76953 w 190242"/>
                <a:gd name="connsiteY0" fmla="*/ 53816 h 171450"/>
                <a:gd name="connsiteX1" fmla="*/ 136663 w 190242"/>
                <a:gd name="connsiteY1" fmla="*/ 76976 h 171450"/>
                <a:gd name="connsiteX2" fmla="*/ 140494 w 190242"/>
                <a:gd name="connsiteY2" fmla="*/ 93726 h 171450"/>
                <a:gd name="connsiteX3" fmla="*/ 136689 w 190242"/>
                <a:gd name="connsiteY3" fmla="*/ 78010 h 171450"/>
                <a:gd name="connsiteX4" fmla="*/ 76962 w 190242"/>
                <a:gd name="connsiteY4" fmla="*/ 54897 h 171450"/>
                <a:gd name="connsiteX5" fmla="*/ 50034 w 190242"/>
                <a:gd name="connsiteY5" fmla="*/ 97917 h 171450"/>
                <a:gd name="connsiteX6" fmla="*/ 76953 w 190242"/>
                <a:gd name="connsiteY6" fmla="*/ 53816 h 171450"/>
                <a:gd name="connsiteX7" fmla="*/ 53934 w 190242"/>
                <a:gd name="connsiteY7" fmla="*/ 17431 h 171450"/>
                <a:gd name="connsiteX8" fmla="*/ 65539 w 190242"/>
                <a:gd name="connsiteY8" fmla="*/ 12287 h 171450"/>
                <a:gd name="connsiteX9" fmla="*/ 75812 w 190242"/>
                <a:gd name="connsiteY9" fmla="*/ 27337 h 171450"/>
                <a:gd name="connsiteX10" fmla="*/ 93124 w 190242"/>
                <a:gd name="connsiteY10" fmla="*/ 24670 h 171450"/>
                <a:gd name="connsiteX11" fmla="*/ 98356 w 190242"/>
                <a:gd name="connsiteY11" fmla="*/ 7144 h 171450"/>
                <a:gd name="connsiteX12" fmla="*/ 110912 w 190242"/>
                <a:gd name="connsiteY12" fmla="*/ 8573 h 171450"/>
                <a:gd name="connsiteX13" fmla="*/ 112338 w 190242"/>
                <a:gd name="connsiteY13" fmla="*/ 26765 h 171450"/>
                <a:gd name="connsiteX14" fmla="*/ 128699 w 190242"/>
                <a:gd name="connsiteY14" fmla="*/ 33147 h 171450"/>
                <a:gd name="connsiteX15" fmla="*/ 142016 w 190242"/>
                <a:gd name="connsiteY15" fmla="*/ 20574 h 171450"/>
                <a:gd name="connsiteX16" fmla="*/ 152194 w 190242"/>
                <a:gd name="connsiteY16" fmla="*/ 28004 h 171450"/>
                <a:gd name="connsiteX17" fmla="*/ 151528 w 190242"/>
                <a:gd name="connsiteY17" fmla="*/ 28004 h 171450"/>
                <a:gd name="connsiteX18" fmla="*/ 142016 w 190242"/>
                <a:gd name="connsiteY18" fmla="*/ 21050 h 171450"/>
                <a:gd name="connsiteX19" fmla="*/ 128699 w 190242"/>
                <a:gd name="connsiteY19" fmla="*/ 33623 h 171450"/>
                <a:gd name="connsiteX20" fmla="*/ 112433 w 190242"/>
                <a:gd name="connsiteY20" fmla="*/ 27242 h 171450"/>
                <a:gd name="connsiteX21" fmla="*/ 111007 w 190242"/>
                <a:gd name="connsiteY21" fmla="*/ 9049 h 171450"/>
                <a:gd name="connsiteX22" fmla="*/ 98451 w 190242"/>
                <a:gd name="connsiteY22" fmla="*/ 7715 h 171450"/>
                <a:gd name="connsiteX23" fmla="*/ 93124 w 190242"/>
                <a:gd name="connsiteY23" fmla="*/ 25146 h 171450"/>
                <a:gd name="connsiteX24" fmla="*/ 75907 w 190242"/>
                <a:gd name="connsiteY24" fmla="*/ 27813 h 171450"/>
                <a:gd name="connsiteX25" fmla="*/ 65539 w 190242"/>
                <a:gd name="connsiteY25" fmla="*/ 12764 h 171450"/>
                <a:gd name="connsiteX26" fmla="*/ 54314 w 190242"/>
                <a:gd name="connsiteY26" fmla="*/ 17717 h 171450"/>
                <a:gd name="connsiteX27" fmla="*/ 54314 w 190242"/>
                <a:gd name="connsiteY27" fmla="*/ 16955 h 171450"/>
                <a:gd name="connsiteX28" fmla="*/ 144394 w 190242"/>
                <a:gd name="connsiteY28" fmla="*/ 44863 h 171450"/>
                <a:gd name="connsiteX29" fmla="*/ 154953 w 190242"/>
                <a:gd name="connsiteY29" fmla="*/ 58198 h 171450"/>
                <a:gd name="connsiteX30" fmla="*/ 172740 w 190242"/>
                <a:gd name="connsiteY30" fmla="*/ 54007 h 171450"/>
                <a:gd name="connsiteX31" fmla="*/ 177877 w 190242"/>
                <a:gd name="connsiteY31" fmla="*/ 65627 h 171450"/>
                <a:gd name="connsiteX32" fmla="*/ 177211 w 190242"/>
                <a:gd name="connsiteY32" fmla="*/ 65056 h 171450"/>
                <a:gd name="connsiteX33" fmla="*/ 172931 w 190242"/>
                <a:gd name="connsiteY33" fmla="*/ 54959 h 171450"/>
                <a:gd name="connsiteX34" fmla="*/ 155143 w 190242"/>
                <a:gd name="connsiteY34" fmla="*/ 59150 h 171450"/>
                <a:gd name="connsiteX35" fmla="*/ 144775 w 190242"/>
                <a:gd name="connsiteY35" fmla="*/ 46101 h 171450"/>
                <a:gd name="connsiteX36" fmla="*/ 143538 w 190242"/>
                <a:gd name="connsiteY36" fmla="*/ 44863 h 171450"/>
                <a:gd name="connsiteX37" fmla="*/ 144109 w 190242"/>
                <a:gd name="connsiteY37" fmla="*/ 44863 h 171450"/>
                <a:gd name="connsiteX38" fmla="*/ 144109 w 190242"/>
                <a:gd name="connsiteY38" fmla="*/ 44863 h 171450"/>
                <a:gd name="connsiteX39" fmla="*/ 163419 w 190242"/>
                <a:gd name="connsiteY39" fmla="*/ 76772 h 171450"/>
                <a:gd name="connsiteX40" fmla="*/ 165892 w 190242"/>
                <a:gd name="connsiteY40" fmla="*/ 92393 h 171450"/>
                <a:gd name="connsiteX41" fmla="*/ 162848 w 190242"/>
                <a:gd name="connsiteY41" fmla="*/ 75248 h 171450"/>
                <a:gd name="connsiteX42" fmla="*/ 162848 w 190242"/>
                <a:gd name="connsiteY42" fmla="*/ 75914 h 171450"/>
                <a:gd name="connsiteX43" fmla="*/ 162848 w 190242"/>
                <a:gd name="connsiteY43" fmla="*/ 76772 h 171450"/>
                <a:gd name="connsiteX44" fmla="*/ 165892 w 190242"/>
                <a:gd name="connsiteY44" fmla="*/ 93250 h 171450"/>
                <a:gd name="connsiteX45" fmla="*/ 183394 w 190242"/>
                <a:gd name="connsiteY45" fmla="*/ 98489 h 171450"/>
                <a:gd name="connsiteX46" fmla="*/ 183394 w 190242"/>
                <a:gd name="connsiteY46" fmla="*/ 99346 h 171450"/>
                <a:gd name="connsiteX47" fmla="*/ 166177 w 190242"/>
                <a:gd name="connsiteY47" fmla="*/ 94202 h 171450"/>
                <a:gd name="connsiteX48" fmla="*/ 166177 w 190242"/>
                <a:gd name="connsiteY48" fmla="*/ 93250 h 171450"/>
                <a:gd name="connsiteX49" fmla="*/ 157426 w 190242"/>
                <a:gd name="connsiteY49" fmla="*/ 128873 h 171450"/>
                <a:gd name="connsiteX50" fmla="*/ 169982 w 190242"/>
                <a:gd name="connsiteY50" fmla="*/ 142113 h 171450"/>
                <a:gd name="connsiteX51" fmla="*/ 169126 w 190242"/>
                <a:gd name="connsiteY51" fmla="*/ 142113 h 171450"/>
                <a:gd name="connsiteX52" fmla="*/ 156855 w 190242"/>
                <a:gd name="connsiteY52" fmla="*/ 128968 h 171450"/>
                <a:gd name="connsiteX53" fmla="*/ 157426 w 190242"/>
                <a:gd name="connsiteY53" fmla="*/ 128968 h 171450"/>
                <a:gd name="connsiteX54" fmla="*/ 132409 w 190242"/>
                <a:gd name="connsiteY54" fmla="*/ 155448 h 171450"/>
                <a:gd name="connsiteX55" fmla="*/ 136594 w 190242"/>
                <a:gd name="connsiteY55" fmla="*/ 173260 h 171450"/>
                <a:gd name="connsiteX56" fmla="*/ 136594 w 190242"/>
                <a:gd name="connsiteY56" fmla="*/ 173260 h 171450"/>
                <a:gd name="connsiteX57" fmla="*/ 132219 w 190242"/>
                <a:gd name="connsiteY57" fmla="*/ 154686 h 171450"/>
                <a:gd name="connsiteX58" fmla="*/ 132219 w 190242"/>
                <a:gd name="connsiteY58" fmla="*/ 155353 h 171450"/>
                <a:gd name="connsiteX59" fmla="*/ 38334 w 190242"/>
                <a:gd name="connsiteY59" fmla="*/ 162592 h 171450"/>
                <a:gd name="connsiteX60" fmla="*/ 45944 w 190242"/>
                <a:gd name="connsiteY60" fmla="*/ 146780 h 171450"/>
                <a:gd name="connsiteX61" fmla="*/ 45944 w 190242"/>
                <a:gd name="connsiteY61" fmla="*/ 146114 h 171450"/>
                <a:gd name="connsiteX62" fmla="*/ 46514 w 190242"/>
                <a:gd name="connsiteY62" fmla="*/ 146114 h 171450"/>
                <a:gd name="connsiteX63" fmla="*/ 38809 w 190242"/>
                <a:gd name="connsiteY63" fmla="*/ 162497 h 171450"/>
                <a:gd name="connsiteX64" fmla="*/ 38049 w 190242"/>
                <a:gd name="connsiteY64" fmla="*/ 162497 h 171450"/>
                <a:gd name="connsiteX65" fmla="*/ 12366 w 190242"/>
                <a:gd name="connsiteY65" fmla="*/ 125063 h 171450"/>
                <a:gd name="connsiteX66" fmla="*/ 27300 w 190242"/>
                <a:gd name="connsiteY66" fmla="*/ 114872 h 171450"/>
                <a:gd name="connsiteX67" fmla="*/ 27300 w 190242"/>
                <a:gd name="connsiteY67" fmla="*/ 114872 h 171450"/>
                <a:gd name="connsiteX68" fmla="*/ 27300 w 190242"/>
                <a:gd name="connsiteY68" fmla="*/ 115538 h 171450"/>
                <a:gd name="connsiteX69" fmla="*/ 27300 w 190242"/>
                <a:gd name="connsiteY69" fmla="*/ 115538 h 171450"/>
                <a:gd name="connsiteX70" fmla="*/ 12841 w 190242"/>
                <a:gd name="connsiteY70" fmla="*/ 125063 h 171450"/>
                <a:gd name="connsiteX71" fmla="*/ 12176 w 190242"/>
                <a:gd name="connsiteY71" fmla="*/ 124492 h 171450"/>
                <a:gd name="connsiteX72" fmla="*/ 24827 w 190242"/>
                <a:gd name="connsiteY72" fmla="*/ 99060 h 171450"/>
                <a:gd name="connsiteX73" fmla="*/ 24827 w 190242"/>
                <a:gd name="connsiteY73" fmla="*/ 98393 h 171450"/>
                <a:gd name="connsiteX74" fmla="*/ 24827 w 190242"/>
                <a:gd name="connsiteY74" fmla="*/ 98393 h 171450"/>
                <a:gd name="connsiteX75" fmla="*/ 24827 w 190242"/>
                <a:gd name="connsiteY75" fmla="*/ 99060 h 171450"/>
                <a:gd name="connsiteX76" fmla="*/ 7324 w 190242"/>
                <a:gd name="connsiteY76" fmla="*/ 92202 h 171450"/>
                <a:gd name="connsiteX77" fmla="*/ 8656 w 190242"/>
                <a:gd name="connsiteY77" fmla="*/ 79629 h 171450"/>
                <a:gd name="connsiteX78" fmla="*/ 26824 w 190242"/>
                <a:gd name="connsiteY78" fmla="*/ 78200 h 171450"/>
                <a:gd name="connsiteX79" fmla="*/ 32817 w 190242"/>
                <a:gd name="connsiteY79" fmla="*/ 62389 h 171450"/>
                <a:gd name="connsiteX80" fmla="*/ 32817 w 190242"/>
                <a:gd name="connsiteY80" fmla="*/ 61913 h 171450"/>
                <a:gd name="connsiteX81" fmla="*/ 33483 w 190242"/>
                <a:gd name="connsiteY81" fmla="*/ 61913 h 171450"/>
                <a:gd name="connsiteX82" fmla="*/ 32817 w 190242"/>
                <a:gd name="connsiteY82" fmla="*/ 63056 h 171450"/>
                <a:gd name="connsiteX83" fmla="*/ 26539 w 190242"/>
                <a:gd name="connsiteY83" fmla="*/ 79439 h 171450"/>
                <a:gd name="connsiteX84" fmla="*/ 8276 w 190242"/>
                <a:gd name="connsiteY84" fmla="*/ 80867 h 171450"/>
                <a:gd name="connsiteX85" fmla="*/ 7134 w 190242"/>
                <a:gd name="connsiteY85" fmla="*/ 91535 h 171450"/>
                <a:gd name="connsiteX86" fmla="*/ 7134 w 190242"/>
                <a:gd name="connsiteY86" fmla="*/ 92488 h 171450"/>
                <a:gd name="connsiteX87" fmla="*/ 20736 w 190242"/>
                <a:gd name="connsiteY87" fmla="*/ 48482 h 171450"/>
                <a:gd name="connsiteX88" fmla="*/ 21497 w 190242"/>
                <a:gd name="connsiteY88" fmla="*/ 48482 h 171450"/>
                <a:gd name="connsiteX89" fmla="*/ 28251 w 190242"/>
                <a:gd name="connsiteY89" fmla="*/ 38957 h 171450"/>
                <a:gd name="connsiteX90" fmla="*/ 44707 w 190242"/>
                <a:gd name="connsiteY90" fmla="*/ 46863 h 171450"/>
                <a:gd name="connsiteX91" fmla="*/ 58309 w 190242"/>
                <a:gd name="connsiteY91" fmla="*/ 35909 h 171450"/>
                <a:gd name="connsiteX92" fmla="*/ 58309 w 190242"/>
                <a:gd name="connsiteY92" fmla="*/ 35909 h 171450"/>
                <a:gd name="connsiteX93" fmla="*/ 58309 w 190242"/>
                <a:gd name="connsiteY93" fmla="*/ 35147 h 171450"/>
                <a:gd name="connsiteX94" fmla="*/ 58309 w 190242"/>
                <a:gd name="connsiteY94" fmla="*/ 35147 h 171450"/>
                <a:gd name="connsiteX95" fmla="*/ 44897 w 190242"/>
                <a:gd name="connsiteY95" fmla="*/ 46006 h 171450"/>
                <a:gd name="connsiteX96" fmla="*/ 28441 w 190242"/>
                <a:gd name="connsiteY96" fmla="*/ 38100 h 171450"/>
                <a:gd name="connsiteX97" fmla="*/ 20736 w 190242"/>
                <a:gd name="connsiteY97" fmla="*/ 48482 h 171450"/>
                <a:gd name="connsiteX98" fmla="*/ 153906 w 190242"/>
                <a:gd name="connsiteY98" fmla="*/ 93250 h 171450"/>
                <a:gd name="connsiteX99" fmla="*/ 95760 w 190242"/>
                <a:gd name="connsiteY99" fmla="*/ 152558 h 171450"/>
                <a:gd name="connsiteX100" fmla="*/ 36717 w 190242"/>
                <a:gd name="connsiteY100" fmla="*/ 98489 h 171450"/>
                <a:gd name="connsiteX101" fmla="*/ 41663 w 190242"/>
                <a:gd name="connsiteY101" fmla="*/ 120015 h 171450"/>
                <a:gd name="connsiteX102" fmla="*/ 119140 w 190242"/>
                <a:gd name="connsiteY102" fmla="*/ 149826 h 171450"/>
                <a:gd name="connsiteX103" fmla="*/ 153906 w 190242"/>
                <a:gd name="connsiteY103" fmla="*/ 9325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90242" h="171450">
                  <a:moveTo>
                    <a:pt x="76953" y="53816"/>
                  </a:moveTo>
                  <a:cubicBezTo>
                    <a:pt x="99828" y="43701"/>
                    <a:pt x="126561" y="54070"/>
                    <a:pt x="136663" y="76976"/>
                  </a:cubicBezTo>
                  <a:cubicBezTo>
                    <a:pt x="138994" y="82264"/>
                    <a:pt x="140295" y="87949"/>
                    <a:pt x="140494" y="93726"/>
                  </a:cubicBezTo>
                  <a:cubicBezTo>
                    <a:pt x="140213" y="88296"/>
                    <a:pt x="138923" y="82966"/>
                    <a:pt x="136689" y="78010"/>
                  </a:cubicBezTo>
                  <a:cubicBezTo>
                    <a:pt x="126570" y="55112"/>
                    <a:pt x="99829" y="44764"/>
                    <a:pt x="76962" y="54897"/>
                  </a:cubicBezTo>
                  <a:cubicBezTo>
                    <a:pt x="60057" y="62388"/>
                    <a:pt x="49398" y="79417"/>
                    <a:pt x="50034" y="97917"/>
                  </a:cubicBezTo>
                  <a:cubicBezTo>
                    <a:pt x="48969" y="79040"/>
                    <a:pt x="59691" y="61476"/>
                    <a:pt x="76953" y="53816"/>
                  </a:cubicBezTo>
                  <a:close/>
                  <a:moveTo>
                    <a:pt x="53934" y="17431"/>
                  </a:moveTo>
                  <a:lnTo>
                    <a:pt x="65539" y="12287"/>
                  </a:lnTo>
                  <a:lnTo>
                    <a:pt x="75812" y="27337"/>
                  </a:lnTo>
                  <a:cubicBezTo>
                    <a:pt x="81453" y="25746"/>
                    <a:pt x="87266" y="24850"/>
                    <a:pt x="93124" y="24670"/>
                  </a:cubicBezTo>
                  <a:lnTo>
                    <a:pt x="98356" y="7144"/>
                  </a:lnTo>
                  <a:lnTo>
                    <a:pt x="110912" y="8573"/>
                  </a:lnTo>
                  <a:lnTo>
                    <a:pt x="112338" y="26765"/>
                  </a:lnTo>
                  <a:cubicBezTo>
                    <a:pt x="118048" y="28166"/>
                    <a:pt x="123548" y="30312"/>
                    <a:pt x="128699" y="33147"/>
                  </a:cubicBezTo>
                  <a:lnTo>
                    <a:pt x="142016" y="20574"/>
                  </a:lnTo>
                  <a:lnTo>
                    <a:pt x="152194" y="28004"/>
                  </a:lnTo>
                  <a:lnTo>
                    <a:pt x="151528" y="28004"/>
                  </a:lnTo>
                  <a:lnTo>
                    <a:pt x="142016" y="21050"/>
                  </a:lnTo>
                  <a:lnTo>
                    <a:pt x="128699" y="33623"/>
                  </a:lnTo>
                  <a:cubicBezTo>
                    <a:pt x="123574" y="30805"/>
                    <a:pt x="118107" y="28660"/>
                    <a:pt x="112433" y="27242"/>
                  </a:cubicBezTo>
                  <a:lnTo>
                    <a:pt x="111007" y="9049"/>
                  </a:lnTo>
                  <a:lnTo>
                    <a:pt x="98451" y="7715"/>
                  </a:lnTo>
                  <a:lnTo>
                    <a:pt x="93124" y="25146"/>
                  </a:lnTo>
                  <a:cubicBezTo>
                    <a:pt x="87298" y="25334"/>
                    <a:pt x="81517" y="26230"/>
                    <a:pt x="75907" y="27813"/>
                  </a:cubicBezTo>
                  <a:lnTo>
                    <a:pt x="65539" y="12764"/>
                  </a:lnTo>
                  <a:lnTo>
                    <a:pt x="54314" y="17717"/>
                  </a:lnTo>
                  <a:lnTo>
                    <a:pt x="54314" y="16955"/>
                  </a:lnTo>
                  <a:close/>
                  <a:moveTo>
                    <a:pt x="144394" y="44863"/>
                  </a:moveTo>
                  <a:cubicBezTo>
                    <a:pt x="148475" y="48831"/>
                    <a:pt x="152024" y="53314"/>
                    <a:pt x="154953" y="58198"/>
                  </a:cubicBezTo>
                  <a:lnTo>
                    <a:pt x="172740" y="54007"/>
                  </a:lnTo>
                  <a:lnTo>
                    <a:pt x="177877" y="65627"/>
                  </a:lnTo>
                  <a:lnTo>
                    <a:pt x="177211" y="65056"/>
                  </a:lnTo>
                  <a:lnTo>
                    <a:pt x="172931" y="54959"/>
                  </a:lnTo>
                  <a:lnTo>
                    <a:pt x="155143" y="59150"/>
                  </a:lnTo>
                  <a:cubicBezTo>
                    <a:pt x="152198" y="54417"/>
                    <a:pt x="148719" y="50038"/>
                    <a:pt x="144775" y="46101"/>
                  </a:cubicBezTo>
                  <a:lnTo>
                    <a:pt x="143538" y="44863"/>
                  </a:lnTo>
                  <a:lnTo>
                    <a:pt x="144109" y="44863"/>
                  </a:lnTo>
                  <a:lnTo>
                    <a:pt x="144109" y="44863"/>
                  </a:lnTo>
                  <a:close/>
                  <a:moveTo>
                    <a:pt x="163419" y="76772"/>
                  </a:moveTo>
                  <a:cubicBezTo>
                    <a:pt x="164804" y="81874"/>
                    <a:pt x="165634" y="87111"/>
                    <a:pt x="165892" y="92393"/>
                  </a:cubicBezTo>
                  <a:cubicBezTo>
                    <a:pt x="165458" y="86589"/>
                    <a:pt x="164438" y="80845"/>
                    <a:pt x="162848" y="75248"/>
                  </a:cubicBezTo>
                  <a:lnTo>
                    <a:pt x="162848" y="75914"/>
                  </a:lnTo>
                  <a:lnTo>
                    <a:pt x="162848" y="76772"/>
                  </a:lnTo>
                  <a:close/>
                  <a:moveTo>
                    <a:pt x="165892" y="93250"/>
                  </a:moveTo>
                  <a:lnTo>
                    <a:pt x="183394" y="98489"/>
                  </a:lnTo>
                  <a:lnTo>
                    <a:pt x="183394" y="99346"/>
                  </a:lnTo>
                  <a:lnTo>
                    <a:pt x="166177" y="94202"/>
                  </a:lnTo>
                  <a:lnTo>
                    <a:pt x="166177" y="93250"/>
                  </a:lnTo>
                  <a:close/>
                  <a:moveTo>
                    <a:pt x="157426" y="128873"/>
                  </a:moveTo>
                  <a:lnTo>
                    <a:pt x="169982" y="142113"/>
                  </a:lnTo>
                  <a:lnTo>
                    <a:pt x="169126" y="142113"/>
                  </a:lnTo>
                  <a:lnTo>
                    <a:pt x="156855" y="128968"/>
                  </a:lnTo>
                  <a:lnTo>
                    <a:pt x="157426" y="128968"/>
                  </a:lnTo>
                  <a:close/>
                  <a:moveTo>
                    <a:pt x="132409" y="155448"/>
                  </a:moveTo>
                  <a:lnTo>
                    <a:pt x="136594" y="173260"/>
                  </a:lnTo>
                  <a:lnTo>
                    <a:pt x="136594" y="173260"/>
                  </a:lnTo>
                  <a:lnTo>
                    <a:pt x="132219" y="154686"/>
                  </a:lnTo>
                  <a:lnTo>
                    <a:pt x="132219" y="155353"/>
                  </a:lnTo>
                  <a:close/>
                  <a:moveTo>
                    <a:pt x="38334" y="162592"/>
                  </a:moveTo>
                  <a:lnTo>
                    <a:pt x="45944" y="146780"/>
                  </a:lnTo>
                  <a:lnTo>
                    <a:pt x="45944" y="146114"/>
                  </a:lnTo>
                  <a:lnTo>
                    <a:pt x="46514" y="146114"/>
                  </a:lnTo>
                  <a:lnTo>
                    <a:pt x="38809" y="162497"/>
                  </a:lnTo>
                  <a:lnTo>
                    <a:pt x="38049" y="162497"/>
                  </a:lnTo>
                  <a:close/>
                  <a:moveTo>
                    <a:pt x="12366" y="125063"/>
                  </a:moveTo>
                  <a:lnTo>
                    <a:pt x="27300" y="114872"/>
                  </a:lnTo>
                  <a:lnTo>
                    <a:pt x="27300" y="114872"/>
                  </a:lnTo>
                  <a:lnTo>
                    <a:pt x="27300" y="115538"/>
                  </a:lnTo>
                  <a:lnTo>
                    <a:pt x="27300" y="115538"/>
                  </a:lnTo>
                  <a:lnTo>
                    <a:pt x="12841" y="125063"/>
                  </a:lnTo>
                  <a:lnTo>
                    <a:pt x="12176" y="124492"/>
                  </a:lnTo>
                  <a:close/>
                  <a:moveTo>
                    <a:pt x="24827" y="99060"/>
                  </a:moveTo>
                  <a:lnTo>
                    <a:pt x="24827" y="98393"/>
                  </a:lnTo>
                  <a:lnTo>
                    <a:pt x="24827" y="98393"/>
                  </a:lnTo>
                  <a:lnTo>
                    <a:pt x="24827" y="99060"/>
                  </a:lnTo>
                  <a:close/>
                  <a:moveTo>
                    <a:pt x="7324" y="92202"/>
                  </a:moveTo>
                  <a:lnTo>
                    <a:pt x="8656" y="79629"/>
                  </a:lnTo>
                  <a:lnTo>
                    <a:pt x="26824" y="78200"/>
                  </a:lnTo>
                  <a:cubicBezTo>
                    <a:pt x="28238" y="72726"/>
                    <a:pt x="30247" y="67424"/>
                    <a:pt x="32817" y="62389"/>
                  </a:cubicBezTo>
                  <a:lnTo>
                    <a:pt x="32817" y="61913"/>
                  </a:lnTo>
                  <a:lnTo>
                    <a:pt x="33483" y="61913"/>
                  </a:lnTo>
                  <a:lnTo>
                    <a:pt x="32817" y="63056"/>
                  </a:lnTo>
                  <a:cubicBezTo>
                    <a:pt x="30072" y="68243"/>
                    <a:pt x="27964" y="73744"/>
                    <a:pt x="26539" y="79439"/>
                  </a:cubicBezTo>
                  <a:lnTo>
                    <a:pt x="8276" y="80867"/>
                  </a:lnTo>
                  <a:lnTo>
                    <a:pt x="7134" y="91535"/>
                  </a:lnTo>
                  <a:lnTo>
                    <a:pt x="7134" y="92488"/>
                  </a:lnTo>
                  <a:close/>
                  <a:moveTo>
                    <a:pt x="20736" y="48482"/>
                  </a:moveTo>
                  <a:lnTo>
                    <a:pt x="21497" y="48482"/>
                  </a:lnTo>
                  <a:lnTo>
                    <a:pt x="28251" y="38957"/>
                  </a:lnTo>
                  <a:lnTo>
                    <a:pt x="44707" y="46863"/>
                  </a:lnTo>
                  <a:cubicBezTo>
                    <a:pt x="48787" y="42680"/>
                    <a:pt x="53354" y="39002"/>
                    <a:pt x="58309" y="35909"/>
                  </a:cubicBezTo>
                  <a:lnTo>
                    <a:pt x="58309" y="35909"/>
                  </a:lnTo>
                  <a:lnTo>
                    <a:pt x="58309" y="35147"/>
                  </a:lnTo>
                  <a:lnTo>
                    <a:pt x="58309" y="35147"/>
                  </a:lnTo>
                  <a:cubicBezTo>
                    <a:pt x="53394" y="38179"/>
                    <a:pt x="48887" y="41828"/>
                    <a:pt x="44897" y="46006"/>
                  </a:cubicBezTo>
                  <a:lnTo>
                    <a:pt x="28441" y="38100"/>
                  </a:lnTo>
                  <a:lnTo>
                    <a:pt x="20736" y="48482"/>
                  </a:lnTo>
                  <a:close/>
                  <a:moveTo>
                    <a:pt x="153906" y="93250"/>
                  </a:moveTo>
                  <a:cubicBezTo>
                    <a:pt x="154205" y="125706"/>
                    <a:pt x="128172" y="152259"/>
                    <a:pt x="95760" y="152558"/>
                  </a:cubicBezTo>
                  <a:cubicBezTo>
                    <a:pt x="64959" y="152843"/>
                    <a:pt x="39179" y="129234"/>
                    <a:pt x="36717" y="98489"/>
                  </a:cubicBezTo>
                  <a:cubicBezTo>
                    <a:pt x="37010" y="105910"/>
                    <a:pt x="38688" y="113211"/>
                    <a:pt x="41663" y="120015"/>
                  </a:cubicBezTo>
                  <a:cubicBezTo>
                    <a:pt x="54837" y="149671"/>
                    <a:pt x="89525" y="163017"/>
                    <a:pt x="119140" y="149826"/>
                  </a:cubicBezTo>
                  <a:cubicBezTo>
                    <a:pt x="141282" y="139963"/>
                    <a:pt x="155094" y="117487"/>
                    <a:pt x="153906" y="93250"/>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19" name="Freeform 18">
              <a:extLst>
                <a:ext uri="{FF2B5EF4-FFF2-40B4-BE49-F238E27FC236}">
                  <a16:creationId xmlns="" xmlns:a16="http://schemas.microsoft.com/office/drawing/2014/main" id="{53E10B45-98BD-3240-815A-45DAD28472DA}"/>
                </a:ext>
              </a:extLst>
            </p:cNvPr>
            <p:cNvSpPr/>
            <p:nvPr/>
          </p:nvSpPr>
          <p:spPr>
            <a:xfrm>
              <a:off x="4297042" y="3210318"/>
              <a:ext cx="205433" cy="205710"/>
            </a:xfrm>
            <a:custGeom>
              <a:avLst/>
              <a:gdLst>
                <a:gd name="connsiteX0" fmla="*/ 105965 w 180730"/>
                <a:gd name="connsiteY0" fmla="*/ 17526 h 180975"/>
                <a:gd name="connsiteX1" fmla="*/ 135548 w 180730"/>
                <a:gd name="connsiteY1" fmla="*/ 28289 h 180975"/>
                <a:gd name="connsiteX2" fmla="*/ 146202 w 180730"/>
                <a:gd name="connsiteY2" fmla="*/ 23717 h 180975"/>
                <a:gd name="connsiteX3" fmla="*/ 160850 w 180730"/>
                <a:gd name="connsiteY3" fmla="*/ 37148 h 180975"/>
                <a:gd name="connsiteX4" fmla="*/ 157236 w 180730"/>
                <a:gd name="connsiteY4" fmla="*/ 48101 h 180975"/>
                <a:gd name="connsiteX5" fmla="*/ 170553 w 180730"/>
                <a:gd name="connsiteY5" fmla="*/ 76676 h 180975"/>
                <a:gd name="connsiteX6" fmla="*/ 181206 w 180730"/>
                <a:gd name="connsiteY6" fmla="*/ 80963 h 180975"/>
                <a:gd name="connsiteX7" fmla="*/ 182158 w 180730"/>
                <a:gd name="connsiteY7" fmla="*/ 100870 h 180975"/>
                <a:gd name="connsiteX8" fmla="*/ 171789 w 180730"/>
                <a:gd name="connsiteY8" fmla="*/ 106013 h 180975"/>
                <a:gd name="connsiteX9" fmla="*/ 161041 w 180730"/>
                <a:gd name="connsiteY9" fmla="*/ 135636 h 180975"/>
                <a:gd name="connsiteX10" fmla="*/ 165606 w 180730"/>
                <a:gd name="connsiteY10" fmla="*/ 146304 h 180975"/>
                <a:gd name="connsiteX11" fmla="*/ 152194 w 180730"/>
                <a:gd name="connsiteY11" fmla="*/ 160973 h 180975"/>
                <a:gd name="connsiteX12" fmla="*/ 141160 w 180730"/>
                <a:gd name="connsiteY12" fmla="*/ 157353 h 180975"/>
                <a:gd name="connsiteX13" fmla="*/ 112624 w 180730"/>
                <a:gd name="connsiteY13" fmla="*/ 170688 h 180975"/>
                <a:gd name="connsiteX14" fmla="*/ 108343 w 180730"/>
                <a:gd name="connsiteY14" fmla="*/ 181356 h 180975"/>
                <a:gd name="connsiteX15" fmla="*/ 88463 w 180730"/>
                <a:gd name="connsiteY15" fmla="*/ 182309 h 180975"/>
                <a:gd name="connsiteX16" fmla="*/ 83231 w 180730"/>
                <a:gd name="connsiteY16" fmla="*/ 171926 h 180975"/>
                <a:gd name="connsiteX17" fmla="*/ 53744 w 180730"/>
                <a:gd name="connsiteY17" fmla="*/ 161163 h 180975"/>
                <a:gd name="connsiteX18" fmla="*/ 43090 w 180730"/>
                <a:gd name="connsiteY18" fmla="*/ 165735 h 180975"/>
                <a:gd name="connsiteX19" fmla="*/ 28441 w 180730"/>
                <a:gd name="connsiteY19" fmla="*/ 152305 h 180975"/>
                <a:gd name="connsiteX20" fmla="*/ 32056 w 180730"/>
                <a:gd name="connsiteY20" fmla="*/ 141256 h 180975"/>
                <a:gd name="connsiteX21" fmla="*/ 18739 w 180730"/>
                <a:gd name="connsiteY21" fmla="*/ 112681 h 180975"/>
                <a:gd name="connsiteX22" fmla="*/ 7990 w 180730"/>
                <a:gd name="connsiteY22" fmla="*/ 108395 h 180975"/>
                <a:gd name="connsiteX23" fmla="*/ 7134 w 180730"/>
                <a:gd name="connsiteY23" fmla="*/ 88487 h 180975"/>
                <a:gd name="connsiteX24" fmla="*/ 17502 w 180730"/>
                <a:gd name="connsiteY24" fmla="*/ 83344 h 180975"/>
                <a:gd name="connsiteX25" fmla="*/ 28251 w 180730"/>
                <a:gd name="connsiteY25" fmla="*/ 53721 h 180975"/>
                <a:gd name="connsiteX26" fmla="*/ 23685 w 180730"/>
                <a:gd name="connsiteY26" fmla="*/ 43053 h 180975"/>
                <a:gd name="connsiteX27" fmla="*/ 37097 w 180730"/>
                <a:gd name="connsiteY27" fmla="*/ 28385 h 180975"/>
                <a:gd name="connsiteX28" fmla="*/ 48036 w 180730"/>
                <a:gd name="connsiteY28" fmla="*/ 32004 h 180975"/>
                <a:gd name="connsiteX29" fmla="*/ 76573 w 180730"/>
                <a:gd name="connsiteY29" fmla="*/ 18669 h 180975"/>
                <a:gd name="connsiteX30" fmla="*/ 80758 w 180730"/>
                <a:gd name="connsiteY30" fmla="*/ 8001 h 180975"/>
                <a:gd name="connsiteX31" fmla="*/ 100639 w 180730"/>
                <a:gd name="connsiteY31" fmla="*/ 7144 h 180975"/>
                <a:gd name="connsiteX32" fmla="*/ 105965 w 180730"/>
                <a:gd name="connsiteY32" fmla="*/ 17526 h 180975"/>
                <a:gd name="connsiteX33" fmla="*/ 57073 w 180730"/>
                <a:gd name="connsiteY33" fmla="*/ 57531 h 180975"/>
                <a:gd name="connsiteX34" fmla="*/ 68773 w 180730"/>
                <a:gd name="connsiteY34" fmla="*/ 68294 h 180975"/>
                <a:gd name="connsiteX35" fmla="*/ 70295 w 180730"/>
                <a:gd name="connsiteY35" fmla="*/ 66580 h 180975"/>
                <a:gd name="connsiteX36" fmla="*/ 75526 w 180730"/>
                <a:gd name="connsiteY36" fmla="*/ 68390 h 180975"/>
                <a:gd name="connsiteX37" fmla="*/ 86941 w 180730"/>
                <a:gd name="connsiteY37" fmla="*/ 63246 h 180975"/>
                <a:gd name="connsiteX38" fmla="*/ 88939 w 180730"/>
                <a:gd name="connsiteY38" fmla="*/ 58103 h 180975"/>
                <a:gd name="connsiteX39" fmla="*/ 97404 w 180730"/>
                <a:gd name="connsiteY39" fmla="*/ 58103 h 180975"/>
                <a:gd name="connsiteX40" fmla="*/ 99878 w 180730"/>
                <a:gd name="connsiteY40" fmla="*/ 63056 h 180975"/>
                <a:gd name="connsiteX41" fmla="*/ 111482 w 180730"/>
                <a:gd name="connsiteY41" fmla="*/ 67246 h 180975"/>
                <a:gd name="connsiteX42" fmla="*/ 116619 w 180730"/>
                <a:gd name="connsiteY42" fmla="*/ 65056 h 180975"/>
                <a:gd name="connsiteX43" fmla="*/ 118236 w 180730"/>
                <a:gd name="connsiteY43" fmla="*/ 66580 h 180975"/>
                <a:gd name="connsiteX44" fmla="*/ 128985 w 180730"/>
                <a:gd name="connsiteY44" fmla="*/ 54864 h 180975"/>
                <a:gd name="connsiteX45" fmla="*/ 57168 w 180730"/>
                <a:gd name="connsiteY45" fmla="*/ 58007 h 180975"/>
                <a:gd name="connsiteX46" fmla="*/ 82185 w 180730"/>
                <a:gd name="connsiteY46" fmla="*/ 80582 h 180975"/>
                <a:gd name="connsiteX47" fmla="*/ 94551 w 180730"/>
                <a:gd name="connsiteY47" fmla="*/ 91916 h 180975"/>
                <a:gd name="connsiteX48" fmla="*/ 105965 w 180730"/>
                <a:gd name="connsiteY48" fmla="*/ 79534 h 180975"/>
                <a:gd name="connsiteX49" fmla="*/ 93885 w 180730"/>
                <a:gd name="connsiteY49" fmla="*/ 75819 h 180975"/>
                <a:gd name="connsiteX50" fmla="*/ 82185 w 180730"/>
                <a:gd name="connsiteY50" fmla="*/ 80582 h 180975"/>
                <a:gd name="connsiteX51" fmla="*/ 97404 w 180730"/>
                <a:gd name="connsiteY51" fmla="*/ 94583 h 180975"/>
                <a:gd name="connsiteX52" fmla="*/ 109865 w 180730"/>
                <a:gd name="connsiteY52" fmla="*/ 106013 h 180975"/>
                <a:gd name="connsiteX53" fmla="*/ 113575 w 180730"/>
                <a:gd name="connsiteY53" fmla="*/ 93917 h 180975"/>
                <a:gd name="connsiteX54" fmla="*/ 108819 w 180730"/>
                <a:gd name="connsiteY54" fmla="*/ 82201 h 180975"/>
                <a:gd name="connsiteX55" fmla="*/ 97404 w 180730"/>
                <a:gd name="connsiteY55" fmla="*/ 94583 h 180975"/>
                <a:gd name="connsiteX56" fmla="*/ 123182 w 180730"/>
                <a:gd name="connsiteY56" fmla="*/ 118205 h 180975"/>
                <a:gd name="connsiteX57" fmla="*/ 134502 w 180730"/>
                <a:gd name="connsiteY57" fmla="*/ 129064 h 180975"/>
                <a:gd name="connsiteX58" fmla="*/ 131363 w 180730"/>
                <a:gd name="connsiteY58" fmla="*/ 57150 h 180975"/>
                <a:gd name="connsiteX59" fmla="*/ 120709 w 180730"/>
                <a:gd name="connsiteY59" fmla="*/ 68866 h 180975"/>
                <a:gd name="connsiteX60" fmla="*/ 122326 w 180730"/>
                <a:gd name="connsiteY60" fmla="*/ 70390 h 180975"/>
                <a:gd name="connsiteX61" fmla="*/ 120614 w 180730"/>
                <a:gd name="connsiteY61" fmla="*/ 75629 h 180975"/>
                <a:gd name="connsiteX62" fmla="*/ 125846 w 180730"/>
                <a:gd name="connsiteY62" fmla="*/ 86963 h 180975"/>
                <a:gd name="connsiteX63" fmla="*/ 130982 w 180730"/>
                <a:gd name="connsiteY63" fmla="*/ 88964 h 180975"/>
                <a:gd name="connsiteX64" fmla="*/ 130982 w 180730"/>
                <a:gd name="connsiteY64" fmla="*/ 97441 h 180975"/>
                <a:gd name="connsiteX65" fmla="*/ 126036 w 180730"/>
                <a:gd name="connsiteY65" fmla="*/ 99917 h 180975"/>
                <a:gd name="connsiteX66" fmla="*/ 121755 w 180730"/>
                <a:gd name="connsiteY66" fmla="*/ 111538 h 180975"/>
                <a:gd name="connsiteX67" fmla="*/ 124038 w 180730"/>
                <a:gd name="connsiteY67" fmla="*/ 116681 h 180975"/>
                <a:gd name="connsiteX68" fmla="*/ 122421 w 180730"/>
                <a:gd name="connsiteY68" fmla="*/ 118301 h 180975"/>
                <a:gd name="connsiteX69" fmla="*/ 132694 w 180730"/>
                <a:gd name="connsiteY69" fmla="*/ 131826 h 180975"/>
                <a:gd name="connsiteX70" fmla="*/ 120995 w 180730"/>
                <a:gd name="connsiteY70" fmla="*/ 121158 h 180975"/>
                <a:gd name="connsiteX71" fmla="*/ 119473 w 180730"/>
                <a:gd name="connsiteY71" fmla="*/ 122777 h 180975"/>
                <a:gd name="connsiteX72" fmla="*/ 114146 w 180730"/>
                <a:gd name="connsiteY72" fmla="*/ 121063 h 180975"/>
                <a:gd name="connsiteX73" fmla="*/ 102921 w 180730"/>
                <a:gd name="connsiteY73" fmla="*/ 126302 h 180975"/>
                <a:gd name="connsiteX74" fmla="*/ 100924 w 180730"/>
                <a:gd name="connsiteY74" fmla="*/ 131445 h 180975"/>
                <a:gd name="connsiteX75" fmla="*/ 92458 w 180730"/>
                <a:gd name="connsiteY75" fmla="*/ 131445 h 180975"/>
                <a:gd name="connsiteX76" fmla="*/ 89985 w 180730"/>
                <a:gd name="connsiteY76" fmla="*/ 126492 h 180975"/>
                <a:gd name="connsiteX77" fmla="*/ 77429 w 180730"/>
                <a:gd name="connsiteY77" fmla="*/ 122301 h 180975"/>
                <a:gd name="connsiteX78" fmla="*/ 72387 w 180730"/>
                <a:gd name="connsiteY78" fmla="*/ 124587 h 180975"/>
                <a:gd name="connsiteX79" fmla="*/ 70675 w 180730"/>
                <a:gd name="connsiteY79" fmla="*/ 122968 h 180975"/>
                <a:gd name="connsiteX80" fmla="*/ 60022 w 180730"/>
                <a:gd name="connsiteY80" fmla="*/ 134684 h 180975"/>
                <a:gd name="connsiteX81" fmla="*/ 131838 w 180730"/>
                <a:gd name="connsiteY81" fmla="*/ 131540 h 180975"/>
                <a:gd name="connsiteX82" fmla="*/ 107582 w 180730"/>
                <a:gd name="connsiteY82" fmla="*/ 108871 h 180975"/>
                <a:gd name="connsiteX83" fmla="*/ 95217 w 180730"/>
                <a:gd name="connsiteY83" fmla="*/ 97441 h 180975"/>
                <a:gd name="connsiteX84" fmla="*/ 83802 w 180730"/>
                <a:gd name="connsiteY84" fmla="*/ 109919 h 180975"/>
                <a:gd name="connsiteX85" fmla="*/ 95882 w 180730"/>
                <a:gd name="connsiteY85" fmla="*/ 113633 h 180975"/>
                <a:gd name="connsiteX86" fmla="*/ 107582 w 180730"/>
                <a:gd name="connsiteY86" fmla="*/ 108871 h 180975"/>
                <a:gd name="connsiteX87" fmla="*/ 92268 w 180730"/>
                <a:gd name="connsiteY87" fmla="*/ 94869 h 180975"/>
                <a:gd name="connsiteX88" fmla="*/ 79902 w 180730"/>
                <a:gd name="connsiteY88" fmla="*/ 83439 h 180975"/>
                <a:gd name="connsiteX89" fmla="*/ 80948 w 180730"/>
                <a:gd name="connsiteY89" fmla="*/ 107252 h 180975"/>
                <a:gd name="connsiteX90" fmla="*/ 92268 w 180730"/>
                <a:gd name="connsiteY90" fmla="*/ 94869 h 180975"/>
                <a:gd name="connsiteX91" fmla="*/ 66490 w 180730"/>
                <a:gd name="connsiteY91" fmla="*/ 71152 h 180975"/>
                <a:gd name="connsiteX92" fmla="*/ 54790 w 180730"/>
                <a:gd name="connsiteY92" fmla="*/ 60484 h 180975"/>
                <a:gd name="connsiteX93" fmla="*/ 57929 w 180730"/>
                <a:gd name="connsiteY93" fmla="*/ 132398 h 180975"/>
                <a:gd name="connsiteX94" fmla="*/ 67917 w 180730"/>
                <a:gd name="connsiteY94" fmla="*/ 120777 h 180975"/>
                <a:gd name="connsiteX95" fmla="*/ 66205 w 180730"/>
                <a:gd name="connsiteY95" fmla="*/ 119253 h 180975"/>
                <a:gd name="connsiteX96" fmla="*/ 68012 w 180730"/>
                <a:gd name="connsiteY96" fmla="*/ 113919 h 180975"/>
                <a:gd name="connsiteX97" fmla="*/ 62780 w 180730"/>
                <a:gd name="connsiteY97" fmla="*/ 102680 h 180975"/>
                <a:gd name="connsiteX98" fmla="*/ 57644 w 180730"/>
                <a:gd name="connsiteY98" fmla="*/ 100679 h 180975"/>
                <a:gd name="connsiteX99" fmla="*/ 57644 w 180730"/>
                <a:gd name="connsiteY99" fmla="*/ 92202 h 180975"/>
                <a:gd name="connsiteX100" fmla="*/ 62590 w 180730"/>
                <a:gd name="connsiteY100" fmla="*/ 89726 h 180975"/>
                <a:gd name="connsiteX101" fmla="*/ 66775 w 180730"/>
                <a:gd name="connsiteY101" fmla="*/ 78010 h 180975"/>
                <a:gd name="connsiteX102" fmla="*/ 64587 w 180730"/>
                <a:gd name="connsiteY102" fmla="*/ 72962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80730" h="180975">
                  <a:moveTo>
                    <a:pt x="105965" y="17526"/>
                  </a:moveTo>
                  <a:cubicBezTo>
                    <a:pt x="116468" y="19010"/>
                    <a:pt x="126544" y="22676"/>
                    <a:pt x="135548" y="28289"/>
                  </a:cubicBezTo>
                  <a:lnTo>
                    <a:pt x="146202" y="23717"/>
                  </a:lnTo>
                  <a:lnTo>
                    <a:pt x="160850" y="37148"/>
                  </a:lnTo>
                  <a:lnTo>
                    <a:pt x="157236" y="48101"/>
                  </a:lnTo>
                  <a:cubicBezTo>
                    <a:pt x="163517" y="56651"/>
                    <a:pt x="168044" y="66363"/>
                    <a:pt x="170553" y="76676"/>
                  </a:cubicBezTo>
                  <a:lnTo>
                    <a:pt x="181206" y="80963"/>
                  </a:lnTo>
                  <a:lnTo>
                    <a:pt x="182158" y="100870"/>
                  </a:lnTo>
                  <a:lnTo>
                    <a:pt x="171789" y="106013"/>
                  </a:lnTo>
                  <a:cubicBezTo>
                    <a:pt x="170272" y="116521"/>
                    <a:pt x="166614" y="126604"/>
                    <a:pt x="161041" y="135636"/>
                  </a:cubicBezTo>
                  <a:lnTo>
                    <a:pt x="165606" y="146304"/>
                  </a:lnTo>
                  <a:lnTo>
                    <a:pt x="152194" y="160973"/>
                  </a:lnTo>
                  <a:lnTo>
                    <a:pt x="141160" y="157353"/>
                  </a:lnTo>
                  <a:cubicBezTo>
                    <a:pt x="132638" y="163670"/>
                    <a:pt x="122933" y="168205"/>
                    <a:pt x="112624" y="170688"/>
                  </a:cubicBezTo>
                  <a:lnTo>
                    <a:pt x="108343" y="181356"/>
                  </a:lnTo>
                  <a:lnTo>
                    <a:pt x="88463" y="182309"/>
                  </a:lnTo>
                  <a:lnTo>
                    <a:pt x="83231" y="171926"/>
                  </a:lnTo>
                  <a:cubicBezTo>
                    <a:pt x="72771" y="170392"/>
                    <a:pt x="62736" y="166729"/>
                    <a:pt x="53744" y="161163"/>
                  </a:cubicBezTo>
                  <a:lnTo>
                    <a:pt x="43090" y="165735"/>
                  </a:lnTo>
                  <a:lnTo>
                    <a:pt x="28441" y="152305"/>
                  </a:lnTo>
                  <a:lnTo>
                    <a:pt x="32056" y="141256"/>
                  </a:lnTo>
                  <a:cubicBezTo>
                    <a:pt x="25709" y="132745"/>
                    <a:pt x="21176" y="123019"/>
                    <a:pt x="18739" y="112681"/>
                  </a:cubicBezTo>
                  <a:lnTo>
                    <a:pt x="7990" y="108395"/>
                  </a:lnTo>
                  <a:lnTo>
                    <a:pt x="7134" y="88487"/>
                  </a:lnTo>
                  <a:lnTo>
                    <a:pt x="17502" y="83344"/>
                  </a:lnTo>
                  <a:cubicBezTo>
                    <a:pt x="18984" y="72827"/>
                    <a:pt x="22646" y="62737"/>
                    <a:pt x="28251" y="53721"/>
                  </a:cubicBezTo>
                  <a:lnTo>
                    <a:pt x="23685" y="43053"/>
                  </a:lnTo>
                  <a:lnTo>
                    <a:pt x="37097" y="28385"/>
                  </a:lnTo>
                  <a:lnTo>
                    <a:pt x="48036" y="32004"/>
                  </a:lnTo>
                  <a:cubicBezTo>
                    <a:pt x="56554" y="25678"/>
                    <a:pt x="66260" y="21143"/>
                    <a:pt x="76573" y="18669"/>
                  </a:cubicBezTo>
                  <a:lnTo>
                    <a:pt x="80758" y="8001"/>
                  </a:lnTo>
                  <a:lnTo>
                    <a:pt x="100639" y="7144"/>
                  </a:lnTo>
                  <a:lnTo>
                    <a:pt x="105965" y="17526"/>
                  </a:lnTo>
                  <a:close/>
                  <a:moveTo>
                    <a:pt x="57073" y="57531"/>
                  </a:moveTo>
                  <a:lnTo>
                    <a:pt x="68773" y="68294"/>
                  </a:lnTo>
                  <a:lnTo>
                    <a:pt x="70295" y="66580"/>
                  </a:lnTo>
                  <a:lnTo>
                    <a:pt x="75526" y="68390"/>
                  </a:lnTo>
                  <a:cubicBezTo>
                    <a:pt x="78929" y="65892"/>
                    <a:pt x="82818" y="64139"/>
                    <a:pt x="86941" y="63246"/>
                  </a:cubicBezTo>
                  <a:lnTo>
                    <a:pt x="88939" y="58103"/>
                  </a:lnTo>
                  <a:lnTo>
                    <a:pt x="97404" y="58103"/>
                  </a:lnTo>
                  <a:lnTo>
                    <a:pt x="99878" y="63056"/>
                  </a:lnTo>
                  <a:cubicBezTo>
                    <a:pt x="103977" y="63701"/>
                    <a:pt x="107915" y="65123"/>
                    <a:pt x="111482" y="67246"/>
                  </a:cubicBezTo>
                  <a:lnTo>
                    <a:pt x="116619" y="65056"/>
                  </a:lnTo>
                  <a:lnTo>
                    <a:pt x="118236" y="66580"/>
                  </a:lnTo>
                  <a:lnTo>
                    <a:pt x="128985" y="54864"/>
                  </a:lnTo>
                  <a:cubicBezTo>
                    <a:pt x="107888" y="37003"/>
                    <a:pt x="76627" y="38371"/>
                    <a:pt x="57168" y="58007"/>
                  </a:cubicBezTo>
                  <a:close/>
                  <a:moveTo>
                    <a:pt x="82185" y="80582"/>
                  </a:moveTo>
                  <a:lnTo>
                    <a:pt x="94551" y="91916"/>
                  </a:lnTo>
                  <a:lnTo>
                    <a:pt x="105965" y="79534"/>
                  </a:lnTo>
                  <a:cubicBezTo>
                    <a:pt x="102479" y="76953"/>
                    <a:pt x="98217" y="75643"/>
                    <a:pt x="93885" y="75819"/>
                  </a:cubicBezTo>
                  <a:cubicBezTo>
                    <a:pt x="89557" y="76026"/>
                    <a:pt x="85430" y="77706"/>
                    <a:pt x="82185" y="80582"/>
                  </a:cubicBezTo>
                  <a:close/>
                  <a:moveTo>
                    <a:pt x="97404" y="94583"/>
                  </a:moveTo>
                  <a:lnTo>
                    <a:pt x="109865" y="106013"/>
                  </a:lnTo>
                  <a:cubicBezTo>
                    <a:pt x="112442" y="102522"/>
                    <a:pt x="113751" y="98254"/>
                    <a:pt x="113575" y="93917"/>
                  </a:cubicBezTo>
                  <a:cubicBezTo>
                    <a:pt x="113368" y="89583"/>
                    <a:pt x="111690" y="85450"/>
                    <a:pt x="108819" y="82201"/>
                  </a:cubicBezTo>
                  <a:lnTo>
                    <a:pt x="97404" y="94583"/>
                  </a:lnTo>
                  <a:close/>
                  <a:moveTo>
                    <a:pt x="123182" y="118205"/>
                  </a:moveTo>
                  <a:lnTo>
                    <a:pt x="134502" y="129064"/>
                  </a:lnTo>
                  <a:cubicBezTo>
                    <a:pt x="152432" y="107971"/>
                    <a:pt x="151063" y="76596"/>
                    <a:pt x="131363" y="57150"/>
                  </a:cubicBezTo>
                  <a:lnTo>
                    <a:pt x="120709" y="68866"/>
                  </a:lnTo>
                  <a:lnTo>
                    <a:pt x="122326" y="70390"/>
                  </a:lnTo>
                  <a:lnTo>
                    <a:pt x="120614" y="75629"/>
                  </a:lnTo>
                  <a:cubicBezTo>
                    <a:pt x="123053" y="79044"/>
                    <a:pt x="124828" y="82890"/>
                    <a:pt x="125846" y="86963"/>
                  </a:cubicBezTo>
                  <a:lnTo>
                    <a:pt x="130982" y="88964"/>
                  </a:lnTo>
                  <a:lnTo>
                    <a:pt x="130982" y="97441"/>
                  </a:lnTo>
                  <a:lnTo>
                    <a:pt x="126036" y="99917"/>
                  </a:lnTo>
                  <a:cubicBezTo>
                    <a:pt x="125400" y="104039"/>
                    <a:pt x="123945" y="107990"/>
                    <a:pt x="121755" y="111538"/>
                  </a:cubicBezTo>
                  <a:lnTo>
                    <a:pt x="124038" y="116681"/>
                  </a:lnTo>
                  <a:lnTo>
                    <a:pt x="122421" y="118301"/>
                  </a:lnTo>
                  <a:close/>
                  <a:moveTo>
                    <a:pt x="132694" y="131826"/>
                  </a:moveTo>
                  <a:lnTo>
                    <a:pt x="120995" y="121158"/>
                  </a:lnTo>
                  <a:lnTo>
                    <a:pt x="119473" y="122777"/>
                  </a:lnTo>
                  <a:lnTo>
                    <a:pt x="114146" y="121063"/>
                  </a:lnTo>
                  <a:cubicBezTo>
                    <a:pt x="110759" y="123487"/>
                    <a:pt x="106953" y="125263"/>
                    <a:pt x="102921" y="126302"/>
                  </a:cubicBezTo>
                  <a:lnTo>
                    <a:pt x="100924" y="131445"/>
                  </a:lnTo>
                  <a:lnTo>
                    <a:pt x="92458" y="131445"/>
                  </a:lnTo>
                  <a:lnTo>
                    <a:pt x="89985" y="126492"/>
                  </a:lnTo>
                  <a:cubicBezTo>
                    <a:pt x="85550" y="126002"/>
                    <a:pt x="81270" y="124573"/>
                    <a:pt x="77429" y="122301"/>
                  </a:cubicBezTo>
                  <a:lnTo>
                    <a:pt x="72387" y="124587"/>
                  </a:lnTo>
                  <a:lnTo>
                    <a:pt x="70675" y="122968"/>
                  </a:lnTo>
                  <a:lnTo>
                    <a:pt x="60022" y="134684"/>
                  </a:lnTo>
                  <a:cubicBezTo>
                    <a:pt x="81086" y="152638"/>
                    <a:pt x="112419" y="151267"/>
                    <a:pt x="131838" y="131540"/>
                  </a:cubicBezTo>
                  <a:close/>
                  <a:moveTo>
                    <a:pt x="107582" y="108871"/>
                  </a:moveTo>
                  <a:lnTo>
                    <a:pt x="95217" y="97441"/>
                  </a:lnTo>
                  <a:lnTo>
                    <a:pt x="83802" y="109919"/>
                  </a:lnTo>
                  <a:cubicBezTo>
                    <a:pt x="87288" y="112499"/>
                    <a:pt x="91551" y="113810"/>
                    <a:pt x="95882" y="113633"/>
                  </a:cubicBezTo>
                  <a:cubicBezTo>
                    <a:pt x="100200" y="113382"/>
                    <a:pt x="104314" y="111708"/>
                    <a:pt x="107582" y="108871"/>
                  </a:cubicBezTo>
                  <a:close/>
                  <a:moveTo>
                    <a:pt x="92268" y="94869"/>
                  </a:moveTo>
                  <a:lnTo>
                    <a:pt x="79902" y="83439"/>
                  </a:lnTo>
                  <a:cubicBezTo>
                    <a:pt x="74636" y="90642"/>
                    <a:pt x="75071" y="100540"/>
                    <a:pt x="80948" y="107252"/>
                  </a:cubicBezTo>
                  <a:lnTo>
                    <a:pt x="92268" y="94869"/>
                  </a:lnTo>
                  <a:close/>
                  <a:moveTo>
                    <a:pt x="66490" y="71152"/>
                  </a:moveTo>
                  <a:lnTo>
                    <a:pt x="54790" y="60484"/>
                  </a:lnTo>
                  <a:cubicBezTo>
                    <a:pt x="36953" y="81608"/>
                    <a:pt x="38319" y="112912"/>
                    <a:pt x="57929" y="132398"/>
                  </a:cubicBezTo>
                  <a:lnTo>
                    <a:pt x="67917" y="120777"/>
                  </a:lnTo>
                  <a:lnTo>
                    <a:pt x="66205" y="119253"/>
                  </a:lnTo>
                  <a:lnTo>
                    <a:pt x="68012" y="113919"/>
                  </a:lnTo>
                  <a:cubicBezTo>
                    <a:pt x="65515" y="110572"/>
                    <a:pt x="63734" y="106746"/>
                    <a:pt x="62780" y="102680"/>
                  </a:cubicBezTo>
                  <a:lnTo>
                    <a:pt x="57644" y="100679"/>
                  </a:lnTo>
                  <a:lnTo>
                    <a:pt x="57644" y="92202"/>
                  </a:lnTo>
                  <a:lnTo>
                    <a:pt x="62590" y="89726"/>
                  </a:lnTo>
                  <a:cubicBezTo>
                    <a:pt x="63234" y="85591"/>
                    <a:pt x="64654" y="81615"/>
                    <a:pt x="66775" y="78010"/>
                  </a:cubicBezTo>
                  <a:lnTo>
                    <a:pt x="64587" y="72962"/>
                  </a:ln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20" name="Freeform 19">
              <a:extLst>
                <a:ext uri="{FF2B5EF4-FFF2-40B4-BE49-F238E27FC236}">
                  <a16:creationId xmlns="" xmlns:a16="http://schemas.microsoft.com/office/drawing/2014/main" id="{146E7CBD-FF60-3B46-862E-C56630800668}"/>
                </a:ext>
              </a:extLst>
            </p:cNvPr>
            <p:cNvSpPr/>
            <p:nvPr/>
          </p:nvSpPr>
          <p:spPr>
            <a:xfrm>
              <a:off x="4297258" y="3243773"/>
              <a:ext cx="205433" cy="173230"/>
            </a:xfrm>
            <a:custGeom>
              <a:avLst/>
              <a:gdLst>
                <a:gd name="connsiteX0" fmla="*/ 160185 w 180730"/>
                <a:gd name="connsiteY0" fmla="*/ 7144 h 152400"/>
                <a:gd name="connsiteX1" fmla="*/ 160185 w 180730"/>
                <a:gd name="connsiteY1" fmla="*/ 7144 h 152400"/>
                <a:gd name="connsiteX2" fmla="*/ 156475 w 180730"/>
                <a:gd name="connsiteY2" fmla="*/ 18288 h 152400"/>
                <a:gd name="connsiteX3" fmla="*/ 156475 w 180730"/>
                <a:gd name="connsiteY3" fmla="*/ 18288 h 152400"/>
                <a:gd name="connsiteX4" fmla="*/ 160185 w 180730"/>
                <a:gd name="connsiteY4" fmla="*/ 7144 h 152400"/>
                <a:gd name="connsiteX5" fmla="*/ 181682 w 180730"/>
                <a:gd name="connsiteY5" fmla="*/ 70009 h 152400"/>
                <a:gd name="connsiteX6" fmla="*/ 181682 w 180730"/>
                <a:gd name="connsiteY6" fmla="*/ 71152 h 152400"/>
                <a:gd name="connsiteX7" fmla="*/ 171314 w 180730"/>
                <a:gd name="connsiteY7" fmla="*/ 76295 h 152400"/>
                <a:gd name="connsiteX8" fmla="*/ 160850 w 180730"/>
                <a:gd name="connsiteY8" fmla="*/ 105442 h 152400"/>
                <a:gd name="connsiteX9" fmla="*/ 160850 w 180730"/>
                <a:gd name="connsiteY9" fmla="*/ 105918 h 152400"/>
                <a:gd name="connsiteX10" fmla="*/ 160280 w 180730"/>
                <a:gd name="connsiteY10" fmla="*/ 105918 h 152400"/>
                <a:gd name="connsiteX11" fmla="*/ 160850 w 180730"/>
                <a:gd name="connsiteY11" fmla="*/ 104966 h 152400"/>
                <a:gd name="connsiteX12" fmla="*/ 171599 w 180730"/>
                <a:gd name="connsiteY12" fmla="*/ 75438 h 152400"/>
                <a:gd name="connsiteX13" fmla="*/ 181872 w 180730"/>
                <a:gd name="connsiteY13" fmla="*/ 70199 h 152400"/>
                <a:gd name="connsiteX14" fmla="*/ 164941 w 180730"/>
                <a:gd name="connsiteY14" fmla="*/ 115824 h 152400"/>
                <a:gd name="connsiteX15" fmla="*/ 164941 w 180730"/>
                <a:gd name="connsiteY15" fmla="*/ 116586 h 152400"/>
                <a:gd name="connsiteX16" fmla="*/ 151528 w 180730"/>
                <a:gd name="connsiteY16" fmla="*/ 131255 h 152400"/>
                <a:gd name="connsiteX17" fmla="*/ 140494 w 180730"/>
                <a:gd name="connsiteY17" fmla="*/ 127635 h 152400"/>
                <a:gd name="connsiteX18" fmla="*/ 111958 w 180730"/>
                <a:gd name="connsiteY18" fmla="*/ 140970 h 152400"/>
                <a:gd name="connsiteX19" fmla="*/ 107677 w 180730"/>
                <a:gd name="connsiteY19" fmla="*/ 151638 h 152400"/>
                <a:gd name="connsiteX20" fmla="*/ 87797 w 180730"/>
                <a:gd name="connsiteY20" fmla="*/ 152591 h 152400"/>
                <a:gd name="connsiteX21" fmla="*/ 82565 w 180730"/>
                <a:gd name="connsiteY21" fmla="*/ 142208 h 152400"/>
                <a:gd name="connsiteX22" fmla="*/ 53078 w 180730"/>
                <a:gd name="connsiteY22" fmla="*/ 131445 h 152400"/>
                <a:gd name="connsiteX23" fmla="*/ 42424 w 180730"/>
                <a:gd name="connsiteY23" fmla="*/ 136017 h 152400"/>
                <a:gd name="connsiteX24" fmla="*/ 27776 w 180730"/>
                <a:gd name="connsiteY24" fmla="*/ 122587 h 152400"/>
                <a:gd name="connsiteX25" fmla="*/ 27776 w 180730"/>
                <a:gd name="connsiteY25" fmla="*/ 121730 h 152400"/>
                <a:gd name="connsiteX26" fmla="*/ 42139 w 180730"/>
                <a:gd name="connsiteY26" fmla="*/ 134874 h 152400"/>
                <a:gd name="connsiteX27" fmla="*/ 53458 w 180730"/>
                <a:gd name="connsiteY27" fmla="*/ 130969 h 152400"/>
                <a:gd name="connsiteX28" fmla="*/ 82946 w 180730"/>
                <a:gd name="connsiteY28" fmla="*/ 141732 h 152400"/>
                <a:gd name="connsiteX29" fmla="*/ 88178 w 180730"/>
                <a:gd name="connsiteY29" fmla="*/ 152114 h 152400"/>
                <a:gd name="connsiteX30" fmla="*/ 108058 w 180730"/>
                <a:gd name="connsiteY30" fmla="*/ 151257 h 152400"/>
                <a:gd name="connsiteX31" fmla="*/ 112338 w 180730"/>
                <a:gd name="connsiteY31" fmla="*/ 140494 h 152400"/>
                <a:gd name="connsiteX32" fmla="*/ 140875 w 180730"/>
                <a:gd name="connsiteY32" fmla="*/ 127159 h 152400"/>
                <a:gd name="connsiteX33" fmla="*/ 151909 w 180730"/>
                <a:gd name="connsiteY33" fmla="*/ 130778 h 152400"/>
                <a:gd name="connsiteX34" fmla="*/ 165036 w 180730"/>
                <a:gd name="connsiteY34" fmla="*/ 116491 h 152400"/>
                <a:gd name="connsiteX35" fmla="*/ 31771 w 180730"/>
                <a:gd name="connsiteY35" fmla="*/ 111252 h 152400"/>
                <a:gd name="connsiteX36" fmla="*/ 18739 w 180730"/>
                <a:gd name="connsiteY36" fmla="*/ 82677 h 152400"/>
                <a:gd name="connsiteX37" fmla="*/ 7990 w 180730"/>
                <a:gd name="connsiteY37" fmla="*/ 78391 h 152400"/>
                <a:gd name="connsiteX38" fmla="*/ 7134 w 180730"/>
                <a:gd name="connsiteY38" fmla="*/ 58484 h 152400"/>
                <a:gd name="connsiteX39" fmla="*/ 7134 w 180730"/>
                <a:gd name="connsiteY39" fmla="*/ 58484 h 152400"/>
                <a:gd name="connsiteX40" fmla="*/ 7895 w 180730"/>
                <a:gd name="connsiteY40" fmla="*/ 77533 h 152400"/>
                <a:gd name="connsiteX41" fmla="*/ 18644 w 180730"/>
                <a:gd name="connsiteY41" fmla="*/ 81820 h 152400"/>
                <a:gd name="connsiteX42" fmla="*/ 32246 w 180730"/>
                <a:gd name="connsiteY42" fmla="*/ 111919 h 152400"/>
                <a:gd name="connsiteX43" fmla="*/ 32246 w 180730"/>
                <a:gd name="connsiteY43" fmla="*/ 111919 h 152400"/>
                <a:gd name="connsiteX44" fmla="*/ 32246 w 180730"/>
                <a:gd name="connsiteY44" fmla="*/ 111919 h 152400"/>
                <a:gd name="connsiteX45" fmla="*/ 28536 w 180730"/>
                <a:gd name="connsiteY45" fmla="*/ 24765 h 152400"/>
                <a:gd name="connsiteX46" fmla="*/ 23685 w 180730"/>
                <a:gd name="connsiteY46" fmla="*/ 13430 h 152400"/>
                <a:gd name="connsiteX47" fmla="*/ 23685 w 180730"/>
                <a:gd name="connsiteY47" fmla="*/ 13430 h 152400"/>
                <a:gd name="connsiteX48" fmla="*/ 28536 w 180730"/>
                <a:gd name="connsiteY48" fmla="*/ 24670 h 152400"/>
                <a:gd name="connsiteX49" fmla="*/ 28536 w 180730"/>
                <a:gd name="connsiteY49" fmla="*/ 25146 h 152400"/>
                <a:gd name="connsiteX50" fmla="*/ 128224 w 180730"/>
                <a:gd name="connsiteY50" fmla="*/ 24194 h 152400"/>
                <a:gd name="connsiteX51" fmla="*/ 57549 w 180730"/>
                <a:gd name="connsiteY51" fmla="*/ 27241 h 152400"/>
                <a:gd name="connsiteX52" fmla="*/ 56978 w 180730"/>
                <a:gd name="connsiteY52" fmla="*/ 27908 h 152400"/>
                <a:gd name="connsiteX53" fmla="*/ 55836 w 180730"/>
                <a:gd name="connsiteY53" fmla="*/ 27908 h 152400"/>
                <a:gd name="connsiteX54" fmla="*/ 56978 w 180730"/>
                <a:gd name="connsiteY54" fmla="*/ 26670 h 152400"/>
                <a:gd name="connsiteX55" fmla="*/ 128795 w 180730"/>
                <a:gd name="connsiteY55" fmla="*/ 23527 h 152400"/>
                <a:gd name="connsiteX56" fmla="*/ 129936 w 180730"/>
                <a:gd name="connsiteY56" fmla="*/ 24479 h 152400"/>
                <a:gd name="connsiteX57" fmla="*/ 128794 w 180730"/>
                <a:gd name="connsiteY57" fmla="*/ 24479 h 152400"/>
                <a:gd name="connsiteX58" fmla="*/ 128224 w 180730"/>
                <a:gd name="connsiteY58" fmla="*/ 23908 h 152400"/>
                <a:gd name="connsiteX59" fmla="*/ 105204 w 180730"/>
                <a:gd name="connsiteY59" fmla="*/ 49340 h 152400"/>
                <a:gd name="connsiteX60" fmla="*/ 82661 w 180730"/>
                <a:gd name="connsiteY60" fmla="*/ 50292 h 152400"/>
                <a:gd name="connsiteX61" fmla="*/ 81995 w 180730"/>
                <a:gd name="connsiteY61" fmla="*/ 50864 h 152400"/>
                <a:gd name="connsiteX62" fmla="*/ 80758 w 180730"/>
                <a:gd name="connsiteY62" fmla="*/ 50864 h 152400"/>
                <a:gd name="connsiteX63" fmla="*/ 82090 w 180730"/>
                <a:gd name="connsiteY63" fmla="*/ 49816 h 152400"/>
                <a:gd name="connsiteX64" fmla="*/ 93790 w 180730"/>
                <a:gd name="connsiteY64" fmla="*/ 45053 h 152400"/>
                <a:gd name="connsiteX65" fmla="*/ 105870 w 180730"/>
                <a:gd name="connsiteY65" fmla="*/ 48768 h 152400"/>
                <a:gd name="connsiteX66" fmla="*/ 107012 w 180730"/>
                <a:gd name="connsiteY66" fmla="*/ 49721 h 152400"/>
                <a:gd name="connsiteX67" fmla="*/ 105870 w 180730"/>
                <a:gd name="connsiteY67" fmla="*/ 49721 h 152400"/>
                <a:gd name="connsiteX68" fmla="*/ 105204 w 180730"/>
                <a:gd name="connsiteY68" fmla="*/ 49721 h 152400"/>
                <a:gd name="connsiteX69" fmla="*/ 113480 w 180730"/>
                <a:gd name="connsiteY69" fmla="*/ 64484 h 152400"/>
                <a:gd name="connsiteX70" fmla="*/ 113480 w 180730"/>
                <a:gd name="connsiteY70" fmla="*/ 64484 h 152400"/>
                <a:gd name="connsiteX71" fmla="*/ 108724 w 180730"/>
                <a:gd name="connsiteY71" fmla="*/ 52769 h 152400"/>
                <a:gd name="connsiteX72" fmla="*/ 96263 w 180730"/>
                <a:gd name="connsiteY72" fmla="*/ 65818 h 152400"/>
                <a:gd name="connsiteX73" fmla="*/ 96263 w 180730"/>
                <a:gd name="connsiteY73" fmla="*/ 65341 h 152400"/>
                <a:gd name="connsiteX74" fmla="*/ 108724 w 180730"/>
                <a:gd name="connsiteY74" fmla="*/ 51721 h 152400"/>
                <a:gd name="connsiteX75" fmla="*/ 113480 w 180730"/>
                <a:gd name="connsiteY75" fmla="*/ 63437 h 152400"/>
                <a:gd name="connsiteX76" fmla="*/ 113480 w 180730"/>
                <a:gd name="connsiteY76" fmla="*/ 64865 h 152400"/>
                <a:gd name="connsiteX77" fmla="*/ 147438 w 180730"/>
                <a:gd name="connsiteY77" fmla="*/ 64484 h 152400"/>
                <a:gd name="connsiteX78" fmla="*/ 147438 w 180730"/>
                <a:gd name="connsiteY78" fmla="*/ 61436 h 152400"/>
                <a:gd name="connsiteX79" fmla="*/ 131363 w 180730"/>
                <a:gd name="connsiteY79" fmla="*/ 26194 h 152400"/>
                <a:gd name="connsiteX80" fmla="*/ 119568 w 180730"/>
                <a:gd name="connsiteY80" fmla="*/ 39148 h 152400"/>
                <a:gd name="connsiteX81" fmla="*/ 120138 w 180730"/>
                <a:gd name="connsiteY81" fmla="*/ 39148 h 152400"/>
                <a:gd name="connsiteX82" fmla="*/ 131363 w 180730"/>
                <a:gd name="connsiteY82" fmla="*/ 26860 h 152400"/>
                <a:gd name="connsiteX83" fmla="*/ 147058 w 180730"/>
                <a:gd name="connsiteY83" fmla="*/ 62198 h 152400"/>
                <a:gd name="connsiteX84" fmla="*/ 147058 w 180730"/>
                <a:gd name="connsiteY84" fmla="*/ 64103 h 152400"/>
                <a:gd name="connsiteX85" fmla="*/ 122326 w 180730"/>
                <a:gd name="connsiteY85" fmla="*/ 40196 h 152400"/>
                <a:gd name="connsiteX86" fmla="*/ 122326 w 180730"/>
                <a:gd name="connsiteY86" fmla="*/ 40196 h 152400"/>
                <a:gd name="connsiteX87" fmla="*/ 120329 w 180730"/>
                <a:gd name="connsiteY87" fmla="*/ 46196 h 152400"/>
                <a:gd name="connsiteX88" fmla="*/ 120329 w 180730"/>
                <a:gd name="connsiteY88" fmla="*/ 46196 h 152400"/>
                <a:gd name="connsiteX89" fmla="*/ 122231 w 180730"/>
                <a:gd name="connsiteY89" fmla="*/ 40196 h 152400"/>
                <a:gd name="connsiteX90" fmla="*/ 131838 w 180730"/>
                <a:gd name="connsiteY90" fmla="*/ 66389 h 152400"/>
                <a:gd name="connsiteX91" fmla="*/ 131838 w 180730"/>
                <a:gd name="connsiteY91" fmla="*/ 67532 h 152400"/>
                <a:gd name="connsiteX92" fmla="*/ 126892 w 180730"/>
                <a:gd name="connsiteY92" fmla="*/ 70009 h 152400"/>
                <a:gd name="connsiteX93" fmla="*/ 122897 w 180730"/>
                <a:gd name="connsiteY93" fmla="*/ 81153 h 152400"/>
                <a:gd name="connsiteX94" fmla="*/ 122897 w 180730"/>
                <a:gd name="connsiteY94" fmla="*/ 81629 h 152400"/>
                <a:gd name="connsiteX95" fmla="*/ 122897 w 180730"/>
                <a:gd name="connsiteY95" fmla="*/ 81629 h 152400"/>
                <a:gd name="connsiteX96" fmla="*/ 122897 w 180730"/>
                <a:gd name="connsiteY96" fmla="*/ 80677 h 152400"/>
                <a:gd name="connsiteX97" fmla="*/ 127177 w 180730"/>
                <a:gd name="connsiteY97" fmla="*/ 68961 h 152400"/>
                <a:gd name="connsiteX98" fmla="*/ 132124 w 180730"/>
                <a:gd name="connsiteY98" fmla="*/ 66484 h 152400"/>
                <a:gd name="connsiteX99" fmla="*/ 124514 w 180730"/>
                <a:gd name="connsiteY99" fmla="*/ 86011 h 152400"/>
                <a:gd name="connsiteX100" fmla="*/ 124514 w 180730"/>
                <a:gd name="connsiteY100" fmla="*/ 86773 h 152400"/>
                <a:gd name="connsiteX101" fmla="*/ 122421 w 180730"/>
                <a:gd name="connsiteY101" fmla="*/ 88964 h 152400"/>
                <a:gd name="connsiteX102" fmla="*/ 121851 w 180730"/>
                <a:gd name="connsiteY102" fmla="*/ 88487 h 152400"/>
                <a:gd name="connsiteX103" fmla="*/ 124134 w 180730"/>
                <a:gd name="connsiteY103" fmla="*/ 86011 h 152400"/>
                <a:gd name="connsiteX104" fmla="*/ 132885 w 180730"/>
                <a:gd name="connsiteY104" fmla="*/ 102584 h 152400"/>
                <a:gd name="connsiteX105" fmla="*/ 120709 w 180730"/>
                <a:gd name="connsiteY105" fmla="*/ 91345 h 152400"/>
                <a:gd name="connsiteX106" fmla="*/ 119187 w 180730"/>
                <a:gd name="connsiteY106" fmla="*/ 92964 h 152400"/>
                <a:gd name="connsiteX107" fmla="*/ 113860 w 180730"/>
                <a:gd name="connsiteY107" fmla="*/ 91250 h 152400"/>
                <a:gd name="connsiteX108" fmla="*/ 102636 w 180730"/>
                <a:gd name="connsiteY108" fmla="*/ 96488 h 152400"/>
                <a:gd name="connsiteX109" fmla="*/ 100639 w 180730"/>
                <a:gd name="connsiteY109" fmla="*/ 101632 h 152400"/>
                <a:gd name="connsiteX110" fmla="*/ 92173 w 180730"/>
                <a:gd name="connsiteY110" fmla="*/ 101632 h 152400"/>
                <a:gd name="connsiteX111" fmla="*/ 89700 w 180730"/>
                <a:gd name="connsiteY111" fmla="*/ 96679 h 152400"/>
                <a:gd name="connsiteX112" fmla="*/ 77239 w 180730"/>
                <a:gd name="connsiteY112" fmla="*/ 92869 h 152400"/>
                <a:gd name="connsiteX113" fmla="*/ 72197 w 180730"/>
                <a:gd name="connsiteY113" fmla="*/ 95155 h 152400"/>
                <a:gd name="connsiteX114" fmla="*/ 70485 w 180730"/>
                <a:gd name="connsiteY114" fmla="*/ 93536 h 152400"/>
                <a:gd name="connsiteX115" fmla="*/ 59261 w 180730"/>
                <a:gd name="connsiteY115" fmla="*/ 105918 h 152400"/>
                <a:gd name="connsiteX116" fmla="*/ 58690 w 180730"/>
                <a:gd name="connsiteY116" fmla="*/ 105346 h 152400"/>
                <a:gd name="connsiteX117" fmla="*/ 70770 w 180730"/>
                <a:gd name="connsiteY117" fmla="*/ 92869 h 152400"/>
                <a:gd name="connsiteX118" fmla="*/ 72483 w 180730"/>
                <a:gd name="connsiteY118" fmla="*/ 94393 h 152400"/>
                <a:gd name="connsiteX119" fmla="*/ 77524 w 180730"/>
                <a:gd name="connsiteY119" fmla="*/ 92202 h 152400"/>
                <a:gd name="connsiteX120" fmla="*/ 89224 w 180730"/>
                <a:gd name="connsiteY120" fmla="*/ 96393 h 152400"/>
                <a:gd name="connsiteX121" fmla="*/ 91697 w 180730"/>
                <a:gd name="connsiteY121" fmla="*/ 101346 h 152400"/>
                <a:gd name="connsiteX122" fmla="*/ 100163 w 180730"/>
                <a:gd name="connsiteY122" fmla="*/ 101346 h 152400"/>
                <a:gd name="connsiteX123" fmla="*/ 102161 w 180730"/>
                <a:gd name="connsiteY123" fmla="*/ 96203 h 152400"/>
                <a:gd name="connsiteX124" fmla="*/ 113385 w 180730"/>
                <a:gd name="connsiteY124" fmla="*/ 90964 h 152400"/>
                <a:gd name="connsiteX125" fmla="*/ 118712 w 180730"/>
                <a:gd name="connsiteY125" fmla="*/ 92774 h 152400"/>
                <a:gd name="connsiteX126" fmla="*/ 120234 w 180730"/>
                <a:gd name="connsiteY126" fmla="*/ 91059 h 152400"/>
                <a:gd name="connsiteX127" fmla="*/ 133075 w 180730"/>
                <a:gd name="connsiteY127" fmla="*/ 102394 h 152400"/>
                <a:gd name="connsiteX128" fmla="*/ 132409 w 180730"/>
                <a:gd name="connsiteY128" fmla="*/ 102965 h 152400"/>
                <a:gd name="connsiteX129" fmla="*/ 107868 w 180730"/>
                <a:gd name="connsiteY129" fmla="*/ 79534 h 152400"/>
                <a:gd name="connsiteX130" fmla="*/ 94931 w 180730"/>
                <a:gd name="connsiteY130" fmla="*/ 67628 h 152400"/>
                <a:gd name="connsiteX131" fmla="*/ 82946 w 180730"/>
                <a:gd name="connsiteY131" fmla="*/ 80677 h 152400"/>
                <a:gd name="connsiteX132" fmla="*/ 82375 w 180730"/>
                <a:gd name="connsiteY132" fmla="*/ 80677 h 152400"/>
                <a:gd name="connsiteX133" fmla="*/ 94931 w 180730"/>
                <a:gd name="connsiteY133" fmla="*/ 66961 h 152400"/>
                <a:gd name="connsiteX134" fmla="*/ 108438 w 180730"/>
                <a:gd name="connsiteY134" fmla="*/ 79439 h 152400"/>
                <a:gd name="connsiteX135" fmla="*/ 107868 w 180730"/>
                <a:gd name="connsiteY135" fmla="*/ 79439 h 152400"/>
                <a:gd name="connsiteX136" fmla="*/ 92553 w 180730"/>
                <a:gd name="connsiteY136" fmla="*/ 65532 h 152400"/>
                <a:gd name="connsiteX137" fmla="*/ 79617 w 180730"/>
                <a:gd name="connsiteY137" fmla="*/ 53626 h 152400"/>
                <a:gd name="connsiteX138" fmla="*/ 75907 w 180730"/>
                <a:gd name="connsiteY138" fmla="*/ 64294 h 152400"/>
                <a:gd name="connsiteX139" fmla="*/ 79617 w 180730"/>
                <a:gd name="connsiteY139" fmla="*/ 52483 h 152400"/>
                <a:gd name="connsiteX140" fmla="*/ 93124 w 180730"/>
                <a:gd name="connsiteY140" fmla="*/ 64960 h 152400"/>
                <a:gd name="connsiteX141" fmla="*/ 92553 w 180730"/>
                <a:gd name="connsiteY141" fmla="*/ 65532 h 152400"/>
                <a:gd name="connsiteX142" fmla="*/ 65634 w 180730"/>
                <a:gd name="connsiteY142" fmla="*/ 40862 h 152400"/>
                <a:gd name="connsiteX143" fmla="*/ 54505 w 180730"/>
                <a:gd name="connsiteY143" fmla="*/ 30671 h 152400"/>
                <a:gd name="connsiteX144" fmla="*/ 41473 w 180730"/>
                <a:gd name="connsiteY144" fmla="*/ 64294 h 152400"/>
                <a:gd name="connsiteX145" fmla="*/ 54029 w 180730"/>
                <a:gd name="connsiteY145" fmla="*/ 29623 h 152400"/>
                <a:gd name="connsiteX146" fmla="*/ 65729 w 180730"/>
                <a:gd name="connsiteY146" fmla="*/ 40386 h 152400"/>
                <a:gd name="connsiteX147" fmla="*/ 66870 w 180730"/>
                <a:gd name="connsiteY147" fmla="*/ 41434 h 152400"/>
                <a:gd name="connsiteX148" fmla="*/ 65824 w 180730"/>
                <a:gd name="connsiteY148" fmla="*/ 41434 h 152400"/>
                <a:gd name="connsiteX149" fmla="*/ 65158 w 180730"/>
                <a:gd name="connsiteY149" fmla="*/ 40862 h 152400"/>
                <a:gd name="connsiteX150" fmla="*/ 68963 w 180730"/>
                <a:gd name="connsiteY150" fmla="*/ 91345 h 152400"/>
                <a:gd name="connsiteX151" fmla="*/ 68963 w 180730"/>
                <a:gd name="connsiteY151" fmla="*/ 90773 h 152400"/>
                <a:gd name="connsiteX152" fmla="*/ 66490 w 180730"/>
                <a:gd name="connsiteY152" fmla="*/ 88487 h 152400"/>
                <a:gd name="connsiteX153" fmla="*/ 66490 w 180730"/>
                <a:gd name="connsiteY153" fmla="*/ 89344 h 152400"/>
                <a:gd name="connsiteX154" fmla="*/ 68773 w 180730"/>
                <a:gd name="connsiteY154" fmla="*/ 91345 h 152400"/>
                <a:gd name="connsiteX155" fmla="*/ 68202 w 180730"/>
                <a:gd name="connsiteY155" fmla="*/ 83725 h 152400"/>
                <a:gd name="connsiteX156" fmla="*/ 68202 w 180730"/>
                <a:gd name="connsiteY156" fmla="*/ 83725 h 152400"/>
                <a:gd name="connsiteX157" fmla="*/ 68202 w 180730"/>
                <a:gd name="connsiteY157" fmla="*/ 83249 h 152400"/>
                <a:gd name="connsiteX158" fmla="*/ 68202 w 180730"/>
                <a:gd name="connsiteY158" fmla="*/ 82582 h 152400"/>
                <a:gd name="connsiteX159" fmla="*/ 62970 w 180730"/>
                <a:gd name="connsiteY159" fmla="*/ 71247 h 152400"/>
                <a:gd name="connsiteX160" fmla="*/ 57834 w 180730"/>
                <a:gd name="connsiteY160" fmla="*/ 69247 h 152400"/>
                <a:gd name="connsiteX161" fmla="*/ 57834 w 180730"/>
                <a:gd name="connsiteY161" fmla="*/ 61913 h 152400"/>
                <a:gd name="connsiteX162" fmla="*/ 57834 w 180730"/>
                <a:gd name="connsiteY162" fmla="*/ 61913 h 152400"/>
                <a:gd name="connsiteX163" fmla="*/ 57834 w 180730"/>
                <a:gd name="connsiteY163" fmla="*/ 70390 h 152400"/>
                <a:gd name="connsiteX164" fmla="*/ 62970 w 180730"/>
                <a:gd name="connsiteY164" fmla="*/ 72390 h 152400"/>
                <a:gd name="connsiteX165" fmla="*/ 67917 w 180730"/>
                <a:gd name="connsiteY165" fmla="*/ 83344 h 152400"/>
                <a:gd name="connsiteX166" fmla="*/ 67156 w 180730"/>
                <a:gd name="connsiteY166" fmla="*/ 48768 h 152400"/>
                <a:gd name="connsiteX167" fmla="*/ 67156 w 180730"/>
                <a:gd name="connsiteY167" fmla="*/ 48768 h 152400"/>
                <a:gd name="connsiteX168" fmla="*/ 64778 w 180730"/>
                <a:gd name="connsiteY168" fmla="*/ 43053 h 152400"/>
                <a:gd name="connsiteX169" fmla="*/ 64778 w 180730"/>
                <a:gd name="connsiteY169" fmla="*/ 43053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80730" h="152400">
                  <a:moveTo>
                    <a:pt x="160185" y="7144"/>
                  </a:moveTo>
                  <a:lnTo>
                    <a:pt x="160185" y="7144"/>
                  </a:lnTo>
                  <a:lnTo>
                    <a:pt x="156475" y="18288"/>
                  </a:lnTo>
                  <a:lnTo>
                    <a:pt x="156475" y="18288"/>
                  </a:lnTo>
                  <a:lnTo>
                    <a:pt x="160185" y="7144"/>
                  </a:lnTo>
                  <a:close/>
                  <a:moveTo>
                    <a:pt x="181682" y="70009"/>
                  </a:moveTo>
                  <a:lnTo>
                    <a:pt x="181682" y="71152"/>
                  </a:lnTo>
                  <a:lnTo>
                    <a:pt x="171314" y="76295"/>
                  </a:lnTo>
                  <a:cubicBezTo>
                    <a:pt x="169835" y="86620"/>
                    <a:pt x="166275" y="96537"/>
                    <a:pt x="160850" y="105442"/>
                  </a:cubicBezTo>
                  <a:lnTo>
                    <a:pt x="160850" y="105918"/>
                  </a:lnTo>
                  <a:lnTo>
                    <a:pt x="160280" y="105918"/>
                  </a:lnTo>
                  <a:lnTo>
                    <a:pt x="160850" y="104966"/>
                  </a:lnTo>
                  <a:cubicBezTo>
                    <a:pt x="166409" y="95961"/>
                    <a:pt x="170067" y="85912"/>
                    <a:pt x="171599" y="75438"/>
                  </a:cubicBezTo>
                  <a:lnTo>
                    <a:pt x="181872" y="70199"/>
                  </a:lnTo>
                  <a:close/>
                  <a:moveTo>
                    <a:pt x="164941" y="115824"/>
                  </a:moveTo>
                  <a:lnTo>
                    <a:pt x="164941" y="116586"/>
                  </a:lnTo>
                  <a:lnTo>
                    <a:pt x="151528" y="131255"/>
                  </a:lnTo>
                  <a:lnTo>
                    <a:pt x="140494" y="127635"/>
                  </a:lnTo>
                  <a:cubicBezTo>
                    <a:pt x="131972" y="133952"/>
                    <a:pt x="122267" y="138487"/>
                    <a:pt x="111958" y="140970"/>
                  </a:cubicBezTo>
                  <a:lnTo>
                    <a:pt x="107677" y="151638"/>
                  </a:lnTo>
                  <a:lnTo>
                    <a:pt x="87797" y="152591"/>
                  </a:lnTo>
                  <a:lnTo>
                    <a:pt x="82565" y="142208"/>
                  </a:lnTo>
                  <a:cubicBezTo>
                    <a:pt x="72105" y="140674"/>
                    <a:pt x="62070" y="137011"/>
                    <a:pt x="53078" y="131445"/>
                  </a:cubicBezTo>
                  <a:lnTo>
                    <a:pt x="42424" y="136017"/>
                  </a:lnTo>
                  <a:lnTo>
                    <a:pt x="27776" y="122587"/>
                  </a:lnTo>
                  <a:lnTo>
                    <a:pt x="27776" y="121730"/>
                  </a:lnTo>
                  <a:lnTo>
                    <a:pt x="42139" y="134874"/>
                  </a:lnTo>
                  <a:lnTo>
                    <a:pt x="53458" y="130969"/>
                  </a:lnTo>
                  <a:cubicBezTo>
                    <a:pt x="62434" y="136569"/>
                    <a:pt x="72477" y="140235"/>
                    <a:pt x="82946" y="141732"/>
                  </a:cubicBezTo>
                  <a:lnTo>
                    <a:pt x="88178" y="152114"/>
                  </a:lnTo>
                  <a:lnTo>
                    <a:pt x="108058" y="151257"/>
                  </a:lnTo>
                  <a:lnTo>
                    <a:pt x="112338" y="140494"/>
                  </a:lnTo>
                  <a:cubicBezTo>
                    <a:pt x="122662" y="138053"/>
                    <a:pt x="132375" y="133514"/>
                    <a:pt x="140875" y="127159"/>
                  </a:cubicBezTo>
                  <a:lnTo>
                    <a:pt x="151909" y="130778"/>
                  </a:lnTo>
                  <a:lnTo>
                    <a:pt x="165036" y="116491"/>
                  </a:lnTo>
                  <a:close/>
                  <a:moveTo>
                    <a:pt x="31771" y="111252"/>
                  </a:moveTo>
                  <a:cubicBezTo>
                    <a:pt x="25537" y="102710"/>
                    <a:pt x="21103" y="92988"/>
                    <a:pt x="18739" y="82677"/>
                  </a:cubicBezTo>
                  <a:lnTo>
                    <a:pt x="7990" y="78391"/>
                  </a:lnTo>
                  <a:lnTo>
                    <a:pt x="7134" y="58484"/>
                  </a:lnTo>
                  <a:lnTo>
                    <a:pt x="7134" y="58484"/>
                  </a:lnTo>
                  <a:lnTo>
                    <a:pt x="7895" y="77533"/>
                  </a:lnTo>
                  <a:lnTo>
                    <a:pt x="18644" y="81820"/>
                  </a:lnTo>
                  <a:cubicBezTo>
                    <a:pt x="20980" y="92710"/>
                    <a:pt x="25618" y="102973"/>
                    <a:pt x="32246" y="111919"/>
                  </a:cubicBezTo>
                  <a:lnTo>
                    <a:pt x="32246" y="111919"/>
                  </a:lnTo>
                  <a:lnTo>
                    <a:pt x="32246" y="111919"/>
                  </a:lnTo>
                  <a:close/>
                  <a:moveTo>
                    <a:pt x="28536" y="24765"/>
                  </a:moveTo>
                  <a:lnTo>
                    <a:pt x="23685" y="13430"/>
                  </a:lnTo>
                  <a:lnTo>
                    <a:pt x="23685" y="13430"/>
                  </a:lnTo>
                  <a:lnTo>
                    <a:pt x="28536" y="24670"/>
                  </a:lnTo>
                  <a:lnTo>
                    <a:pt x="28536" y="25146"/>
                  </a:lnTo>
                  <a:close/>
                  <a:moveTo>
                    <a:pt x="128224" y="24194"/>
                  </a:moveTo>
                  <a:cubicBezTo>
                    <a:pt x="107339" y="7006"/>
                    <a:pt x="76881" y="8320"/>
                    <a:pt x="57549" y="27241"/>
                  </a:cubicBezTo>
                  <a:lnTo>
                    <a:pt x="56978" y="27908"/>
                  </a:lnTo>
                  <a:lnTo>
                    <a:pt x="55836" y="27908"/>
                  </a:lnTo>
                  <a:lnTo>
                    <a:pt x="56978" y="26670"/>
                  </a:lnTo>
                  <a:cubicBezTo>
                    <a:pt x="76397" y="6943"/>
                    <a:pt x="107730" y="5572"/>
                    <a:pt x="128795" y="23527"/>
                  </a:cubicBezTo>
                  <a:lnTo>
                    <a:pt x="129936" y="24479"/>
                  </a:lnTo>
                  <a:lnTo>
                    <a:pt x="128794" y="24479"/>
                  </a:lnTo>
                  <a:lnTo>
                    <a:pt x="128224" y="23908"/>
                  </a:lnTo>
                  <a:close/>
                  <a:moveTo>
                    <a:pt x="105204" y="49340"/>
                  </a:moveTo>
                  <a:cubicBezTo>
                    <a:pt x="98292" y="44679"/>
                    <a:pt x="89156" y="45065"/>
                    <a:pt x="82661" y="50292"/>
                  </a:cubicBezTo>
                  <a:lnTo>
                    <a:pt x="81995" y="50864"/>
                  </a:lnTo>
                  <a:lnTo>
                    <a:pt x="80758" y="50864"/>
                  </a:lnTo>
                  <a:lnTo>
                    <a:pt x="82090" y="49816"/>
                  </a:lnTo>
                  <a:cubicBezTo>
                    <a:pt x="85334" y="46940"/>
                    <a:pt x="89462" y="45260"/>
                    <a:pt x="93790" y="45053"/>
                  </a:cubicBezTo>
                  <a:cubicBezTo>
                    <a:pt x="98122" y="44877"/>
                    <a:pt x="102384" y="46188"/>
                    <a:pt x="105870" y="48768"/>
                  </a:cubicBezTo>
                  <a:lnTo>
                    <a:pt x="107012" y="49721"/>
                  </a:lnTo>
                  <a:lnTo>
                    <a:pt x="105870" y="49721"/>
                  </a:lnTo>
                  <a:lnTo>
                    <a:pt x="105204" y="49721"/>
                  </a:lnTo>
                  <a:close/>
                  <a:moveTo>
                    <a:pt x="113480" y="64484"/>
                  </a:moveTo>
                  <a:lnTo>
                    <a:pt x="113480" y="64484"/>
                  </a:lnTo>
                  <a:cubicBezTo>
                    <a:pt x="113273" y="60151"/>
                    <a:pt x="111595" y="56017"/>
                    <a:pt x="108724" y="52769"/>
                  </a:cubicBezTo>
                  <a:lnTo>
                    <a:pt x="96263" y="65818"/>
                  </a:lnTo>
                  <a:lnTo>
                    <a:pt x="96263" y="65341"/>
                  </a:lnTo>
                  <a:lnTo>
                    <a:pt x="108724" y="51721"/>
                  </a:lnTo>
                  <a:cubicBezTo>
                    <a:pt x="111595" y="54970"/>
                    <a:pt x="113273" y="59103"/>
                    <a:pt x="113480" y="63437"/>
                  </a:cubicBezTo>
                  <a:lnTo>
                    <a:pt x="113480" y="64865"/>
                  </a:lnTo>
                  <a:close/>
                  <a:moveTo>
                    <a:pt x="147438" y="64484"/>
                  </a:moveTo>
                  <a:cubicBezTo>
                    <a:pt x="147438" y="63437"/>
                    <a:pt x="147438" y="62484"/>
                    <a:pt x="147438" y="61436"/>
                  </a:cubicBezTo>
                  <a:cubicBezTo>
                    <a:pt x="146774" y="48063"/>
                    <a:pt x="141022" y="35452"/>
                    <a:pt x="131363" y="26194"/>
                  </a:cubicBezTo>
                  <a:lnTo>
                    <a:pt x="119568" y="39148"/>
                  </a:lnTo>
                  <a:lnTo>
                    <a:pt x="120138" y="39148"/>
                  </a:lnTo>
                  <a:lnTo>
                    <a:pt x="131363" y="26860"/>
                  </a:lnTo>
                  <a:cubicBezTo>
                    <a:pt x="140920" y="36193"/>
                    <a:pt x="146538" y="48841"/>
                    <a:pt x="147058" y="62198"/>
                  </a:cubicBezTo>
                  <a:cubicBezTo>
                    <a:pt x="147058" y="62865"/>
                    <a:pt x="147058" y="63437"/>
                    <a:pt x="147058" y="64103"/>
                  </a:cubicBezTo>
                  <a:close/>
                  <a:moveTo>
                    <a:pt x="122326" y="40196"/>
                  </a:moveTo>
                  <a:lnTo>
                    <a:pt x="122326" y="40196"/>
                  </a:lnTo>
                  <a:lnTo>
                    <a:pt x="120329" y="46196"/>
                  </a:lnTo>
                  <a:lnTo>
                    <a:pt x="120329" y="46196"/>
                  </a:lnTo>
                  <a:lnTo>
                    <a:pt x="122231" y="40196"/>
                  </a:lnTo>
                  <a:close/>
                  <a:moveTo>
                    <a:pt x="131838" y="66389"/>
                  </a:moveTo>
                  <a:lnTo>
                    <a:pt x="131838" y="67532"/>
                  </a:lnTo>
                  <a:lnTo>
                    <a:pt x="126892" y="70009"/>
                  </a:lnTo>
                  <a:cubicBezTo>
                    <a:pt x="126269" y="73941"/>
                    <a:pt x="124913" y="77721"/>
                    <a:pt x="122897" y="81153"/>
                  </a:cubicBezTo>
                  <a:lnTo>
                    <a:pt x="122897" y="81629"/>
                  </a:lnTo>
                  <a:lnTo>
                    <a:pt x="122897" y="81629"/>
                  </a:lnTo>
                  <a:lnTo>
                    <a:pt x="122897" y="80677"/>
                  </a:lnTo>
                  <a:cubicBezTo>
                    <a:pt x="125089" y="77096"/>
                    <a:pt x="126544" y="73113"/>
                    <a:pt x="127177" y="68961"/>
                  </a:cubicBezTo>
                  <a:lnTo>
                    <a:pt x="132124" y="66484"/>
                  </a:lnTo>
                  <a:close/>
                  <a:moveTo>
                    <a:pt x="124514" y="86011"/>
                  </a:moveTo>
                  <a:lnTo>
                    <a:pt x="124514" y="86773"/>
                  </a:lnTo>
                  <a:lnTo>
                    <a:pt x="122421" y="88964"/>
                  </a:lnTo>
                  <a:lnTo>
                    <a:pt x="121851" y="88487"/>
                  </a:lnTo>
                  <a:lnTo>
                    <a:pt x="124134" y="86011"/>
                  </a:lnTo>
                  <a:close/>
                  <a:moveTo>
                    <a:pt x="132885" y="102584"/>
                  </a:moveTo>
                  <a:lnTo>
                    <a:pt x="120709" y="91345"/>
                  </a:lnTo>
                  <a:lnTo>
                    <a:pt x="119187" y="92964"/>
                  </a:lnTo>
                  <a:lnTo>
                    <a:pt x="113860" y="91250"/>
                  </a:lnTo>
                  <a:cubicBezTo>
                    <a:pt x="110473" y="93674"/>
                    <a:pt x="106668" y="95450"/>
                    <a:pt x="102636" y="96488"/>
                  </a:cubicBezTo>
                  <a:lnTo>
                    <a:pt x="100639" y="101632"/>
                  </a:lnTo>
                  <a:lnTo>
                    <a:pt x="92173" y="101632"/>
                  </a:lnTo>
                  <a:lnTo>
                    <a:pt x="89700" y="96679"/>
                  </a:lnTo>
                  <a:cubicBezTo>
                    <a:pt x="85326" y="96293"/>
                    <a:pt x="81082" y="94995"/>
                    <a:pt x="77239" y="92869"/>
                  </a:cubicBezTo>
                  <a:lnTo>
                    <a:pt x="72197" y="95155"/>
                  </a:lnTo>
                  <a:lnTo>
                    <a:pt x="70485" y="93536"/>
                  </a:lnTo>
                  <a:lnTo>
                    <a:pt x="59261" y="105918"/>
                  </a:lnTo>
                  <a:lnTo>
                    <a:pt x="58690" y="105346"/>
                  </a:lnTo>
                  <a:lnTo>
                    <a:pt x="70770" y="92869"/>
                  </a:lnTo>
                  <a:lnTo>
                    <a:pt x="72483" y="94393"/>
                  </a:lnTo>
                  <a:lnTo>
                    <a:pt x="77524" y="92202"/>
                  </a:lnTo>
                  <a:cubicBezTo>
                    <a:pt x="81125" y="94326"/>
                    <a:pt x="85095" y="95748"/>
                    <a:pt x="89224" y="96393"/>
                  </a:cubicBezTo>
                  <a:lnTo>
                    <a:pt x="91697" y="101346"/>
                  </a:lnTo>
                  <a:lnTo>
                    <a:pt x="100163" y="101346"/>
                  </a:lnTo>
                  <a:lnTo>
                    <a:pt x="102161" y="96203"/>
                  </a:lnTo>
                  <a:cubicBezTo>
                    <a:pt x="106222" y="95247"/>
                    <a:pt x="110043" y="93464"/>
                    <a:pt x="113385" y="90964"/>
                  </a:cubicBezTo>
                  <a:lnTo>
                    <a:pt x="118712" y="92774"/>
                  </a:lnTo>
                  <a:lnTo>
                    <a:pt x="120234" y="91059"/>
                  </a:lnTo>
                  <a:lnTo>
                    <a:pt x="133075" y="102394"/>
                  </a:lnTo>
                  <a:lnTo>
                    <a:pt x="132409" y="102965"/>
                  </a:lnTo>
                  <a:close/>
                  <a:moveTo>
                    <a:pt x="107868" y="79534"/>
                  </a:moveTo>
                  <a:lnTo>
                    <a:pt x="94931" y="67628"/>
                  </a:lnTo>
                  <a:lnTo>
                    <a:pt x="82946" y="80677"/>
                  </a:lnTo>
                  <a:lnTo>
                    <a:pt x="82375" y="80677"/>
                  </a:lnTo>
                  <a:lnTo>
                    <a:pt x="94931" y="66961"/>
                  </a:lnTo>
                  <a:lnTo>
                    <a:pt x="108438" y="79439"/>
                  </a:lnTo>
                  <a:lnTo>
                    <a:pt x="107868" y="79439"/>
                  </a:lnTo>
                  <a:close/>
                  <a:moveTo>
                    <a:pt x="92553" y="65532"/>
                  </a:moveTo>
                  <a:lnTo>
                    <a:pt x="79617" y="53626"/>
                  </a:lnTo>
                  <a:cubicBezTo>
                    <a:pt x="77331" y="56724"/>
                    <a:pt x="76038" y="60444"/>
                    <a:pt x="75907" y="64294"/>
                  </a:cubicBezTo>
                  <a:cubicBezTo>
                    <a:pt x="75796" y="60053"/>
                    <a:pt x="77101" y="55896"/>
                    <a:pt x="79617" y="52483"/>
                  </a:cubicBezTo>
                  <a:lnTo>
                    <a:pt x="93124" y="64960"/>
                  </a:lnTo>
                  <a:lnTo>
                    <a:pt x="92553" y="65532"/>
                  </a:lnTo>
                  <a:close/>
                  <a:moveTo>
                    <a:pt x="65634" y="40862"/>
                  </a:moveTo>
                  <a:lnTo>
                    <a:pt x="54505" y="30671"/>
                  </a:lnTo>
                  <a:cubicBezTo>
                    <a:pt x="46352" y="39998"/>
                    <a:pt x="41738" y="51901"/>
                    <a:pt x="41473" y="64294"/>
                  </a:cubicBezTo>
                  <a:cubicBezTo>
                    <a:pt x="41383" y="51605"/>
                    <a:pt x="45838" y="39304"/>
                    <a:pt x="54029" y="29623"/>
                  </a:cubicBezTo>
                  <a:lnTo>
                    <a:pt x="65729" y="40386"/>
                  </a:lnTo>
                  <a:lnTo>
                    <a:pt x="66870" y="41434"/>
                  </a:lnTo>
                  <a:lnTo>
                    <a:pt x="65824" y="41434"/>
                  </a:lnTo>
                  <a:lnTo>
                    <a:pt x="65158" y="40862"/>
                  </a:lnTo>
                  <a:close/>
                  <a:moveTo>
                    <a:pt x="68963" y="91345"/>
                  </a:moveTo>
                  <a:lnTo>
                    <a:pt x="68963" y="90773"/>
                  </a:lnTo>
                  <a:lnTo>
                    <a:pt x="66490" y="88487"/>
                  </a:lnTo>
                  <a:lnTo>
                    <a:pt x="66490" y="89344"/>
                  </a:lnTo>
                  <a:lnTo>
                    <a:pt x="68773" y="91345"/>
                  </a:lnTo>
                  <a:close/>
                  <a:moveTo>
                    <a:pt x="68202" y="83725"/>
                  </a:moveTo>
                  <a:lnTo>
                    <a:pt x="68202" y="83725"/>
                  </a:lnTo>
                  <a:lnTo>
                    <a:pt x="68202" y="83249"/>
                  </a:lnTo>
                  <a:lnTo>
                    <a:pt x="68202" y="82582"/>
                  </a:lnTo>
                  <a:cubicBezTo>
                    <a:pt x="65686" y="79211"/>
                    <a:pt x="63904" y="75350"/>
                    <a:pt x="62970" y="71247"/>
                  </a:cubicBezTo>
                  <a:lnTo>
                    <a:pt x="57834" y="69247"/>
                  </a:lnTo>
                  <a:lnTo>
                    <a:pt x="57834" y="61913"/>
                  </a:lnTo>
                  <a:lnTo>
                    <a:pt x="57834" y="61913"/>
                  </a:lnTo>
                  <a:lnTo>
                    <a:pt x="57834" y="70390"/>
                  </a:lnTo>
                  <a:lnTo>
                    <a:pt x="62970" y="72390"/>
                  </a:lnTo>
                  <a:cubicBezTo>
                    <a:pt x="63909" y="76323"/>
                    <a:pt x="65588" y="80040"/>
                    <a:pt x="67917" y="83344"/>
                  </a:cubicBezTo>
                  <a:close/>
                  <a:moveTo>
                    <a:pt x="67156" y="48768"/>
                  </a:moveTo>
                  <a:lnTo>
                    <a:pt x="67156" y="48768"/>
                  </a:lnTo>
                  <a:lnTo>
                    <a:pt x="64778" y="43053"/>
                  </a:lnTo>
                  <a:lnTo>
                    <a:pt x="64778" y="43053"/>
                  </a:ln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21" name="Freeform 20">
              <a:extLst>
                <a:ext uri="{FF2B5EF4-FFF2-40B4-BE49-F238E27FC236}">
                  <a16:creationId xmlns="" xmlns:a16="http://schemas.microsoft.com/office/drawing/2014/main" id="{FA0BF144-6699-5F4E-A5B3-73F579C8E702}"/>
                </a:ext>
              </a:extLst>
            </p:cNvPr>
            <p:cNvSpPr/>
            <p:nvPr/>
          </p:nvSpPr>
          <p:spPr>
            <a:xfrm>
              <a:off x="4297042" y="3210318"/>
              <a:ext cx="205433" cy="173230"/>
            </a:xfrm>
            <a:custGeom>
              <a:avLst/>
              <a:gdLst>
                <a:gd name="connsiteX0" fmla="*/ 105965 w 180730"/>
                <a:gd name="connsiteY0" fmla="*/ 17526 h 152400"/>
                <a:gd name="connsiteX1" fmla="*/ 135548 w 180730"/>
                <a:gd name="connsiteY1" fmla="*/ 28289 h 152400"/>
                <a:gd name="connsiteX2" fmla="*/ 146202 w 180730"/>
                <a:gd name="connsiteY2" fmla="*/ 23717 h 152400"/>
                <a:gd name="connsiteX3" fmla="*/ 160850 w 180730"/>
                <a:gd name="connsiteY3" fmla="*/ 37148 h 152400"/>
                <a:gd name="connsiteX4" fmla="*/ 160280 w 180730"/>
                <a:gd name="connsiteY4" fmla="*/ 37719 h 152400"/>
                <a:gd name="connsiteX5" fmla="*/ 146202 w 180730"/>
                <a:gd name="connsiteY5" fmla="*/ 24765 h 152400"/>
                <a:gd name="connsiteX6" fmla="*/ 135548 w 180730"/>
                <a:gd name="connsiteY6" fmla="*/ 29432 h 152400"/>
                <a:gd name="connsiteX7" fmla="*/ 105965 w 180730"/>
                <a:gd name="connsiteY7" fmla="*/ 18669 h 152400"/>
                <a:gd name="connsiteX8" fmla="*/ 100639 w 180730"/>
                <a:gd name="connsiteY8" fmla="*/ 8001 h 152400"/>
                <a:gd name="connsiteX9" fmla="*/ 80758 w 180730"/>
                <a:gd name="connsiteY9" fmla="*/ 8858 h 152400"/>
                <a:gd name="connsiteX10" fmla="*/ 76478 w 180730"/>
                <a:gd name="connsiteY10" fmla="*/ 19622 h 152400"/>
                <a:gd name="connsiteX11" fmla="*/ 47941 w 180730"/>
                <a:gd name="connsiteY11" fmla="*/ 32957 h 152400"/>
                <a:gd name="connsiteX12" fmla="*/ 37002 w 180730"/>
                <a:gd name="connsiteY12" fmla="*/ 29242 h 152400"/>
                <a:gd name="connsiteX13" fmla="*/ 24256 w 180730"/>
                <a:gd name="connsiteY13" fmla="*/ 43244 h 152400"/>
                <a:gd name="connsiteX14" fmla="*/ 23590 w 180730"/>
                <a:gd name="connsiteY14" fmla="*/ 43244 h 152400"/>
                <a:gd name="connsiteX15" fmla="*/ 37002 w 180730"/>
                <a:gd name="connsiteY15" fmla="*/ 28575 h 152400"/>
                <a:gd name="connsiteX16" fmla="*/ 47941 w 180730"/>
                <a:gd name="connsiteY16" fmla="*/ 32195 h 152400"/>
                <a:gd name="connsiteX17" fmla="*/ 76478 w 180730"/>
                <a:gd name="connsiteY17" fmla="*/ 18860 h 152400"/>
                <a:gd name="connsiteX18" fmla="*/ 80758 w 180730"/>
                <a:gd name="connsiteY18" fmla="*/ 8001 h 152400"/>
                <a:gd name="connsiteX19" fmla="*/ 100639 w 180730"/>
                <a:gd name="connsiteY19" fmla="*/ 7144 h 152400"/>
                <a:gd name="connsiteX20" fmla="*/ 105965 w 180730"/>
                <a:gd name="connsiteY20" fmla="*/ 17526 h 152400"/>
                <a:gd name="connsiteX21" fmla="*/ 157426 w 180730"/>
                <a:gd name="connsiteY21" fmla="*/ 48482 h 152400"/>
                <a:gd name="connsiteX22" fmla="*/ 170553 w 180730"/>
                <a:gd name="connsiteY22" fmla="*/ 77057 h 152400"/>
                <a:gd name="connsiteX23" fmla="*/ 181206 w 180730"/>
                <a:gd name="connsiteY23" fmla="*/ 81344 h 152400"/>
                <a:gd name="connsiteX24" fmla="*/ 182158 w 180730"/>
                <a:gd name="connsiteY24" fmla="*/ 101251 h 152400"/>
                <a:gd name="connsiteX25" fmla="*/ 182158 w 180730"/>
                <a:gd name="connsiteY25" fmla="*/ 101251 h 152400"/>
                <a:gd name="connsiteX26" fmla="*/ 181301 w 180730"/>
                <a:gd name="connsiteY26" fmla="*/ 82201 h 152400"/>
                <a:gd name="connsiteX27" fmla="*/ 170648 w 180730"/>
                <a:gd name="connsiteY27" fmla="*/ 78010 h 152400"/>
                <a:gd name="connsiteX28" fmla="*/ 156760 w 180730"/>
                <a:gd name="connsiteY28" fmla="*/ 48673 h 152400"/>
                <a:gd name="connsiteX29" fmla="*/ 157331 w 180730"/>
                <a:gd name="connsiteY29" fmla="*/ 48673 h 152400"/>
                <a:gd name="connsiteX30" fmla="*/ 157331 w 180730"/>
                <a:gd name="connsiteY30" fmla="*/ 48673 h 152400"/>
                <a:gd name="connsiteX31" fmla="*/ 161041 w 180730"/>
                <a:gd name="connsiteY31" fmla="*/ 135636 h 152400"/>
                <a:gd name="connsiteX32" fmla="*/ 165606 w 180730"/>
                <a:gd name="connsiteY32" fmla="*/ 146304 h 152400"/>
                <a:gd name="connsiteX33" fmla="*/ 164941 w 180730"/>
                <a:gd name="connsiteY33" fmla="*/ 146304 h 152400"/>
                <a:gd name="connsiteX34" fmla="*/ 160470 w 180730"/>
                <a:gd name="connsiteY34" fmla="*/ 135827 h 152400"/>
                <a:gd name="connsiteX35" fmla="*/ 161041 w 180730"/>
                <a:gd name="connsiteY35" fmla="*/ 135827 h 152400"/>
                <a:gd name="connsiteX36" fmla="*/ 28536 w 180730"/>
                <a:gd name="connsiteY36" fmla="*/ 152305 h 152400"/>
                <a:gd name="connsiteX37" fmla="*/ 32151 w 180730"/>
                <a:gd name="connsiteY37" fmla="*/ 141256 h 152400"/>
                <a:gd name="connsiteX38" fmla="*/ 32151 w 180730"/>
                <a:gd name="connsiteY38" fmla="*/ 141256 h 152400"/>
                <a:gd name="connsiteX39" fmla="*/ 28632 w 180730"/>
                <a:gd name="connsiteY39" fmla="*/ 152114 h 152400"/>
                <a:gd name="connsiteX40" fmla="*/ 28061 w 180730"/>
                <a:gd name="connsiteY40" fmla="*/ 152686 h 152400"/>
                <a:gd name="connsiteX41" fmla="*/ 7324 w 180730"/>
                <a:gd name="connsiteY41" fmla="*/ 89630 h 152400"/>
                <a:gd name="connsiteX42" fmla="*/ 7324 w 180730"/>
                <a:gd name="connsiteY42" fmla="*/ 88583 h 152400"/>
                <a:gd name="connsiteX43" fmla="*/ 17693 w 180730"/>
                <a:gd name="connsiteY43" fmla="*/ 83439 h 152400"/>
                <a:gd name="connsiteX44" fmla="*/ 28156 w 180730"/>
                <a:gd name="connsiteY44" fmla="*/ 54197 h 152400"/>
                <a:gd name="connsiteX45" fmla="*/ 28156 w 180730"/>
                <a:gd name="connsiteY45" fmla="*/ 54197 h 152400"/>
                <a:gd name="connsiteX46" fmla="*/ 28727 w 180730"/>
                <a:gd name="connsiteY46" fmla="*/ 54197 h 152400"/>
                <a:gd name="connsiteX47" fmla="*/ 28156 w 180730"/>
                <a:gd name="connsiteY47" fmla="*/ 55054 h 152400"/>
                <a:gd name="connsiteX48" fmla="*/ 17407 w 180730"/>
                <a:gd name="connsiteY48" fmla="*/ 84201 h 152400"/>
                <a:gd name="connsiteX49" fmla="*/ 7134 w 180730"/>
                <a:gd name="connsiteY49" fmla="*/ 89345 h 152400"/>
                <a:gd name="connsiteX50" fmla="*/ 57073 w 180730"/>
                <a:gd name="connsiteY50" fmla="*/ 57531 h 152400"/>
                <a:gd name="connsiteX51" fmla="*/ 68773 w 180730"/>
                <a:gd name="connsiteY51" fmla="*/ 68294 h 152400"/>
                <a:gd name="connsiteX52" fmla="*/ 70295 w 180730"/>
                <a:gd name="connsiteY52" fmla="*/ 66580 h 152400"/>
                <a:gd name="connsiteX53" fmla="*/ 75526 w 180730"/>
                <a:gd name="connsiteY53" fmla="*/ 68390 h 152400"/>
                <a:gd name="connsiteX54" fmla="*/ 86941 w 180730"/>
                <a:gd name="connsiteY54" fmla="*/ 63246 h 152400"/>
                <a:gd name="connsiteX55" fmla="*/ 88939 w 180730"/>
                <a:gd name="connsiteY55" fmla="*/ 58103 h 152400"/>
                <a:gd name="connsiteX56" fmla="*/ 97404 w 180730"/>
                <a:gd name="connsiteY56" fmla="*/ 58103 h 152400"/>
                <a:gd name="connsiteX57" fmla="*/ 99878 w 180730"/>
                <a:gd name="connsiteY57" fmla="*/ 63056 h 152400"/>
                <a:gd name="connsiteX58" fmla="*/ 111482 w 180730"/>
                <a:gd name="connsiteY58" fmla="*/ 67246 h 152400"/>
                <a:gd name="connsiteX59" fmla="*/ 116619 w 180730"/>
                <a:gd name="connsiteY59" fmla="*/ 65056 h 152400"/>
                <a:gd name="connsiteX60" fmla="*/ 118236 w 180730"/>
                <a:gd name="connsiteY60" fmla="*/ 66580 h 152400"/>
                <a:gd name="connsiteX61" fmla="*/ 128985 w 180730"/>
                <a:gd name="connsiteY61" fmla="*/ 54864 h 152400"/>
                <a:gd name="connsiteX62" fmla="*/ 130126 w 180730"/>
                <a:gd name="connsiteY62" fmla="*/ 54864 h 152400"/>
                <a:gd name="connsiteX63" fmla="*/ 118236 w 180730"/>
                <a:gd name="connsiteY63" fmla="*/ 67818 h 152400"/>
                <a:gd name="connsiteX64" fmla="*/ 116619 w 180730"/>
                <a:gd name="connsiteY64" fmla="*/ 66294 h 152400"/>
                <a:gd name="connsiteX65" fmla="*/ 111482 w 180730"/>
                <a:gd name="connsiteY65" fmla="*/ 68485 h 152400"/>
                <a:gd name="connsiteX66" fmla="*/ 99878 w 180730"/>
                <a:gd name="connsiteY66" fmla="*/ 64199 h 152400"/>
                <a:gd name="connsiteX67" fmla="*/ 97404 w 180730"/>
                <a:gd name="connsiteY67" fmla="*/ 59246 h 152400"/>
                <a:gd name="connsiteX68" fmla="*/ 88939 w 180730"/>
                <a:gd name="connsiteY68" fmla="*/ 59246 h 152400"/>
                <a:gd name="connsiteX69" fmla="*/ 86941 w 180730"/>
                <a:gd name="connsiteY69" fmla="*/ 64389 h 152400"/>
                <a:gd name="connsiteX70" fmla="*/ 75622 w 180730"/>
                <a:gd name="connsiteY70" fmla="*/ 69723 h 152400"/>
                <a:gd name="connsiteX71" fmla="*/ 70390 w 180730"/>
                <a:gd name="connsiteY71" fmla="*/ 67913 h 152400"/>
                <a:gd name="connsiteX72" fmla="*/ 68868 w 180730"/>
                <a:gd name="connsiteY72" fmla="*/ 69628 h 152400"/>
                <a:gd name="connsiteX73" fmla="*/ 56027 w 180730"/>
                <a:gd name="connsiteY73" fmla="*/ 57912 h 152400"/>
                <a:gd name="connsiteX74" fmla="*/ 57168 w 180730"/>
                <a:gd name="connsiteY74" fmla="*/ 57912 h 152400"/>
                <a:gd name="connsiteX75" fmla="*/ 82185 w 180730"/>
                <a:gd name="connsiteY75" fmla="*/ 80582 h 152400"/>
                <a:gd name="connsiteX76" fmla="*/ 94551 w 180730"/>
                <a:gd name="connsiteY76" fmla="*/ 91916 h 152400"/>
                <a:gd name="connsiteX77" fmla="*/ 105965 w 180730"/>
                <a:gd name="connsiteY77" fmla="*/ 79534 h 152400"/>
                <a:gd name="connsiteX78" fmla="*/ 107107 w 180730"/>
                <a:gd name="connsiteY78" fmla="*/ 79534 h 152400"/>
                <a:gd name="connsiteX79" fmla="*/ 94551 w 180730"/>
                <a:gd name="connsiteY79" fmla="*/ 93250 h 152400"/>
                <a:gd name="connsiteX80" fmla="*/ 80948 w 180730"/>
                <a:gd name="connsiteY80" fmla="*/ 80677 h 152400"/>
                <a:gd name="connsiteX81" fmla="*/ 97404 w 180730"/>
                <a:gd name="connsiteY81" fmla="*/ 94583 h 152400"/>
                <a:gd name="connsiteX82" fmla="*/ 109865 w 180730"/>
                <a:gd name="connsiteY82" fmla="*/ 106013 h 152400"/>
                <a:gd name="connsiteX83" fmla="*/ 113575 w 180730"/>
                <a:gd name="connsiteY83" fmla="*/ 95250 h 152400"/>
                <a:gd name="connsiteX84" fmla="*/ 109865 w 180730"/>
                <a:gd name="connsiteY84" fmla="*/ 107061 h 152400"/>
                <a:gd name="connsiteX85" fmla="*/ 96453 w 180730"/>
                <a:gd name="connsiteY85" fmla="*/ 94774 h 152400"/>
                <a:gd name="connsiteX86" fmla="*/ 123182 w 180730"/>
                <a:gd name="connsiteY86" fmla="*/ 118205 h 152400"/>
                <a:gd name="connsiteX87" fmla="*/ 134502 w 180730"/>
                <a:gd name="connsiteY87" fmla="*/ 129064 h 152400"/>
                <a:gd name="connsiteX88" fmla="*/ 147153 w 180730"/>
                <a:gd name="connsiteY88" fmla="*/ 95440 h 152400"/>
                <a:gd name="connsiteX89" fmla="*/ 134502 w 180730"/>
                <a:gd name="connsiteY89" fmla="*/ 130207 h 152400"/>
                <a:gd name="connsiteX90" fmla="*/ 121755 w 180730"/>
                <a:gd name="connsiteY90" fmla="*/ 118396 h 152400"/>
                <a:gd name="connsiteX91" fmla="*/ 120995 w 180730"/>
                <a:gd name="connsiteY91" fmla="*/ 68771 h 152400"/>
                <a:gd name="connsiteX92" fmla="*/ 119948 w 180730"/>
                <a:gd name="connsiteY92" fmla="*/ 68771 h 152400"/>
                <a:gd name="connsiteX93" fmla="*/ 122421 w 180730"/>
                <a:gd name="connsiteY93" fmla="*/ 71057 h 152400"/>
                <a:gd name="connsiteX94" fmla="*/ 122421 w 180730"/>
                <a:gd name="connsiteY94" fmla="*/ 70199 h 152400"/>
                <a:gd name="connsiteX95" fmla="*/ 120709 w 180730"/>
                <a:gd name="connsiteY95" fmla="*/ 68675 h 152400"/>
                <a:gd name="connsiteX96" fmla="*/ 120995 w 180730"/>
                <a:gd name="connsiteY96" fmla="*/ 75914 h 152400"/>
                <a:gd name="connsiteX97" fmla="*/ 120995 w 180730"/>
                <a:gd name="connsiteY97" fmla="*/ 75914 h 152400"/>
                <a:gd name="connsiteX98" fmla="*/ 120995 w 180730"/>
                <a:gd name="connsiteY98" fmla="*/ 76391 h 152400"/>
                <a:gd name="connsiteX99" fmla="*/ 120995 w 180730"/>
                <a:gd name="connsiteY99" fmla="*/ 77057 h 152400"/>
                <a:gd name="connsiteX100" fmla="*/ 126226 w 180730"/>
                <a:gd name="connsiteY100" fmla="*/ 88297 h 152400"/>
                <a:gd name="connsiteX101" fmla="*/ 131363 w 180730"/>
                <a:gd name="connsiteY101" fmla="*/ 90392 h 152400"/>
                <a:gd name="connsiteX102" fmla="*/ 131363 w 180730"/>
                <a:gd name="connsiteY102" fmla="*/ 97727 h 152400"/>
                <a:gd name="connsiteX103" fmla="*/ 131363 w 180730"/>
                <a:gd name="connsiteY103" fmla="*/ 97727 h 152400"/>
                <a:gd name="connsiteX104" fmla="*/ 131363 w 180730"/>
                <a:gd name="connsiteY104" fmla="*/ 89249 h 152400"/>
                <a:gd name="connsiteX105" fmla="*/ 126226 w 180730"/>
                <a:gd name="connsiteY105" fmla="*/ 87249 h 152400"/>
                <a:gd name="connsiteX106" fmla="*/ 121280 w 180730"/>
                <a:gd name="connsiteY106" fmla="*/ 76295 h 152400"/>
                <a:gd name="connsiteX107" fmla="*/ 122231 w 180730"/>
                <a:gd name="connsiteY107" fmla="*/ 111443 h 152400"/>
                <a:gd name="connsiteX108" fmla="*/ 122231 w 180730"/>
                <a:gd name="connsiteY108" fmla="*/ 111443 h 152400"/>
                <a:gd name="connsiteX109" fmla="*/ 124324 w 180730"/>
                <a:gd name="connsiteY109" fmla="*/ 116300 h 152400"/>
                <a:gd name="connsiteX110" fmla="*/ 124990 w 180730"/>
                <a:gd name="connsiteY110" fmla="*/ 116300 h 152400"/>
                <a:gd name="connsiteX111" fmla="*/ 122707 w 180730"/>
                <a:gd name="connsiteY111" fmla="*/ 111157 h 152400"/>
                <a:gd name="connsiteX112" fmla="*/ 96453 w 180730"/>
                <a:gd name="connsiteY112" fmla="*/ 147638 h 152400"/>
                <a:gd name="connsiteX113" fmla="*/ 131173 w 180730"/>
                <a:gd name="connsiteY113" fmla="*/ 132493 h 152400"/>
                <a:gd name="connsiteX114" fmla="*/ 131743 w 180730"/>
                <a:gd name="connsiteY114" fmla="*/ 132017 h 152400"/>
                <a:gd name="connsiteX115" fmla="*/ 132980 w 180730"/>
                <a:gd name="connsiteY115" fmla="*/ 132017 h 152400"/>
                <a:gd name="connsiteX116" fmla="*/ 96453 w 180730"/>
                <a:gd name="connsiteY116" fmla="*/ 148781 h 152400"/>
                <a:gd name="connsiteX117" fmla="*/ 58405 w 180730"/>
                <a:gd name="connsiteY117" fmla="*/ 135160 h 152400"/>
                <a:gd name="connsiteX118" fmla="*/ 59546 w 180730"/>
                <a:gd name="connsiteY118" fmla="*/ 135160 h 152400"/>
                <a:gd name="connsiteX119" fmla="*/ 96453 w 180730"/>
                <a:gd name="connsiteY119" fmla="*/ 147638 h 152400"/>
                <a:gd name="connsiteX120" fmla="*/ 83517 w 180730"/>
                <a:gd name="connsiteY120" fmla="*/ 110395 h 152400"/>
                <a:gd name="connsiteX121" fmla="*/ 94931 w 180730"/>
                <a:gd name="connsiteY121" fmla="*/ 113729 h 152400"/>
                <a:gd name="connsiteX122" fmla="*/ 105965 w 180730"/>
                <a:gd name="connsiteY122" fmla="*/ 109442 h 152400"/>
                <a:gd name="connsiteX123" fmla="*/ 106631 w 180730"/>
                <a:gd name="connsiteY123" fmla="*/ 109442 h 152400"/>
                <a:gd name="connsiteX124" fmla="*/ 107773 w 180730"/>
                <a:gd name="connsiteY124" fmla="*/ 109442 h 152400"/>
                <a:gd name="connsiteX125" fmla="*/ 106631 w 180730"/>
                <a:gd name="connsiteY125" fmla="*/ 110585 h 152400"/>
                <a:gd name="connsiteX126" fmla="*/ 94931 w 180730"/>
                <a:gd name="connsiteY126" fmla="*/ 115253 h 152400"/>
                <a:gd name="connsiteX127" fmla="*/ 82851 w 180730"/>
                <a:gd name="connsiteY127" fmla="*/ 111538 h 152400"/>
                <a:gd name="connsiteX128" fmla="*/ 81709 w 180730"/>
                <a:gd name="connsiteY128" fmla="*/ 110681 h 152400"/>
                <a:gd name="connsiteX129" fmla="*/ 82851 w 180730"/>
                <a:gd name="connsiteY129" fmla="*/ 110681 h 152400"/>
                <a:gd name="connsiteX130" fmla="*/ 83517 w 180730"/>
                <a:gd name="connsiteY130" fmla="*/ 110681 h 152400"/>
                <a:gd name="connsiteX131" fmla="*/ 75241 w 180730"/>
                <a:gd name="connsiteY131" fmla="*/ 95345 h 152400"/>
                <a:gd name="connsiteX132" fmla="*/ 75241 w 180730"/>
                <a:gd name="connsiteY132" fmla="*/ 95345 h 152400"/>
                <a:gd name="connsiteX133" fmla="*/ 79997 w 180730"/>
                <a:gd name="connsiteY133" fmla="*/ 107061 h 152400"/>
                <a:gd name="connsiteX134" fmla="*/ 91317 w 180730"/>
                <a:gd name="connsiteY134" fmla="*/ 94679 h 152400"/>
                <a:gd name="connsiteX135" fmla="*/ 92458 w 180730"/>
                <a:gd name="connsiteY135" fmla="*/ 94679 h 152400"/>
                <a:gd name="connsiteX136" fmla="*/ 79997 w 180730"/>
                <a:gd name="connsiteY136" fmla="*/ 108299 h 152400"/>
                <a:gd name="connsiteX137" fmla="*/ 75241 w 180730"/>
                <a:gd name="connsiteY137" fmla="*/ 96584 h 152400"/>
                <a:gd name="connsiteX138" fmla="*/ 75241 w 180730"/>
                <a:gd name="connsiteY138" fmla="*/ 95155 h 152400"/>
                <a:gd name="connsiteX139" fmla="*/ 41283 w 180730"/>
                <a:gd name="connsiteY139" fmla="*/ 95345 h 152400"/>
                <a:gd name="connsiteX140" fmla="*/ 41283 w 180730"/>
                <a:gd name="connsiteY140" fmla="*/ 98298 h 152400"/>
                <a:gd name="connsiteX141" fmla="*/ 56883 w 180730"/>
                <a:gd name="connsiteY141" fmla="*/ 133636 h 152400"/>
                <a:gd name="connsiteX142" fmla="*/ 68678 w 180730"/>
                <a:gd name="connsiteY142" fmla="*/ 120777 h 152400"/>
                <a:gd name="connsiteX143" fmla="*/ 67917 w 180730"/>
                <a:gd name="connsiteY143" fmla="*/ 120777 h 152400"/>
                <a:gd name="connsiteX144" fmla="*/ 57168 w 180730"/>
                <a:gd name="connsiteY144" fmla="*/ 132493 h 152400"/>
                <a:gd name="connsiteX145" fmla="*/ 41568 w 180730"/>
                <a:gd name="connsiteY145" fmla="*/ 97155 h 152400"/>
                <a:gd name="connsiteX146" fmla="*/ 41568 w 180730"/>
                <a:gd name="connsiteY146" fmla="*/ 95250 h 152400"/>
                <a:gd name="connsiteX147" fmla="*/ 66014 w 180730"/>
                <a:gd name="connsiteY147" fmla="*/ 119348 h 152400"/>
                <a:gd name="connsiteX148" fmla="*/ 67822 w 180730"/>
                <a:gd name="connsiteY148" fmla="*/ 114014 h 152400"/>
                <a:gd name="connsiteX149" fmla="*/ 67822 w 180730"/>
                <a:gd name="connsiteY149" fmla="*/ 114014 h 152400"/>
                <a:gd name="connsiteX150" fmla="*/ 66109 w 180730"/>
                <a:gd name="connsiteY150" fmla="*/ 119063 h 152400"/>
                <a:gd name="connsiteX151" fmla="*/ 65539 w 180730"/>
                <a:gd name="connsiteY151" fmla="*/ 119729 h 152400"/>
                <a:gd name="connsiteX152" fmla="*/ 57453 w 180730"/>
                <a:gd name="connsiteY152" fmla="*/ 93726 h 152400"/>
                <a:gd name="connsiteX153" fmla="*/ 57453 w 180730"/>
                <a:gd name="connsiteY153" fmla="*/ 92678 h 152400"/>
                <a:gd name="connsiteX154" fmla="*/ 62400 w 180730"/>
                <a:gd name="connsiteY154" fmla="*/ 90202 h 152400"/>
                <a:gd name="connsiteX155" fmla="*/ 66300 w 180730"/>
                <a:gd name="connsiteY155" fmla="*/ 78962 h 152400"/>
                <a:gd name="connsiteX156" fmla="*/ 66300 w 180730"/>
                <a:gd name="connsiteY156" fmla="*/ 78486 h 152400"/>
                <a:gd name="connsiteX157" fmla="*/ 66870 w 180730"/>
                <a:gd name="connsiteY157" fmla="*/ 78486 h 152400"/>
                <a:gd name="connsiteX158" fmla="*/ 62114 w 180730"/>
                <a:gd name="connsiteY158" fmla="*/ 91059 h 152400"/>
                <a:gd name="connsiteX159" fmla="*/ 57168 w 180730"/>
                <a:gd name="connsiteY159" fmla="*/ 93440 h 152400"/>
                <a:gd name="connsiteX160" fmla="*/ 64397 w 180730"/>
                <a:gd name="connsiteY160" fmla="*/ 73438 h 152400"/>
                <a:gd name="connsiteX161" fmla="*/ 65919 w 180730"/>
                <a:gd name="connsiteY161" fmla="*/ 71723 h 152400"/>
                <a:gd name="connsiteX162" fmla="*/ 67061 w 180730"/>
                <a:gd name="connsiteY162" fmla="*/ 71723 h 152400"/>
                <a:gd name="connsiteX163" fmla="*/ 65063 w 180730"/>
                <a:gd name="connsiteY163" fmla="*/ 7381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80730" h="152400">
                  <a:moveTo>
                    <a:pt x="105965" y="17526"/>
                  </a:moveTo>
                  <a:cubicBezTo>
                    <a:pt x="116468" y="19010"/>
                    <a:pt x="126544" y="22676"/>
                    <a:pt x="135548" y="28289"/>
                  </a:cubicBezTo>
                  <a:lnTo>
                    <a:pt x="146202" y="23717"/>
                  </a:lnTo>
                  <a:lnTo>
                    <a:pt x="160850" y="37148"/>
                  </a:lnTo>
                  <a:lnTo>
                    <a:pt x="160280" y="37719"/>
                  </a:lnTo>
                  <a:lnTo>
                    <a:pt x="146202" y="24765"/>
                  </a:lnTo>
                  <a:lnTo>
                    <a:pt x="135548" y="29432"/>
                  </a:lnTo>
                  <a:cubicBezTo>
                    <a:pt x="126527" y="23854"/>
                    <a:pt x="116458" y="20191"/>
                    <a:pt x="105965" y="18669"/>
                  </a:cubicBezTo>
                  <a:lnTo>
                    <a:pt x="100639" y="8001"/>
                  </a:lnTo>
                  <a:lnTo>
                    <a:pt x="80758" y="8858"/>
                  </a:lnTo>
                  <a:lnTo>
                    <a:pt x="76478" y="19622"/>
                  </a:lnTo>
                  <a:cubicBezTo>
                    <a:pt x="66151" y="22054"/>
                    <a:pt x="56436" y="26594"/>
                    <a:pt x="47941" y="32957"/>
                  </a:cubicBezTo>
                  <a:lnTo>
                    <a:pt x="37002" y="29242"/>
                  </a:lnTo>
                  <a:lnTo>
                    <a:pt x="24256" y="43244"/>
                  </a:lnTo>
                  <a:lnTo>
                    <a:pt x="23590" y="43244"/>
                  </a:lnTo>
                  <a:lnTo>
                    <a:pt x="37002" y="28575"/>
                  </a:lnTo>
                  <a:lnTo>
                    <a:pt x="47941" y="32195"/>
                  </a:lnTo>
                  <a:cubicBezTo>
                    <a:pt x="56459" y="25869"/>
                    <a:pt x="66165" y="21333"/>
                    <a:pt x="76478" y="18860"/>
                  </a:cubicBezTo>
                  <a:lnTo>
                    <a:pt x="80758" y="8001"/>
                  </a:lnTo>
                  <a:lnTo>
                    <a:pt x="100639" y="7144"/>
                  </a:lnTo>
                  <a:lnTo>
                    <a:pt x="105965" y="17526"/>
                  </a:lnTo>
                  <a:close/>
                  <a:moveTo>
                    <a:pt x="157426" y="48482"/>
                  </a:moveTo>
                  <a:cubicBezTo>
                    <a:pt x="163689" y="57019"/>
                    <a:pt x="168155" y="66740"/>
                    <a:pt x="170553" y="77057"/>
                  </a:cubicBezTo>
                  <a:lnTo>
                    <a:pt x="181206" y="81344"/>
                  </a:lnTo>
                  <a:lnTo>
                    <a:pt x="182158" y="101251"/>
                  </a:lnTo>
                  <a:lnTo>
                    <a:pt x="182158" y="101251"/>
                  </a:lnTo>
                  <a:lnTo>
                    <a:pt x="181301" y="82201"/>
                  </a:lnTo>
                  <a:lnTo>
                    <a:pt x="170648" y="78010"/>
                  </a:lnTo>
                  <a:cubicBezTo>
                    <a:pt x="168127" y="67363"/>
                    <a:pt x="163395" y="57367"/>
                    <a:pt x="156760" y="48673"/>
                  </a:cubicBezTo>
                  <a:lnTo>
                    <a:pt x="157331" y="48673"/>
                  </a:lnTo>
                  <a:lnTo>
                    <a:pt x="157331" y="48673"/>
                  </a:lnTo>
                  <a:close/>
                  <a:moveTo>
                    <a:pt x="161041" y="135636"/>
                  </a:moveTo>
                  <a:lnTo>
                    <a:pt x="165606" y="146304"/>
                  </a:lnTo>
                  <a:lnTo>
                    <a:pt x="164941" y="146304"/>
                  </a:lnTo>
                  <a:lnTo>
                    <a:pt x="160470" y="135827"/>
                  </a:lnTo>
                  <a:lnTo>
                    <a:pt x="161041" y="135827"/>
                  </a:lnTo>
                  <a:close/>
                  <a:moveTo>
                    <a:pt x="28536" y="152305"/>
                  </a:moveTo>
                  <a:lnTo>
                    <a:pt x="32151" y="141256"/>
                  </a:lnTo>
                  <a:lnTo>
                    <a:pt x="32151" y="141256"/>
                  </a:lnTo>
                  <a:lnTo>
                    <a:pt x="28632" y="152114"/>
                  </a:lnTo>
                  <a:lnTo>
                    <a:pt x="28061" y="152686"/>
                  </a:lnTo>
                  <a:close/>
                  <a:moveTo>
                    <a:pt x="7324" y="89630"/>
                  </a:moveTo>
                  <a:lnTo>
                    <a:pt x="7324" y="88583"/>
                  </a:lnTo>
                  <a:lnTo>
                    <a:pt x="17693" y="83439"/>
                  </a:lnTo>
                  <a:cubicBezTo>
                    <a:pt x="19172" y="73084"/>
                    <a:pt x="22732" y="63137"/>
                    <a:pt x="28156" y="54197"/>
                  </a:cubicBezTo>
                  <a:lnTo>
                    <a:pt x="28156" y="54197"/>
                  </a:lnTo>
                  <a:lnTo>
                    <a:pt x="28727" y="54197"/>
                  </a:lnTo>
                  <a:lnTo>
                    <a:pt x="28156" y="55054"/>
                  </a:lnTo>
                  <a:cubicBezTo>
                    <a:pt x="22612" y="63928"/>
                    <a:pt x="18953" y="73849"/>
                    <a:pt x="17407" y="84201"/>
                  </a:cubicBezTo>
                  <a:lnTo>
                    <a:pt x="7134" y="89345"/>
                  </a:lnTo>
                  <a:close/>
                  <a:moveTo>
                    <a:pt x="57073" y="57531"/>
                  </a:moveTo>
                  <a:lnTo>
                    <a:pt x="68773" y="68294"/>
                  </a:lnTo>
                  <a:lnTo>
                    <a:pt x="70295" y="66580"/>
                  </a:lnTo>
                  <a:lnTo>
                    <a:pt x="75526" y="68390"/>
                  </a:lnTo>
                  <a:cubicBezTo>
                    <a:pt x="78929" y="65892"/>
                    <a:pt x="82818" y="64139"/>
                    <a:pt x="86941" y="63246"/>
                  </a:cubicBezTo>
                  <a:lnTo>
                    <a:pt x="88939" y="58103"/>
                  </a:lnTo>
                  <a:lnTo>
                    <a:pt x="97404" y="58103"/>
                  </a:lnTo>
                  <a:lnTo>
                    <a:pt x="99878" y="63056"/>
                  </a:lnTo>
                  <a:cubicBezTo>
                    <a:pt x="103977" y="63701"/>
                    <a:pt x="107915" y="65123"/>
                    <a:pt x="111482" y="67246"/>
                  </a:cubicBezTo>
                  <a:lnTo>
                    <a:pt x="116619" y="65056"/>
                  </a:lnTo>
                  <a:lnTo>
                    <a:pt x="118236" y="66580"/>
                  </a:lnTo>
                  <a:lnTo>
                    <a:pt x="128985" y="54864"/>
                  </a:lnTo>
                  <a:lnTo>
                    <a:pt x="130126" y="54864"/>
                  </a:lnTo>
                  <a:lnTo>
                    <a:pt x="118236" y="67818"/>
                  </a:lnTo>
                  <a:lnTo>
                    <a:pt x="116619" y="66294"/>
                  </a:lnTo>
                  <a:lnTo>
                    <a:pt x="111482" y="68485"/>
                  </a:lnTo>
                  <a:cubicBezTo>
                    <a:pt x="107920" y="66332"/>
                    <a:pt x="103982" y="64878"/>
                    <a:pt x="99878" y="64199"/>
                  </a:cubicBezTo>
                  <a:lnTo>
                    <a:pt x="97404" y="59246"/>
                  </a:lnTo>
                  <a:lnTo>
                    <a:pt x="88939" y="59246"/>
                  </a:lnTo>
                  <a:lnTo>
                    <a:pt x="86941" y="64389"/>
                  </a:lnTo>
                  <a:cubicBezTo>
                    <a:pt x="82853" y="65401"/>
                    <a:pt x="79006" y="67214"/>
                    <a:pt x="75622" y="69723"/>
                  </a:cubicBezTo>
                  <a:lnTo>
                    <a:pt x="70390" y="67913"/>
                  </a:lnTo>
                  <a:lnTo>
                    <a:pt x="68868" y="69628"/>
                  </a:lnTo>
                  <a:lnTo>
                    <a:pt x="56027" y="57912"/>
                  </a:lnTo>
                  <a:lnTo>
                    <a:pt x="57168" y="57912"/>
                  </a:lnTo>
                  <a:close/>
                  <a:moveTo>
                    <a:pt x="82185" y="80582"/>
                  </a:moveTo>
                  <a:lnTo>
                    <a:pt x="94551" y="91916"/>
                  </a:lnTo>
                  <a:lnTo>
                    <a:pt x="105965" y="79534"/>
                  </a:lnTo>
                  <a:lnTo>
                    <a:pt x="107107" y="79534"/>
                  </a:lnTo>
                  <a:lnTo>
                    <a:pt x="94551" y="93250"/>
                  </a:lnTo>
                  <a:lnTo>
                    <a:pt x="80948" y="80677"/>
                  </a:lnTo>
                  <a:close/>
                  <a:moveTo>
                    <a:pt x="97404" y="94583"/>
                  </a:moveTo>
                  <a:lnTo>
                    <a:pt x="109865" y="106013"/>
                  </a:lnTo>
                  <a:cubicBezTo>
                    <a:pt x="112117" y="102861"/>
                    <a:pt x="113406" y="99122"/>
                    <a:pt x="113575" y="95250"/>
                  </a:cubicBezTo>
                  <a:cubicBezTo>
                    <a:pt x="113686" y="99491"/>
                    <a:pt x="112381" y="103647"/>
                    <a:pt x="109865" y="107061"/>
                  </a:cubicBezTo>
                  <a:lnTo>
                    <a:pt x="96453" y="94774"/>
                  </a:lnTo>
                  <a:close/>
                  <a:moveTo>
                    <a:pt x="123182" y="118205"/>
                  </a:moveTo>
                  <a:lnTo>
                    <a:pt x="134502" y="129064"/>
                  </a:lnTo>
                  <a:cubicBezTo>
                    <a:pt x="142517" y="119683"/>
                    <a:pt x="146994" y="107785"/>
                    <a:pt x="147153" y="95440"/>
                  </a:cubicBezTo>
                  <a:cubicBezTo>
                    <a:pt x="147256" y="108177"/>
                    <a:pt x="142764" y="120523"/>
                    <a:pt x="134502" y="130207"/>
                  </a:cubicBezTo>
                  <a:lnTo>
                    <a:pt x="121755" y="118396"/>
                  </a:lnTo>
                  <a:close/>
                  <a:moveTo>
                    <a:pt x="120995" y="68771"/>
                  </a:moveTo>
                  <a:lnTo>
                    <a:pt x="119948" y="68771"/>
                  </a:lnTo>
                  <a:lnTo>
                    <a:pt x="122421" y="71057"/>
                  </a:lnTo>
                  <a:lnTo>
                    <a:pt x="122421" y="70199"/>
                  </a:lnTo>
                  <a:lnTo>
                    <a:pt x="120709" y="68675"/>
                  </a:lnTo>
                  <a:close/>
                  <a:moveTo>
                    <a:pt x="120995" y="75914"/>
                  </a:moveTo>
                  <a:lnTo>
                    <a:pt x="120995" y="75914"/>
                  </a:lnTo>
                  <a:lnTo>
                    <a:pt x="120995" y="76391"/>
                  </a:lnTo>
                  <a:lnTo>
                    <a:pt x="120995" y="77057"/>
                  </a:lnTo>
                  <a:cubicBezTo>
                    <a:pt x="123415" y="80449"/>
                    <a:pt x="125189" y="84259"/>
                    <a:pt x="126226" y="88297"/>
                  </a:cubicBezTo>
                  <a:lnTo>
                    <a:pt x="131363" y="90392"/>
                  </a:lnTo>
                  <a:lnTo>
                    <a:pt x="131363" y="97727"/>
                  </a:lnTo>
                  <a:lnTo>
                    <a:pt x="131363" y="97727"/>
                  </a:lnTo>
                  <a:lnTo>
                    <a:pt x="131363" y="89249"/>
                  </a:lnTo>
                  <a:lnTo>
                    <a:pt x="126226" y="87249"/>
                  </a:lnTo>
                  <a:cubicBezTo>
                    <a:pt x="125288" y="83316"/>
                    <a:pt x="123609" y="79599"/>
                    <a:pt x="121280" y="76295"/>
                  </a:cubicBezTo>
                  <a:close/>
                  <a:moveTo>
                    <a:pt x="122231" y="111443"/>
                  </a:moveTo>
                  <a:lnTo>
                    <a:pt x="122231" y="111443"/>
                  </a:lnTo>
                  <a:lnTo>
                    <a:pt x="124324" y="116300"/>
                  </a:lnTo>
                  <a:lnTo>
                    <a:pt x="124990" y="116300"/>
                  </a:lnTo>
                  <a:lnTo>
                    <a:pt x="122707" y="111157"/>
                  </a:lnTo>
                  <a:close/>
                  <a:moveTo>
                    <a:pt x="96453" y="147638"/>
                  </a:moveTo>
                  <a:cubicBezTo>
                    <a:pt x="109498" y="147063"/>
                    <a:pt x="121868" y="141667"/>
                    <a:pt x="131173" y="132493"/>
                  </a:cubicBezTo>
                  <a:lnTo>
                    <a:pt x="131743" y="132017"/>
                  </a:lnTo>
                  <a:lnTo>
                    <a:pt x="132980" y="132017"/>
                  </a:lnTo>
                  <a:cubicBezTo>
                    <a:pt x="123657" y="142441"/>
                    <a:pt x="110425" y="148514"/>
                    <a:pt x="96453" y="148781"/>
                  </a:cubicBezTo>
                  <a:cubicBezTo>
                    <a:pt x="82488" y="149339"/>
                    <a:pt x="68851" y="144457"/>
                    <a:pt x="58405" y="135160"/>
                  </a:cubicBezTo>
                  <a:lnTo>
                    <a:pt x="59546" y="135160"/>
                  </a:lnTo>
                  <a:cubicBezTo>
                    <a:pt x="69820" y="143861"/>
                    <a:pt x="83015" y="148322"/>
                    <a:pt x="96453" y="147638"/>
                  </a:cubicBezTo>
                  <a:close/>
                  <a:moveTo>
                    <a:pt x="83517" y="110395"/>
                  </a:moveTo>
                  <a:cubicBezTo>
                    <a:pt x="86847" y="112743"/>
                    <a:pt x="90862" y="113916"/>
                    <a:pt x="94931" y="113729"/>
                  </a:cubicBezTo>
                  <a:cubicBezTo>
                    <a:pt x="98971" y="113511"/>
                    <a:pt x="102836" y="112009"/>
                    <a:pt x="105965" y="109442"/>
                  </a:cubicBezTo>
                  <a:lnTo>
                    <a:pt x="106631" y="109442"/>
                  </a:lnTo>
                  <a:lnTo>
                    <a:pt x="107773" y="109442"/>
                  </a:lnTo>
                  <a:lnTo>
                    <a:pt x="106631" y="110585"/>
                  </a:lnTo>
                  <a:cubicBezTo>
                    <a:pt x="103373" y="113426"/>
                    <a:pt x="99247" y="115072"/>
                    <a:pt x="94931" y="115253"/>
                  </a:cubicBezTo>
                  <a:cubicBezTo>
                    <a:pt x="90599" y="115429"/>
                    <a:pt x="86337" y="114118"/>
                    <a:pt x="82851" y="111538"/>
                  </a:cubicBezTo>
                  <a:lnTo>
                    <a:pt x="81709" y="110681"/>
                  </a:lnTo>
                  <a:lnTo>
                    <a:pt x="82851" y="110681"/>
                  </a:lnTo>
                  <a:lnTo>
                    <a:pt x="83517" y="110681"/>
                  </a:lnTo>
                  <a:close/>
                  <a:moveTo>
                    <a:pt x="75241" y="95345"/>
                  </a:moveTo>
                  <a:lnTo>
                    <a:pt x="75241" y="95345"/>
                  </a:lnTo>
                  <a:cubicBezTo>
                    <a:pt x="75448" y="99679"/>
                    <a:pt x="77126" y="103812"/>
                    <a:pt x="79997" y="107061"/>
                  </a:cubicBezTo>
                  <a:lnTo>
                    <a:pt x="91317" y="94679"/>
                  </a:lnTo>
                  <a:lnTo>
                    <a:pt x="92458" y="94679"/>
                  </a:lnTo>
                  <a:lnTo>
                    <a:pt x="79997" y="108299"/>
                  </a:lnTo>
                  <a:cubicBezTo>
                    <a:pt x="77126" y="105050"/>
                    <a:pt x="75448" y="100917"/>
                    <a:pt x="75241" y="96584"/>
                  </a:cubicBezTo>
                  <a:lnTo>
                    <a:pt x="75241" y="95155"/>
                  </a:lnTo>
                  <a:close/>
                  <a:moveTo>
                    <a:pt x="41283" y="95345"/>
                  </a:moveTo>
                  <a:cubicBezTo>
                    <a:pt x="41283" y="96298"/>
                    <a:pt x="41283" y="97346"/>
                    <a:pt x="41283" y="98298"/>
                  </a:cubicBezTo>
                  <a:cubicBezTo>
                    <a:pt x="41816" y="111633"/>
                    <a:pt x="47392" y="124266"/>
                    <a:pt x="56883" y="133636"/>
                  </a:cubicBezTo>
                  <a:lnTo>
                    <a:pt x="68678" y="120777"/>
                  </a:lnTo>
                  <a:lnTo>
                    <a:pt x="67917" y="120777"/>
                  </a:lnTo>
                  <a:lnTo>
                    <a:pt x="57168" y="132493"/>
                  </a:lnTo>
                  <a:cubicBezTo>
                    <a:pt x="47694" y="123112"/>
                    <a:pt x="42120" y="110485"/>
                    <a:pt x="41568" y="97155"/>
                  </a:cubicBezTo>
                  <a:cubicBezTo>
                    <a:pt x="41523" y="96521"/>
                    <a:pt x="41523" y="95884"/>
                    <a:pt x="41568" y="95250"/>
                  </a:cubicBezTo>
                  <a:close/>
                  <a:moveTo>
                    <a:pt x="66014" y="119348"/>
                  </a:moveTo>
                  <a:lnTo>
                    <a:pt x="67822" y="114014"/>
                  </a:lnTo>
                  <a:lnTo>
                    <a:pt x="67822" y="114014"/>
                  </a:lnTo>
                  <a:lnTo>
                    <a:pt x="66109" y="119063"/>
                  </a:lnTo>
                  <a:lnTo>
                    <a:pt x="65539" y="119729"/>
                  </a:lnTo>
                  <a:close/>
                  <a:moveTo>
                    <a:pt x="57453" y="93726"/>
                  </a:moveTo>
                  <a:lnTo>
                    <a:pt x="57453" y="92678"/>
                  </a:lnTo>
                  <a:lnTo>
                    <a:pt x="62400" y="90202"/>
                  </a:lnTo>
                  <a:cubicBezTo>
                    <a:pt x="63006" y="86249"/>
                    <a:pt x="64327" y="82440"/>
                    <a:pt x="66300" y="78962"/>
                  </a:cubicBezTo>
                  <a:lnTo>
                    <a:pt x="66300" y="78486"/>
                  </a:lnTo>
                  <a:lnTo>
                    <a:pt x="66870" y="78486"/>
                  </a:lnTo>
                  <a:cubicBezTo>
                    <a:pt x="64387" y="82279"/>
                    <a:pt x="62764" y="86570"/>
                    <a:pt x="62114" y="91059"/>
                  </a:cubicBezTo>
                  <a:lnTo>
                    <a:pt x="57168" y="93440"/>
                  </a:lnTo>
                  <a:close/>
                  <a:moveTo>
                    <a:pt x="64397" y="73438"/>
                  </a:moveTo>
                  <a:lnTo>
                    <a:pt x="65919" y="71723"/>
                  </a:lnTo>
                  <a:lnTo>
                    <a:pt x="67061" y="71723"/>
                  </a:lnTo>
                  <a:lnTo>
                    <a:pt x="65063" y="73819"/>
                  </a:ln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22" name="Freeform 21">
              <a:extLst>
                <a:ext uri="{FF2B5EF4-FFF2-40B4-BE49-F238E27FC236}">
                  <a16:creationId xmlns="" xmlns:a16="http://schemas.microsoft.com/office/drawing/2014/main" id="{3CE971ED-4CA4-A844-AE65-2890FDCA4DC1}"/>
                </a:ext>
              </a:extLst>
            </p:cNvPr>
            <p:cNvSpPr/>
            <p:nvPr/>
          </p:nvSpPr>
          <p:spPr>
            <a:xfrm>
              <a:off x="3523046" y="3821511"/>
              <a:ext cx="367617" cy="368113"/>
            </a:xfrm>
            <a:custGeom>
              <a:avLst/>
              <a:gdLst>
                <a:gd name="connsiteX0" fmla="*/ 86323 w 323412"/>
                <a:gd name="connsiteY0" fmla="*/ 20179 h 323850"/>
                <a:gd name="connsiteX1" fmla="*/ 113338 w 323412"/>
                <a:gd name="connsiteY1" fmla="*/ 8653 h 323850"/>
                <a:gd name="connsiteX2" fmla="*/ 128716 w 323412"/>
                <a:gd name="connsiteY2" fmla="*/ 14770 h 323850"/>
                <a:gd name="connsiteX3" fmla="*/ 128748 w 323412"/>
                <a:gd name="connsiteY3" fmla="*/ 14845 h 323850"/>
                <a:gd name="connsiteX4" fmla="*/ 140067 w 323412"/>
                <a:gd name="connsiteY4" fmla="*/ 41800 h 323850"/>
                <a:gd name="connsiteX5" fmla="*/ 183538 w 323412"/>
                <a:gd name="connsiteY5" fmla="*/ 41800 h 323850"/>
                <a:gd name="connsiteX6" fmla="*/ 194381 w 323412"/>
                <a:gd name="connsiteY6" fmla="*/ 14559 h 323850"/>
                <a:gd name="connsiteX7" fmla="*/ 209696 w 323412"/>
                <a:gd name="connsiteY7" fmla="*/ 7987 h 323850"/>
                <a:gd name="connsiteX8" fmla="*/ 236996 w 323412"/>
                <a:gd name="connsiteY8" fmla="*/ 18940 h 323850"/>
                <a:gd name="connsiteX9" fmla="*/ 243531 w 323412"/>
                <a:gd name="connsiteY9" fmla="*/ 34015 h 323850"/>
                <a:gd name="connsiteX10" fmla="*/ 243464 w 323412"/>
                <a:gd name="connsiteY10" fmla="*/ 34180 h 323850"/>
                <a:gd name="connsiteX11" fmla="*/ 232811 w 323412"/>
                <a:gd name="connsiteY11" fmla="*/ 60850 h 323850"/>
                <a:gd name="connsiteX12" fmla="*/ 263725 w 323412"/>
                <a:gd name="connsiteY12" fmla="*/ 91330 h 323850"/>
                <a:gd name="connsiteX13" fmla="*/ 290740 w 323412"/>
                <a:gd name="connsiteY13" fmla="*/ 79900 h 323850"/>
                <a:gd name="connsiteX14" fmla="*/ 306238 w 323412"/>
                <a:gd name="connsiteY14" fmla="*/ 86077 h 323850"/>
                <a:gd name="connsiteX15" fmla="*/ 306244 w 323412"/>
                <a:gd name="connsiteY15" fmla="*/ 86092 h 323850"/>
                <a:gd name="connsiteX16" fmla="*/ 317754 w 323412"/>
                <a:gd name="connsiteY16" fmla="*/ 113143 h 323850"/>
                <a:gd name="connsiteX17" fmla="*/ 311389 w 323412"/>
                <a:gd name="connsiteY17" fmla="*/ 128436 h 323850"/>
                <a:gd name="connsiteX18" fmla="*/ 311286 w 323412"/>
                <a:gd name="connsiteY18" fmla="*/ 128478 h 323850"/>
                <a:gd name="connsiteX19" fmla="*/ 284652 w 323412"/>
                <a:gd name="connsiteY19" fmla="*/ 140003 h 323850"/>
                <a:gd name="connsiteX20" fmla="*/ 284652 w 323412"/>
                <a:gd name="connsiteY20" fmla="*/ 183532 h 323850"/>
                <a:gd name="connsiteX21" fmla="*/ 312332 w 323412"/>
                <a:gd name="connsiteY21" fmla="*/ 194200 h 323850"/>
                <a:gd name="connsiteX22" fmla="*/ 318895 w 323412"/>
                <a:gd name="connsiteY22" fmla="*/ 209536 h 323850"/>
                <a:gd name="connsiteX23" fmla="*/ 307957 w 323412"/>
                <a:gd name="connsiteY23" fmla="*/ 236777 h 323850"/>
                <a:gd name="connsiteX24" fmla="*/ 292642 w 323412"/>
                <a:gd name="connsiteY24" fmla="*/ 243349 h 323850"/>
                <a:gd name="connsiteX25" fmla="*/ 265437 w 323412"/>
                <a:gd name="connsiteY25" fmla="*/ 232300 h 323850"/>
                <a:gd name="connsiteX26" fmla="*/ 235189 w 323412"/>
                <a:gd name="connsiteY26" fmla="*/ 263733 h 323850"/>
                <a:gd name="connsiteX27" fmla="*/ 246698 w 323412"/>
                <a:gd name="connsiteY27" fmla="*/ 290689 h 323850"/>
                <a:gd name="connsiteX28" fmla="*/ 240515 w 323412"/>
                <a:gd name="connsiteY28" fmla="*/ 306119 h 323850"/>
                <a:gd name="connsiteX29" fmla="*/ 213501 w 323412"/>
                <a:gd name="connsiteY29" fmla="*/ 318025 h 323850"/>
                <a:gd name="connsiteX30" fmla="*/ 198123 w 323412"/>
                <a:gd name="connsiteY30" fmla="*/ 311909 h 323850"/>
                <a:gd name="connsiteX31" fmla="*/ 198091 w 323412"/>
                <a:gd name="connsiteY31" fmla="*/ 311834 h 323850"/>
                <a:gd name="connsiteX32" fmla="*/ 186486 w 323412"/>
                <a:gd name="connsiteY32" fmla="*/ 284878 h 323850"/>
                <a:gd name="connsiteX33" fmla="*/ 143111 w 323412"/>
                <a:gd name="connsiteY33" fmla="*/ 285355 h 323850"/>
                <a:gd name="connsiteX34" fmla="*/ 132267 w 323412"/>
                <a:gd name="connsiteY34" fmla="*/ 312310 h 323850"/>
                <a:gd name="connsiteX35" fmla="*/ 116953 w 323412"/>
                <a:gd name="connsiteY35" fmla="*/ 318883 h 323850"/>
                <a:gd name="connsiteX36" fmla="*/ 89653 w 323412"/>
                <a:gd name="connsiteY36" fmla="*/ 307929 h 323850"/>
                <a:gd name="connsiteX37" fmla="*/ 82994 w 323412"/>
                <a:gd name="connsiteY37" fmla="*/ 292594 h 323850"/>
                <a:gd name="connsiteX38" fmla="*/ 93933 w 323412"/>
                <a:gd name="connsiteY38" fmla="*/ 265352 h 323850"/>
                <a:gd name="connsiteX39" fmla="*/ 62924 w 323412"/>
                <a:gd name="connsiteY39" fmla="*/ 234967 h 323850"/>
                <a:gd name="connsiteX40" fmla="*/ 36004 w 323412"/>
                <a:gd name="connsiteY40" fmla="*/ 246493 h 323850"/>
                <a:gd name="connsiteX41" fmla="*/ 20499 w 323412"/>
                <a:gd name="connsiteY41" fmla="*/ 240397 h 323850"/>
                <a:gd name="connsiteX42" fmla="*/ 9085 w 323412"/>
                <a:gd name="connsiteY42" fmla="*/ 213250 h 323850"/>
                <a:gd name="connsiteX43" fmla="*/ 15193 w 323412"/>
                <a:gd name="connsiteY43" fmla="*/ 197852 h 323850"/>
                <a:gd name="connsiteX44" fmla="*/ 15268 w 323412"/>
                <a:gd name="connsiteY44" fmla="*/ 197820 h 323850"/>
                <a:gd name="connsiteX45" fmla="*/ 42187 w 323412"/>
                <a:gd name="connsiteY45" fmla="*/ 186295 h 323850"/>
                <a:gd name="connsiteX46" fmla="*/ 41712 w 323412"/>
                <a:gd name="connsiteY46" fmla="*/ 142861 h 323850"/>
                <a:gd name="connsiteX47" fmla="*/ 14507 w 323412"/>
                <a:gd name="connsiteY47" fmla="*/ 131907 h 323850"/>
                <a:gd name="connsiteX48" fmla="*/ 7943 w 323412"/>
                <a:gd name="connsiteY48" fmla="*/ 116667 h 323850"/>
                <a:gd name="connsiteX49" fmla="*/ 18882 w 323412"/>
                <a:gd name="connsiteY49" fmla="*/ 89425 h 323850"/>
                <a:gd name="connsiteX50" fmla="*/ 34102 w 323412"/>
                <a:gd name="connsiteY50" fmla="*/ 82853 h 323850"/>
                <a:gd name="connsiteX51" fmla="*/ 61307 w 323412"/>
                <a:gd name="connsiteY51" fmla="*/ 93807 h 323850"/>
                <a:gd name="connsiteX52" fmla="*/ 91650 w 323412"/>
                <a:gd name="connsiteY52" fmla="*/ 62660 h 323850"/>
                <a:gd name="connsiteX53" fmla="*/ 80141 w 323412"/>
                <a:gd name="connsiteY53" fmla="*/ 35609 h 323850"/>
                <a:gd name="connsiteX54" fmla="*/ 86324 w 323412"/>
                <a:gd name="connsiteY54" fmla="*/ 20179 h 323850"/>
                <a:gd name="connsiteX55" fmla="*/ 144157 w 323412"/>
                <a:gd name="connsiteY55" fmla="*/ 118000 h 323850"/>
                <a:gd name="connsiteX56" fmla="*/ 118377 w 323412"/>
                <a:gd name="connsiteY56" fmla="*/ 182391 h 323850"/>
                <a:gd name="connsiteX57" fmla="*/ 182680 w 323412"/>
                <a:gd name="connsiteY57" fmla="*/ 208206 h 323850"/>
                <a:gd name="connsiteX58" fmla="*/ 208461 w 323412"/>
                <a:gd name="connsiteY58" fmla="*/ 143816 h 323850"/>
                <a:gd name="connsiteX59" fmla="*/ 208459 w 323412"/>
                <a:gd name="connsiteY59" fmla="*/ 143813 h 323850"/>
                <a:gd name="connsiteX60" fmla="*/ 144330 w 323412"/>
                <a:gd name="connsiteY60" fmla="*/ 117927 h 323850"/>
                <a:gd name="connsiteX61" fmla="*/ 144157 w 323412"/>
                <a:gd name="connsiteY61" fmla="*/ 11800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23412" h="323850">
                  <a:moveTo>
                    <a:pt x="86323" y="20179"/>
                  </a:moveTo>
                  <a:lnTo>
                    <a:pt x="113338" y="8653"/>
                  </a:lnTo>
                  <a:cubicBezTo>
                    <a:pt x="119271" y="6090"/>
                    <a:pt x="126156" y="8828"/>
                    <a:pt x="128716" y="14770"/>
                  </a:cubicBezTo>
                  <a:cubicBezTo>
                    <a:pt x="128726" y="14795"/>
                    <a:pt x="128737" y="14820"/>
                    <a:pt x="128748" y="14845"/>
                  </a:cubicBezTo>
                  <a:lnTo>
                    <a:pt x="140067" y="41800"/>
                  </a:lnTo>
                  <a:cubicBezTo>
                    <a:pt x="154435" y="39136"/>
                    <a:pt x="169170" y="39136"/>
                    <a:pt x="183538" y="41800"/>
                  </a:cubicBezTo>
                  <a:lnTo>
                    <a:pt x="194381" y="14559"/>
                  </a:lnTo>
                  <a:cubicBezTo>
                    <a:pt x="196804" y="8515"/>
                    <a:pt x="203655" y="5575"/>
                    <a:pt x="209696" y="7987"/>
                  </a:cubicBezTo>
                  <a:lnTo>
                    <a:pt x="236996" y="18940"/>
                  </a:lnTo>
                  <a:cubicBezTo>
                    <a:pt x="242958" y="21296"/>
                    <a:pt x="245883" y="28045"/>
                    <a:pt x="243531" y="34015"/>
                  </a:cubicBezTo>
                  <a:cubicBezTo>
                    <a:pt x="243509" y="34071"/>
                    <a:pt x="243487" y="34126"/>
                    <a:pt x="243464" y="34180"/>
                  </a:cubicBezTo>
                  <a:lnTo>
                    <a:pt x="232811" y="60850"/>
                  </a:lnTo>
                  <a:cubicBezTo>
                    <a:pt x="244851" y="69080"/>
                    <a:pt x="255321" y="79403"/>
                    <a:pt x="263725" y="91330"/>
                  </a:cubicBezTo>
                  <a:lnTo>
                    <a:pt x="290740" y="79900"/>
                  </a:lnTo>
                  <a:cubicBezTo>
                    <a:pt x="296723" y="77320"/>
                    <a:pt x="303661" y="80086"/>
                    <a:pt x="306238" y="86077"/>
                  </a:cubicBezTo>
                  <a:cubicBezTo>
                    <a:pt x="306240" y="86082"/>
                    <a:pt x="306242" y="86087"/>
                    <a:pt x="306244" y="86092"/>
                  </a:cubicBezTo>
                  <a:lnTo>
                    <a:pt x="317754" y="113143"/>
                  </a:lnTo>
                  <a:cubicBezTo>
                    <a:pt x="320214" y="119126"/>
                    <a:pt x="317364" y="125973"/>
                    <a:pt x="311389" y="128436"/>
                  </a:cubicBezTo>
                  <a:cubicBezTo>
                    <a:pt x="311354" y="128450"/>
                    <a:pt x="311320" y="128464"/>
                    <a:pt x="311286" y="128478"/>
                  </a:cubicBezTo>
                  <a:lnTo>
                    <a:pt x="284652" y="140003"/>
                  </a:lnTo>
                  <a:cubicBezTo>
                    <a:pt x="287219" y="154399"/>
                    <a:pt x="287219" y="169136"/>
                    <a:pt x="284652" y="183532"/>
                  </a:cubicBezTo>
                  <a:lnTo>
                    <a:pt x="312332" y="194200"/>
                  </a:lnTo>
                  <a:cubicBezTo>
                    <a:pt x="318329" y="196666"/>
                    <a:pt x="321248" y="203487"/>
                    <a:pt x="318895" y="209536"/>
                  </a:cubicBezTo>
                  <a:lnTo>
                    <a:pt x="307957" y="236777"/>
                  </a:lnTo>
                  <a:cubicBezTo>
                    <a:pt x="305534" y="242821"/>
                    <a:pt x="298683" y="245761"/>
                    <a:pt x="292642" y="243349"/>
                  </a:cubicBezTo>
                  <a:lnTo>
                    <a:pt x="265437" y="232300"/>
                  </a:lnTo>
                  <a:cubicBezTo>
                    <a:pt x="257326" y="244516"/>
                    <a:pt x="247079" y="255164"/>
                    <a:pt x="235189" y="263733"/>
                  </a:cubicBezTo>
                  <a:lnTo>
                    <a:pt x="246698" y="290689"/>
                  </a:lnTo>
                  <a:cubicBezTo>
                    <a:pt x="249214" y="296660"/>
                    <a:pt x="246455" y="303545"/>
                    <a:pt x="240515" y="306119"/>
                  </a:cubicBezTo>
                  <a:lnTo>
                    <a:pt x="213501" y="318025"/>
                  </a:lnTo>
                  <a:cubicBezTo>
                    <a:pt x="207568" y="320589"/>
                    <a:pt x="200683" y="317850"/>
                    <a:pt x="198123" y="311909"/>
                  </a:cubicBezTo>
                  <a:cubicBezTo>
                    <a:pt x="198112" y="311884"/>
                    <a:pt x="198102" y="311859"/>
                    <a:pt x="198091" y="311834"/>
                  </a:cubicBezTo>
                  <a:lnTo>
                    <a:pt x="186486" y="284878"/>
                  </a:lnTo>
                  <a:cubicBezTo>
                    <a:pt x="172169" y="287595"/>
                    <a:pt x="157485" y="287756"/>
                    <a:pt x="143111" y="285355"/>
                  </a:cubicBezTo>
                  <a:lnTo>
                    <a:pt x="132267" y="312310"/>
                  </a:lnTo>
                  <a:cubicBezTo>
                    <a:pt x="129805" y="318315"/>
                    <a:pt x="122993" y="321239"/>
                    <a:pt x="116953" y="318883"/>
                  </a:cubicBezTo>
                  <a:lnTo>
                    <a:pt x="89653" y="307929"/>
                  </a:lnTo>
                  <a:cubicBezTo>
                    <a:pt x="83619" y="305501"/>
                    <a:pt x="80652" y="298669"/>
                    <a:pt x="82994" y="292594"/>
                  </a:cubicBezTo>
                  <a:lnTo>
                    <a:pt x="93933" y="265352"/>
                  </a:lnTo>
                  <a:cubicBezTo>
                    <a:pt x="81845" y="257187"/>
                    <a:pt x="71338" y="246892"/>
                    <a:pt x="62924" y="234967"/>
                  </a:cubicBezTo>
                  <a:lnTo>
                    <a:pt x="36004" y="246493"/>
                  </a:lnTo>
                  <a:cubicBezTo>
                    <a:pt x="30041" y="249087"/>
                    <a:pt x="23107" y="246360"/>
                    <a:pt x="20499" y="240397"/>
                  </a:cubicBezTo>
                  <a:lnTo>
                    <a:pt x="9085" y="213250"/>
                  </a:lnTo>
                  <a:cubicBezTo>
                    <a:pt x="6525" y="207309"/>
                    <a:pt x="9260" y="200415"/>
                    <a:pt x="15193" y="197852"/>
                  </a:cubicBezTo>
                  <a:cubicBezTo>
                    <a:pt x="15218" y="197841"/>
                    <a:pt x="15243" y="197830"/>
                    <a:pt x="15268" y="197820"/>
                  </a:cubicBezTo>
                  <a:lnTo>
                    <a:pt x="42187" y="186295"/>
                  </a:lnTo>
                  <a:cubicBezTo>
                    <a:pt x="39417" y="171964"/>
                    <a:pt x="39256" y="157249"/>
                    <a:pt x="41712" y="142861"/>
                  </a:cubicBezTo>
                  <a:lnTo>
                    <a:pt x="14507" y="131907"/>
                  </a:lnTo>
                  <a:cubicBezTo>
                    <a:pt x="8523" y="129481"/>
                    <a:pt x="5598" y="122689"/>
                    <a:pt x="7943" y="116667"/>
                  </a:cubicBezTo>
                  <a:lnTo>
                    <a:pt x="18882" y="89425"/>
                  </a:lnTo>
                  <a:cubicBezTo>
                    <a:pt x="21305" y="83433"/>
                    <a:pt x="28087" y="80504"/>
                    <a:pt x="34102" y="82853"/>
                  </a:cubicBezTo>
                  <a:lnTo>
                    <a:pt x="61307" y="93807"/>
                  </a:lnTo>
                  <a:cubicBezTo>
                    <a:pt x="69506" y="81712"/>
                    <a:pt x="79779" y="71167"/>
                    <a:pt x="91650" y="62660"/>
                  </a:cubicBezTo>
                  <a:lnTo>
                    <a:pt x="80141" y="35609"/>
                  </a:lnTo>
                  <a:cubicBezTo>
                    <a:pt x="77625" y="29638"/>
                    <a:pt x="80384" y="22752"/>
                    <a:pt x="86324" y="20179"/>
                  </a:cubicBezTo>
                  <a:close/>
                  <a:moveTo>
                    <a:pt x="144157" y="118000"/>
                  </a:moveTo>
                  <a:cubicBezTo>
                    <a:pt x="119281" y="128653"/>
                    <a:pt x="107739" y="157481"/>
                    <a:pt x="118377" y="182391"/>
                  </a:cubicBezTo>
                  <a:cubicBezTo>
                    <a:pt x="129014" y="207300"/>
                    <a:pt x="157804" y="218858"/>
                    <a:pt x="182680" y="208206"/>
                  </a:cubicBezTo>
                  <a:cubicBezTo>
                    <a:pt x="207556" y="197554"/>
                    <a:pt x="219098" y="168726"/>
                    <a:pt x="208461" y="143816"/>
                  </a:cubicBezTo>
                  <a:cubicBezTo>
                    <a:pt x="208460" y="143815"/>
                    <a:pt x="208460" y="143814"/>
                    <a:pt x="208459" y="143813"/>
                  </a:cubicBezTo>
                  <a:cubicBezTo>
                    <a:pt x="197889" y="118932"/>
                    <a:pt x="169177" y="107342"/>
                    <a:pt x="144330" y="117927"/>
                  </a:cubicBezTo>
                  <a:cubicBezTo>
                    <a:pt x="144272" y="117951"/>
                    <a:pt x="144215" y="117976"/>
                    <a:pt x="144157" y="118000"/>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23" name="Freeform 22">
              <a:extLst>
                <a:ext uri="{FF2B5EF4-FFF2-40B4-BE49-F238E27FC236}">
                  <a16:creationId xmlns="" xmlns:a16="http://schemas.microsoft.com/office/drawing/2014/main" id="{5E39572E-A080-5447-B8FF-7CA96F09B7FC}"/>
                </a:ext>
              </a:extLst>
            </p:cNvPr>
            <p:cNvSpPr/>
            <p:nvPr/>
          </p:nvSpPr>
          <p:spPr>
            <a:xfrm>
              <a:off x="3522598" y="3820969"/>
              <a:ext cx="367617" cy="346460"/>
            </a:xfrm>
            <a:custGeom>
              <a:avLst/>
              <a:gdLst>
                <a:gd name="connsiteX0" fmla="*/ 86717 w 323412"/>
                <a:gd name="connsiteY0" fmla="*/ 20655 h 304800"/>
                <a:gd name="connsiteX1" fmla="*/ 113732 w 323412"/>
                <a:gd name="connsiteY1" fmla="*/ 9130 h 304800"/>
                <a:gd name="connsiteX2" fmla="*/ 129109 w 323412"/>
                <a:gd name="connsiteY2" fmla="*/ 15246 h 304800"/>
                <a:gd name="connsiteX3" fmla="*/ 129142 w 323412"/>
                <a:gd name="connsiteY3" fmla="*/ 15321 h 304800"/>
                <a:gd name="connsiteX4" fmla="*/ 140461 w 323412"/>
                <a:gd name="connsiteY4" fmla="*/ 42277 h 304800"/>
                <a:gd name="connsiteX5" fmla="*/ 183836 w 323412"/>
                <a:gd name="connsiteY5" fmla="*/ 41705 h 304800"/>
                <a:gd name="connsiteX6" fmla="*/ 194680 w 323412"/>
                <a:gd name="connsiteY6" fmla="*/ 14559 h 304800"/>
                <a:gd name="connsiteX7" fmla="*/ 209995 w 323412"/>
                <a:gd name="connsiteY7" fmla="*/ 7987 h 304800"/>
                <a:gd name="connsiteX8" fmla="*/ 237295 w 323412"/>
                <a:gd name="connsiteY8" fmla="*/ 18940 h 304800"/>
                <a:gd name="connsiteX9" fmla="*/ 245095 w 323412"/>
                <a:gd name="connsiteY9" fmla="*/ 31609 h 304800"/>
                <a:gd name="connsiteX10" fmla="*/ 237865 w 323412"/>
                <a:gd name="connsiteY10" fmla="*/ 22084 h 304800"/>
                <a:gd name="connsiteX11" fmla="*/ 210566 w 323412"/>
                <a:gd name="connsiteY11" fmla="*/ 11130 h 304800"/>
                <a:gd name="connsiteX12" fmla="*/ 195251 w 323412"/>
                <a:gd name="connsiteY12" fmla="*/ 17702 h 304800"/>
                <a:gd name="connsiteX13" fmla="*/ 184407 w 323412"/>
                <a:gd name="connsiteY13" fmla="*/ 44848 h 304800"/>
                <a:gd name="connsiteX14" fmla="*/ 141032 w 323412"/>
                <a:gd name="connsiteY14" fmla="*/ 45420 h 304800"/>
                <a:gd name="connsiteX15" fmla="*/ 129427 w 323412"/>
                <a:gd name="connsiteY15" fmla="*/ 18464 h 304800"/>
                <a:gd name="connsiteX16" fmla="*/ 114092 w 323412"/>
                <a:gd name="connsiteY16" fmla="*/ 12241 h 304800"/>
                <a:gd name="connsiteX17" fmla="*/ 114017 w 323412"/>
                <a:gd name="connsiteY17" fmla="*/ 12273 h 304800"/>
                <a:gd name="connsiteX18" fmla="*/ 86717 w 323412"/>
                <a:gd name="connsiteY18" fmla="*/ 24179 h 304800"/>
                <a:gd name="connsiteX19" fmla="*/ 80154 w 323412"/>
                <a:gd name="connsiteY19" fmla="*/ 31513 h 304800"/>
                <a:gd name="connsiteX20" fmla="*/ 80154 w 323412"/>
                <a:gd name="connsiteY20" fmla="*/ 28942 h 304800"/>
                <a:gd name="connsiteX21" fmla="*/ 87003 w 323412"/>
                <a:gd name="connsiteY21" fmla="*/ 20655 h 304800"/>
                <a:gd name="connsiteX22" fmla="*/ 234251 w 323412"/>
                <a:gd name="connsiteY22" fmla="*/ 62184 h 304800"/>
                <a:gd name="connsiteX23" fmla="*/ 264119 w 323412"/>
                <a:gd name="connsiteY23" fmla="*/ 91807 h 304800"/>
                <a:gd name="connsiteX24" fmla="*/ 291133 w 323412"/>
                <a:gd name="connsiteY24" fmla="*/ 80377 h 304800"/>
                <a:gd name="connsiteX25" fmla="*/ 306632 w 323412"/>
                <a:gd name="connsiteY25" fmla="*/ 86553 h 304800"/>
                <a:gd name="connsiteX26" fmla="*/ 306638 w 323412"/>
                <a:gd name="connsiteY26" fmla="*/ 86568 h 304800"/>
                <a:gd name="connsiteX27" fmla="*/ 318148 w 323412"/>
                <a:gd name="connsiteY27" fmla="*/ 113619 h 304800"/>
                <a:gd name="connsiteX28" fmla="*/ 318909 w 323412"/>
                <a:gd name="connsiteY28" fmla="*/ 120001 h 304800"/>
                <a:gd name="connsiteX29" fmla="*/ 318148 w 323412"/>
                <a:gd name="connsiteY29" fmla="*/ 117143 h 304800"/>
                <a:gd name="connsiteX30" fmla="*/ 306638 w 323412"/>
                <a:gd name="connsiteY30" fmla="*/ 89902 h 304800"/>
                <a:gd name="connsiteX31" fmla="*/ 291133 w 323412"/>
                <a:gd name="connsiteY31" fmla="*/ 83710 h 304800"/>
                <a:gd name="connsiteX32" fmla="*/ 264119 w 323412"/>
                <a:gd name="connsiteY32" fmla="*/ 95331 h 304800"/>
                <a:gd name="connsiteX33" fmla="*/ 233109 w 323412"/>
                <a:gd name="connsiteY33" fmla="*/ 64946 h 304800"/>
                <a:gd name="connsiteX34" fmla="*/ 230826 w 323412"/>
                <a:gd name="connsiteY34" fmla="*/ 63517 h 304800"/>
                <a:gd name="connsiteX35" fmla="*/ 233109 w 323412"/>
                <a:gd name="connsiteY35" fmla="*/ 61422 h 304800"/>
                <a:gd name="connsiteX36" fmla="*/ 234156 w 323412"/>
                <a:gd name="connsiteY36" fmla="*/ 62184 h 304800"/>
                <a:gd name="connsiteX37" fmla="*/ 285616 w 323412"/>
                <a:gd name="connsiteY37" fmla="*/ 143813 h 304800"/>
                <a:gd name="connsiteX38" fmla="*/ 287233 w 323412"/>
                <a:gd name="connsiteY38" fmla="*/ 165244 h 304800"/>
                <a:gd name="connsiteX39" fmla="*/ 285046 w 323412"/>
                <a:gd name="connsiteY39" fmla="*/ 144004 h 304800"/>
                <a:gd name="connsiteX40" fmla="*/ 283904 w 323412"/>
                <a:gd name="connsiteY40" fmla="*/ 137527 h 304800"/>
                <a:gd name="connsiteX41" fmla="*/ 285046 w 323412"/>
                <a:gd name="connsiteY41" fmla="*/ 140479 h 304800"/>
                <a:gd name="connsiteX42" fmla="*/ 285616 w 323412"/>
                <a:gd name="connsiteY42" fmla="*/ 143813 h 304800"/>
                <a:gd name="connsiteX43" fmla="*/ 285616 w 323412"/>
                <a:gd name="connsiteY43" fmla="*/ 183818 h 304800"/>
                <a:gd name="connsiteX44" fmla="*/ 312726 w 323412"/>
                <a:gd name="connsiteY44" fmla="*/ 194677 h 304800"/>
                <a:gd name="connsiteX45" fmla="*/ 319955 w 323412"/>
                <a:gd name="connsiteY45" fmla="*/ 207440 h 304800"/>
                <a:gd name="connsiteX46" fmla="*/ 312726 w 323412"/>
                <a:gd name="connsiteY46" fmla="*/ 197915 h 304800"/>
                <a:gd name="connsiteX47" fmla="*/ 284760 w 323412"/>
                <a:gd name="connsiteY47" fmla="*/ 186676 h 304800"/>
                <a:gd name="connsiteX48" fmla="*/ 284760 w 323412"/>
                <a:gd name="connsiteY48" fmla="*/ 183342 h 304800"/>
                <a:gd name="connsiteX49" fmla="*/ 234441 w 323412"/>
                <a:gd name="connsiteY49" fmla="*/ 261352 h 304800"/>
                <a:gd name="connsiteX50" fmla="*/ 247092 w 323412"/>
                <a:gd name="connsiteY50" fmla="*/ 290879 h 304800"/>
                <a:gd name="connsiteX51" fmla="*/ 247853 w 323412"/>
                <a:gd name="connsiteY51" fmla="*/ 297261 h 304800"/>
                <a:gd name="connsiteX52" fmla="*/ 247092 w 323412"/>
                <a:gd name="connsiteY52" fmla="*/ 294403 h 304800"/>
                <a:gd name="connsiteX53" fmla="*/ 233300 w 323412"/>
                <a:gd name="connsiteY53" fmla="*/ 262209 h 304800"/>
                <a:gd name="connsiteX54" fmla="*/ 234441 w 323412"/>
                <a:gd name="connsiteY54" fmla="*/ 261352 h 304800"/>
                <a:gd name="connsiteX55" fmla="*/ 82817 w 323412"/>
                <a:gd name="connsiteY55" fmla="*/ 299452 h 304800"/>
                <a:gd name="connsiteX56" fmla="*/ 83483 w 323412"/>
                <a:gd name="connsiteY56" fmla="*/ 293356 h 304800"/>
                <a:gd name="connsiteX57" fmla="*/ 95469 w 323412"/>
                <a:gd name="connsiteY57" fmla="*/ 263447 h 304800"/>
                <a:gd name="connsiteX58" fmla="*/ 96610 w 323412"/>
                <a:gd name="connsiteY58" fmla="*/ 264209 h 304800"/>
                <a:gd name="connsiteX59" fmla="*/ 83388 w 323412"/>
                <a:gd name="connsiteY59" fmla="*/ 296594 h 304800"/>
                <a:gd name="connsiteX60" fmla="*/ 82722 w 323412"/>
                <a:gd name="connsiteY60" fmla="*/ 299166 h 304800"/>
                <a:gd name="connsiteX61" fmla="*/ 8623 w 323412"/>
                <a:gd name="connsiteY61" fmla="*/ 211250 h 304800"/>
                <a:gd name="connsiteX62" fmla="*/ 15662 w 323412"/>
                <a:gd name="connsiteY62" fmla="*/ 198582 h 304800"/>
                <a:gd name="connsiteX63" fmla="*/ 43057 w 323412"/>
                <a:gd name="connsiteY63" fmla="*/ 186866 h 304800"/>
                <a:gd name="connsiteX64" fmla="*/ 43818 w 323412"/>
                <a:gd name="connsiteY64" fmla="*/ 190105 h 304800"/>
                <a:gd name="connsiteX65" fmla="*/ 15281 w 323412"/>
                <a:gd name="connsiteY65" fmla="*/ 202106 h 304800"/>
                <a:gd name="connsiteX66" fmla="*/ 8242 w 323412"/>
                <a:gd name="connsiteY66" fmla="*/ 211631 h 304800"/>
                <a:gd name="connsiteX67" fmla="*/ 40393 w 323412"/>
                <a:gd name="connsiteY67" fmla="*/ 166102 h 304800"/>
                <a:gd name="connsiteX68" fmla="*/ 41535 w 323412"/>
                <a:gd name="connsiteY68" fmla="*/ 147052 h 304800"/>
                <a:gd name="connsiteX69" fmla="*/ 41535 w 323412"/>
                <a:gd name="connsiteY69" fmla="*/ 143718 h 304800"/>
                <a:gd name="connsiteX70" fmla="*/ 42581 w 323412"/>
                <a:gd name="connsiteY70" fmla="*/ 140575 h 304800"/>
                <a:gd name="connsiteX71" fmla="*/ 41630 w 323412"/>
                <a:gd name="connsiteY71" fmla="*/ 147242 h 304800"/>
                <a:gd name="connsiteX72" fmla="*/ 39918 w 323412"/>
                <a:gd name="connsiteY72" fmla="*/ 166292 h 304800"/>
                <a:gd name="connsiteX73" fmla="*/ 7291 w 323412"/>
                <a:gd name="connsiteY73" fmla="*/ 123239 h 304800"/>
                <a:gd name="connsiteX74" fmla="*/ 7957 w 323412"/>
                <a:gd name="connsiteY74" fmla="*/ 117143 h 304800"/>
                <a:gd name="connsiteX75" fmla="*/ 19276 w 323412"/>
                <a:gd name="connsiteY75" fmla="*/ 89902 h 304800"/>
                <a:gd name="connsiteX76" fmla="*/ 34496 w 323412"/>
                <a:gd name="connsiteY76" fmla="*/ 83329 h 304800"/>
                <a:gd name="connsiteX77" fmla="*/ 61700 w 323412"/>
                <a:gd name="connsiteY77" fmla="*/ 94283 h 304800"/>
                <a:gd name="connsiteX78" fmla="*/ 90903 w 323412"/>
                <a:gd name="connsiteY78" fmla="*/ 63994 h 304800"/>
                <a:gd name="connsiteX79" fmla="*/ 92044 w 323412"/>
                <a:gd name="connsiteY79" fmla="*/ 63136 h 304800"/>
                <a:gd name="connsiteX80" fmla="*/ 94422 w 323412"/>
                <a:gd name="connsiteY80" fmla="*/ 65137 h 304800"/>
                <a:gd name="connsiteX81" fmla="*/ 92044 w 323412"/>
                <a:gd name="connsiteY81" fmla="*/ 66661 h 304800"/>
                <a:gd name="connsiteX82" fmla="*/ 61700 w 323412"/>
                <a:gd name="connsiteY82" fmla="*/ 97807 h 304800"/>
                <a:gd name="connsiteX83" fmla="*/ 34496 w 323412"/>
                <a:gd name="connsiteY83" fmla="*/ 86854 h 304800"/>
                <a:gd name="connsiteX84" fmla="*/ 19276 w 323412"/>
                <a:gd name="connsiteY84" fmla="*/ 93426 h 304800"/>
                <a:gd name="connsiteX85" fmla="*/ 8337 w 323412"/>
                <a:gd name="connsiteY85" fmla="*/ 120763 h 304800"/>
                <a:gd name="connsiteX86" fmla="*/ 7671 w 323412"/>
                <a:gd name="connsiteY86" fmla="*/ 123334 h 304800"/>
                <a:gd name="connsiteX87" fmla="*/ 212753 w 323412"/>
                <a:gd name="connsiteY87" fmla="*/ 165340 h 304800"/>
                <a:gd name="connsiteX88" fmla="*/ 162086 w 323412"/>
                <a:gd name="connsiteY88" fmla="*/ 212651 h 304800"/>
                <a:gd name="connsiteX89" fmla="*/ 118773 w 323412"/>
                <a:gd name="connsiteY89" fmla="*/ 182961 h 304800"/>
                <a:gd name="connsiteX90" fmla="*/ 114873 w 323412"/>
                <a:gd name="connsiteY90" fmla="*/ 165340 h 304800"/>
                <a:gd name="connsiteX91" fmla="*/ 161655 w 323412"/>
                <a:gd name="connsiteY91" fmla="*/ 216507 h 304800"/>
                <a:gd name="connsiteX92" fmla="*/ 212753 w 323412"/>
                <a:gd name="connsiteY92" fmla="*/ 169662 h 304800"/>
                <a:gd name="connsiteX93" fmla="*/ 212753 w 323412"/>
                <a:gd name="connsiteY93" fmla="*/ 16534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323412" h="304800">
                  <a:moveTo>
                    <a:pt x="86717" y="20655"/>
                  </a:moveTo>
                  <a:lnTo>
                    <a:pt x="113732" y="9130"/>
                  </a:lnTo>
                  <a:cubicBezTo>
                    <a:pt x="119665" y="6566"/>
                    <a:pt x="126550" y="9305"/>
                    <a:pt x="129109" y="15246"/>
                  </a:cubicBezTo>
                  <a:cubicBezTo>
                    <a:pt x="129120" y="15271"/>
                    <a:pt x="129131" y="15296"/>
                    <a:pt x="129142" y="15321"/>
                  </a:cubicBezTo>
                  <a:lnTo>
                    <a:pt x="140461" y="42277"/>
                  </a:lnTo>
                  <a:cubicBezTo>
                    <a:pt x="154767" y="39471"/>
                    <a:pt x="169462" y="39278"/>
                    <a:pt x="183836" y="41705"/>
                  </a:cubicBezTo>
                  <a:lnTo>
                    <a:pt x="194680" y="14559"/>
                  </a:lnTo>
                  <a:cubicBezTo>
                    <a:pt x="197103" y="8515"/>
                    <a:pt x="203953" y="5575"/>
                    <a:pt x="209995" y="7987"/>
                  </a:cubicBezTo>
                  <a:lnTo>
                    <a:pt x="237295" y="18940"/>
                  </a:lnTo>
                  <a:cubicBezTo>
                    <a:pt x="242559" y="20786"/>
                    <a:pt x="245813" y="26070"/>
                    <a:pt x="245095" y="31609"/>
                  </a:cubicBezTo>
                  <a:cubicBezTo>
                    <a:pt x="244588" y="27356"/>
                    <a:pt x="241822" y="23711"/>
                    <a:pt x="237865" y="22084"/>
                  </a:cubicBezTo>
                  <a:lnTo>
                    <a:pt x="210566" y="11130"/>
                  </a:lnTo>
                  <a:cubicBezTo>
                    <a:pt x="204524" y="8718"/>
                    <a:pt x="197673" y="11658"/>
                    <a:pt x="195251" y="17702"/>
                  </a:cubicBezTo>
                  <a:lnTo>
                    <a:pt x="184407" y="44848"/>
                  </a:lnTo>
                  <a:cubicBezTo>
                    <a:pt x="170032" y="42421"/>
                    <a:pt x="155338" y="42614"/>
                    <a:pt x="141032" y="45420"/>
                  </a:cubicBezTo>
                  <a:lnTo>
                    <a:pt x="129427" y="18464"/>
                  </a:lnTo>
                  <a:cubicBezTo>
                    <a:pt x="126909" y="12505"/>
                    <a:pt x="120043" y="9719"/>
                    <a:pt x="114092" y="12241"/>
                  </a:cubicBezTo>
                  <a:cubicBezTo>
                    <a:pt x="114067" y="12251"/>
                    <a:pt x="114042" y="12262"/>
                    <a:pt x="114017" y="12273"/>
                  </a:cubicBezTo>
                  <a:lnTo>
                    <a:pt x="86717" y="24179"/>
                  </a:lnTo>
                  <a:cubicBezTo>
                    <a:pt x="83575" y="25561"/>
                    <a:pt x="81182" y="28235"/>
                    <a:pt x="80154" y="31513"/>
                  </a:cubicBezTo>
                  <a:cubicBezTo>
                    <a:pt x="79891" y="30676"/>
                    <a:pt x="79891" y="29779"/>
                    <a:pt x="80154" y="28942"/>
                  </a:cubicBezTo>
                  <a:cubicBezTo>
                    <a:pt x="80961" y="25231"/>
                    <a:pt x="83514" y="22142"/>
                    <a:pt x="87003" y="20655"/>
                  </a:cubicBezTo>
                  <a:close/>
                  <a:moveTo>
                    <a:pt x="234251" y="62184"/>
                  </a:moveTo>
                  <a:cubicBezTo>
                    <a:pt x="245854" y="70240"/>
                    <a:pt x="255962" y="80265"/>
                    <a:pt x="264119" y="91807"/>
                  </a:cubicBezTo>
                  <a:lnTo>
                    <a:pt x="291133" y="80377"/>
                  </a:lnTo>
                  <a:cubicBezTo>
                    <a:pt x="297116" y="77797"/>
                    <a:pt x="304055" y="80562"/>
                    <a:pt x="306632" y="86553"/>
                  </a:cubicBezTo>
                  <a:cubicBezTo>
                    <a:pt x="306634" y="86558"/>
                    <a:pt x="306636" y="86563"/>
                    <a:pt x="306638" y="86568"/>
                  </a:cubicBezTo>
                  <a:lnTo>
                    <a:pt x="318148" y="113619"/>
                  </a:lnTo>
                  <a:cubicBezTo>
                    <a:pt x="319006" y="115629"/>
                    <a:pt x="319270" y="117844"/>
                    <a:pt x="318909" y="120001"/>
                  </a:cubicBezTo>
                  <a:cubicBezTo>
                    <a:pt x="318790" y="119017"/>
                    <a:pt x="318534" y="118055"/>
                    <a:pt x="318148" y="117143"/>
                  </a:cubicBezTo>
                  <a:lnTo>
                    <a:pt x="306638" y="89902"/>
                  </a:lnTo>
                  <a:cubicBezTo>
                    <a:pt x="304028" y="83942"/>
                    <a:pt x="297123" y="81184"/>
                    <a:pt x="291133" y="83710"/>
                  </a:cubicBezTo>
                  <a:lnTo>
                    <a:pt x="264119" y="95331"/>
                  </a:lnTo>
                  <a:cubicBezTo>
                    <a:pt x="255678" y="83429"/>
                    <a:pt x="245175" y="73138"/>
                    <a:pt x="233109" y="64946"/>
                  </a:cubicBezTo>
                  <a:lnTo>
                    <a:pt x="230826" y="63517"/>
                  </a:lnTo>
                  <a:lnTo>
                    <a:pt x="233109" y="61422"/>
                  </a:lnTo>
                  <a:lnTo>
                    <a:pt x="234156" y="62184"/>
                  </a:lnTo>
                  <a:close/>
                  <a:moveTo>
                    <a:pt x="285616" y="143813"/>
                  </a:moveTo>
                  <a:cubicBezTo>
                    <a:pt x="286769" y="150897"/>
                    <a:pt x="287310" y="158067"/>
                    <a:pt x="287233" y="165244"/>
                  </a:cubicBezTo>
                  <a:cubicBezTo>
                    <a:pt x="287113" y="158115"/>
                    <a:pt x="286381" y="151008"/>
                    <a:pt x="285046" y="144004"/>
                  </a:cubicBezTo>
                  <a:lnTo>
                    <a:pt x="283904" y="137527"/>
                  </a:lnTo>
                  <a:lnTo>
                    <a:pt x="285046" y="140479"/>
                  </a:lnTo>
                  <a:lnTo>
                    <a:pt x="285616" y="143813"/>
                  </a:lnTo>
                  <a:close/>
                  <a:moveTo>
                    <a:pt x="285616" y="183818"/>
                  </a:moveTo>
                  <a:lnTo>
                    <a:pt x="312726" y="194677"/>
                  </a:lnTo>
                  <a:cubicBezTo>
                    <a:pt x="317803" y="196734"/>
                    <a:pt x="320797" y="202021"/>
                    <a:pt x="319955" y="207440"/>
                  </a:cubicBezTo>
                  <a:cubicBezTo>
                    <a:pt x="319448" y="203187"/>
                    <a:pt x="316682" y="199543"/>
                    <a:pt x="312726" y="197915"/>
                  </a:cubicBezTo>
                  <a:lnTo>
                    <a:pt x="284760" y="186676"/>
                  </a:lnTo>
                  <a:lnTo>
                    <a:pt x="284760" y="183342"/>
                  </a:lnTo>
                  <a:close/>
                  <a:moveTo>
                    <a:pt x="234441" y="261352"/>
                  </a:moveTo>
                  <a:lnTo>
                    <a:pt x="247092" y="290879"/>
                  </a:lnTo>
                  <a:cubicBezTo>
                    <a:pt x="247902" y="292902"/>
                    <a:pt x="248165" y="295104"/>
                    <a:pt x="247853" y="297261"/>
                  </a:cubicBezTo>
                  <a:cubicBezTo>
                    <a:pt x="247734" y="296277"/>
                    <a:pt x="247478" y="295315"/>
                    <a:pt x="247092" y="294403"/>
                  </a:cubicBezTo>
                  <a:lnTo>
                    <a:pt x="233300" y="262209"/>
                  </a:lnTo>
                  <a:lnTo>
                    <a:pt x="234441" y="261352"/>
                  </a:lnTo>
                  <a:close/>
                  <a:moveTo>
                    <a:pt x="82817" y="299452"/>
                  </a:moveTo>
                  <a:cubicBezTo>
                    <a:pt x="82517" y="297396"/>
                    <a:pt x="82746" y="295298"/>
                    <a:pt x="83483" y="293356"/>
                  </a:cubicBezTo>
                  <a:lnTo>
                    <a:pt x="95469" y="263447"/>
                  </a:lnTo>
                  <a:lnTo>
                    <a:pt x="96610" y="264209"/>
                  </a:lnTo>
                  <a:lnTo>
                    <a:pt x="83388" y="296594"/>
                  </a:lnTo>
                  <a:cubicBezTo>
                    <a:pt x="83122" y="297439"/>
                    <a:pt x="82899" y="298298"/>
                    <a:pt x="82722" y="299166"/>
                  </a:cubicBezTo>
                  <a:close/>
                  <a:moveTo>
                    <a:pt x="8623" y="211250"/>
                  </a:moveTo>
                  <a:cubicBezTo>
                    <a:pt x="7835" y="205919"/>
                    <a:pt x="10722" y="200723"/>
                    <a:pt x="15662" y="198582"/>
                  </a:cubicBezTo>
                  <a:lnTo>
                    <a:pt x="43057" y="186866"/>
                  </a:lnTo>
                  <a:lnTo>
                    <a:pt x="43818" y="190105"/>
                  </a:lnTo>
                  <a:lnTo>
                    <a:pt x="15281" y="202106"/>
                  </a:lnTo>
                  <a:cubicBezTo>
                    <a:pt x="11436" y="203834"/>
                    <a:pt x="8769" y="207444"/>
                    <a:pt x="8242" y="211631"/>
                  </a:cubicBezTo>
                  <a:close/>
                  <a:moveTo>
                    <a:pt x="40393" y="166102"/>
                  </a:moveTo>
                  <a:cubicBezTo>
                    <a:pt x="40289" y="159732"/>
                    <a:pt x="40670" y="153363"/>
                    <a:pt x="41535" y="147052"/>
                  </a:cubicBezTo>
                  <a:lnTo>
                    <a:pt x="41535" y="143718"/>
                  </a:lnTo>
                  <a:lnTo>
                    <a:pt x="42581" y="140575"/>
                  </a:lnTo>
                  <a:lnTo>
                    <a:pt x="41630" y="147242"/>
                  </a:lnTo>
                  <a:cubicBezTo>
                    <a:pt x="40565" y="153538"/>
                    <a:pt x="39992" y="159907"/>
                    <a:pt x="39918" y="166292"/>
                  </a:cubicBezTo>
                  <a:close/>
                  <a:moveTo>
                    <a:pt x="7291" y="123239"/>
                  </a:moveTo>
                  <a:cubicBezTo>
                    <a:pt x="6944" y="121185"/>
                    <a:pt x="7175" y="119074"/>
                    <a:pt x="7957" y="117143"/>
                  </a:cubicBezTo>
                  <a:lnTo>
                    <a:pt x="19276" y="89902"/>
                  </a:lnTo>
                  <a:cubicBezTo>
                    <a:pt x="21698" y="83909"/>
                    <a:pt x="28481" y="80980"/>
                    <a:pt x="34496" y="83329"/>
                  </a:cubicBezTo>
                  <a:lnTo>
                    <a:pt x="61700" y="94283"/>
                  </a:lnTo>
                  <a:cubicBezTo>
                    <a:pt x="69636" y="82591"/>
                    <a:pt x="79513" y="72347"/>
                    <a:pt x="90903" y="63994"/>
                  </a:cubicBezTo>
                  <a:lnTo>
                    <a:pt x="92044" y="63136"/>
                  </a:lnTo>
                  <a:lnTo>
                    <a:pt x="94422" y="65137"/>
                  </a:lnTo>
                  <a:lnTo>
                    <a:pt x="92044" y="66661"/>
                  </a:lnTo>
                  <a:cubicBezTo>
                    <a:pt x="80173" y="75168"/>
                    <a:pt x="69900" y="85713"/>
                    <a:pt x="61700" y="97807"/>
                  </a:cubicBezTo>
                  <a:lnTo>
                    <a:pt x="34496" y="86854"/>
                  </a:lnTo>
                  <a:cubicBezTo>
                    <a:pt x="28481" y="84505"/>
                    <a:pt x="21698" y="87434"/>
                    <a:pt x="19276" y="93426"/>
                  </a:cubicBezTo>
                  <a:lnTo>
                    <a:pt x="8337" y="120763"/>
                  </a:lnTo>
                  <a:cubicBezTo>
                    <a:pt x="7983" y="121580"/>
                    <a:pt x="7759" y="122448"/>
                    <a:pt x="7671" y="123334"/>
                  </a:cubicBezTo>
                  <a:close/>
                  <a:moveTo>
                    <a:pt x="212753" y="165340"/>
                  </a:moveTo>
                  <a:cubicBezTo>
                    <a:pt x="211809" y="192415"/>
                    <a:pt x="189124" y="213597"/>
                    <a:pt x="162086" y="212651"/>
                  </a:cubicBezTo>
                  <a:cubicBezTo>
                    <a:pt x="143125" y="211988"/>
                    <a:pt x="126251" y="200421"/>
                    <a:pt x="118773" y="182961"/>
                  </a:cubicBezTo>
                  <a:cubicBezTo>
                    <a:pt x="116385" y="177383"/>
                    <a:pt x="115063" y="171406"/>
                    <a:pt x="114873" y="165340"/>
                  </a:cubicBezTo>
                  <a:cubicBezTo>
                    <a:pt x="113681" y="192405"/>
                    <a:pt x="134626" y="215313"/>
                    <a:pt x="161655" y="216507"/>
                  </a:cubicBezTo>
                  <a:cubicBezTo>
                    <a:pt x="188684" y="217700"/>
                    <a:pt x="211561" y="196727"/>
                    <a:pt x="212753" y="169662"/>
                  </a:cubicBezTo>
                  <a:cubicBezTo>
                    <a:pt x="212817" y="168222"/>
                    <a:pt x="212817" y="166780"/>
                    <a:pt x="212753" y="165340"/>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24" name="Freeform 23">
              <a:extLst>
                <a:ext uri="{FF2B5EF4-FFF2-40B4-BE49-F238E27FC236}">
                  <a16:creationId xmlns="" xmlns:a16="http://schemas.microsoft.com/office/drawing/2014/main" id="{89AC9D6D-6BFD-154D-9F26-488E84AC388E}"/>
                </a:ext>
              </a:extLst>
            </p:cNvPr>
            <p:cNvSpPr/>
            <p:nvPr/>
          </p:nvSpPr>
          <p:spPr>
            <a:xfrm>
              <a:off x="3522650" y="3844556"/>
              <a:ext cx="367617" cy="346460"/>
            </a:xfrm>
            <a:custGeom>
              <a:avLst/>
              <a:gdLst>
                <a:gd name="connsiteX0" fmla="*/ 245048 w 323412"/>
                <a:gd name="connsiteY0" fmla="*/ 7334 h 304800"/>
                <a:gd name="connsiteX1" fmla="*/ 244287 w 323412"/>
                <a:gd name="connsiteY1" fmla="*/ 13430 h 304800"/>
                <a:gd name="connsiteX2" fmla="*/ 233158 w 323412"/>
                <a:gd name="connsiteY2" fmla="*/ 40576 h 304800"/>
                <a:gd name="connsiteX3" fmla="*/ 230875 w 323412"/>
                <a:gd name="connsiteY3" fmla="*/ 42577 h 304800"/>
                <a:gd name="connsiteX4" fmla="*/ 244002 w 323412"/>
                <a:gd name="connsiteY4" fmla="*/ 9715 h 304800"/>
                <a:gd name="connsiteX5" fmla="*/ 244763 w 323412"/>
                <a:gd name="connsiteY5" fmla="*/ 7144 h 304800"/>
                <a:gd name="connsiteX6" fmla="*/ 319148 w 323412"/>
                <a:gd name="connsiteY6" fmla="*/ 95631 h 304800"/>
                <a:gd name="connsiteX7" fmla="*/ 311633 w 323412"/>
                <a:gd name="connsiteY7" fmla="*/ 108204 h 304800"/>
                <a:gd name="connsiteX8" fmla="*/ 284999 w 323412"/>
                <a:gd name="connsiteY8" fmla="*/ 119824 h 304800"/>
                <a:gd name="connsiteX9" fmla="*/ 283858 w 323412"/>
                <a:gd name="connsiteY9" fmla="*/ 116776 h 304800"/>
                <a:gd name="connsiteX10" fmla="*/ 312394 w 323412"/>
                <a:gd name="connsiteY10" fmla="*/ 104680 h 304800"/>
                <a:gd name="connsiteX11" fmla="*/ 319338 w 323412"/>
                <a:gd name="connsiteY11" fmla="*/ 95155 h 304800"/>
                <a:gd name="connsiteX12" fmla="*/ 287187 w 323412"/>
                <a:gd name="connsiteY12" fmla="*/ 141541 h 304800"/>
                <a:gd name="connsiteX13" fmla="*/ 286046 w 323412"/>
                <a:gd name="connsiteY13" fmla="*/ 159925 h 304800"/>
                <a:gd name="connsiteX14" fmla="*/ 285475 w 323412"/>
                <a:gd name="connsiteY14" fmla="*/ 163258 h 304800"/>
                <a:gd name="connsiteX15" fmla="*/ 284619 w 323412"/>
                <a:gd name="connsiteY15" fmla="*/ 166402 h 304800"/>
                <a:gd name="connsiteX16" fmla="*/ 285475 w 323412"/>
                <a:gd name="connsiteY16" fmla="*/ 159734 h 304800"/>
                <a:gd name="connsiteX17" fmla="*/ 287187 w 323412"/>
                <a:gd name="connsiteY17" fmla="*/ 141541 h 304800"/>
                <a:gd name="connsiteX18" fmla="*/ 319909 w 323412"/>
                <a:gd name="connsiteY18" fmla="*/ 183451 h 304800"/>
                <a:gd name="connsiteX19" fmla="*/ 319243 w 323412"/>
                <a:gd name="connsiteY19" fmla="*/ 189547 h 304800"/>
                <a:gd name="connsiteX20" fmla="*/ 308304 w 323412"/>
                <a:gd name="connsiteY20" fmla="*/ 216789 h 304800"/>
                <a:gd name="connsiteX21" fmla="*/ 292989 w 323412"/>
                <a:gd name="connsiteY21" fmla="*/ 223361 h 304800"/>
                <a:gd name="connsiteX22" fmla="*/ 265785 w 323412"/>
                <a:gd name="connsiteY22" fmla="*/ 212026 h 304800"/>
                <a:gd name="connsiteX23" fmla="*/ 236677 w 323412"/>
                <a:gd name="connsiteY23" fmla="*/ 242221 h 304800"/>
                <a:gd name="connsiteX24" fmla="*/ 235536 w 323412"/>
                <a:gd name="connsiteY24" fmla="*/ 243459 h 304800"/>
                <a:gd name="connsiteX25" fmla="*/ 233253 w 323412"/>
                <a:gd name="connsiteY25" fmla="*/ 241744 h 304800"/>
                <a:gd name="connsiteX26" fmla="*/ 265785 w 323412"/>
                <a:gd name="connsiteY26" fmla="*/ 208883 h 304800"/>
                <a:gd name="connsiteX27" fmla="*/ 292609 w 323412"/>
                <a:gd name="connsiteY27" fmla="*/ 219742 h 304800"/>
                <a:gd name="connsiteX28" fmla="*/ 307923 w 323412"/>
                <a:gd name="connsiteY28" fmla="*/ 213169 h 304800"/>
                <a:gd name="connsiteX29" fmla="*/ 318862 w 323412"/>
                <a:gd name="connsiteY29" fmla="*/ 185928 h 304800"/>
                <a:gd name="connsiteX30" fmla="*/ 319528 w 323412"/>
                <a:gd name="connsiteY30" fmla="*/ 183356 h 304800"/>
                <a:gd name="connsiteX31" fmla="*/ 247807 w 323412"/>
                <a:gd name="connsiteY31" fmla="*/ 273367 h 304800"/>
                <a:gd name="connsiteX32" fmla="*/ 240863 w 323412"/>
                <a:gd name="connsiteY32" fmla="*/ 285940 h 304800"/>
                <a:gd name="connsiteX33" fmla="*/ 213848 w 323412"/>
                <a:gd name="connsiteY33" fmla="*/ 297751 h 304800"/>
                <a:gd name="connsiteX34" fmla="*/ 198439 w 323412"/>
                <a:gd name="connsiteY34" fmla="*/ 291560 h 304800"/>
                <a:gd name="connsiteX35" fmla="*/ 186834 w 323412"/>
                <a:gd name="connsiteY35" fmla="*/ 264604 h 304800"/>
                <a:gd name="connsiteX36" fmla="*/ 143458 w 323412"/>
                <a:gd name="connsiteY36" fmla="*/ 265081 h 304800"/>
                <a:gd name="connsiteX37" fmla="*/ 132615 w 323412"/>
                <a:gd name="connsiteY37" fmla="*/ 292036 h 304800"/>
                <a:gd name="connsiteX38" fmla="*/ 117300 w 323412"/>
                <a:gd name="connsiteY38" fmla="*/ 298609 h 304800"/>
                <a:gd name="connsiteX39" fmla="*/ 90000 w 323412"/>
                <a:gd name="connsiteY39" fmla="*/ 287655 h 304800"/>
                <a:gd name="connsiteX40" fmla="*/ 82771 w 323412"/>
                <a:gd name="connsiteY40" fmla="*/ 274892 h 304800"/>
                <a:gd name="connsiteX41" fmla="*/ 90000 w 323412"/>
                <a:gd name="connsiteY41" fmla="*/ 284417 h 304800"/>
                <a:gd name="connsiteX42" fmla="*/ 117300 w 323412"/>
                <a:gd name="connsiteY42" fmla="*/ 295370 h 304800"/>
                <a:gd name="connsiteX43" fmla="*/ 132576 w 323412"/>
                <a:gd name="connsiteY43" fmla="*/ 288332 h 304800"/>
                <a:gd name="connsiteX44" fmla="*/ 132615 w 323412"/>
                <a:gd name="connsiteY44" fmla="*/ 288226 h 304800"/>
                <a:gd name="connsiteX45" fmla="*/ 143458 w 323412"/>
                <a:gd name="connsiteY45" fmla="*/ 260985 h 304800"/>
                <a:gd name="connsiteX46" fmla="*/ 186834 w 323412"/>
                <a:gd name="connsiteY46" fmla="*/ 260985 h 304800"/>
                <a:gd name="connsiteX47" fmla="*/ 198439 w 323412"/>
                <a:gd name="connsiteY47" fmla="*/ 288226 h 304800"/>
                <a:gd name="connsiteX48" fmla="*/ 213848 w 323412"/>
                <a:gd name="connsiteY48" fmla="*/ 294418 h 304800"/>
                <a:gd name="connsiteX49" fmla="*/ 240863 w 323412"/>
                <a:gd name="connsiteY49" fmla="*/ 282797 h 304800"/>
                <a:gd name="connsiteX50" fmla="*/ 247807 w 323412"/>
                <a:gd name="connsiteY50" fmla="*/ 273748 h 304800"/>
                <a:gd name="connsiteX51" fmla="*/ 92854 w 323412"/>
                <a:gd name="connsiteY51" fmla="*/ 244316 h 304800"/>
                <a:gd name="connsiteX52" fmla="*/ 62986 w 323412"/>
                <a:gd name="connsiteY52" fmla="*/ 214693 h 304800"/>
                <a:gd name="connsiteX53" fmla="*/ 36066 w 323412"/>
                <a:gd name="connsiteY53" fmla="*/ 226219 h 304800"/>
                <a:gd name="connsiteX54" fmla="*/ 20562 w 323412"/>
                <a:gd name="connsiteY54" fmla="*/ 220123 h 304800"/>
                <a:gd name="connsiteX55" fmla="*/ 9432 w 323412"/>
                <a:gd name="connsiteY55" fmla="*/ 192976 h 304800"/>
                <a:gd name="connsiteX56" fmla="*/ 8576 w 323412"/>
                <a:gd name="connsiteY56" fmla="*/ 186690 h 304800"/>
                <a:gd name="connsiteX57" fmla="*/ 9432 w 323412"/>
                <a:gd name="connsiteY57" fmla="*/ 189452 h 304800"/>
                <a:gd name="connsiteX58" fmla="*/ 20942 w 323412"/>
                <a:gd name="connsiteY58" fmla="*/ 216598 h 304800"/>
                <a:gd name="connsiteX59" fmla="*/ 36447 w 323412"/>
                <a:gd name="connsiteY59" fmla="*/ 222694 h 304800"/>
                <a:gd name="connsiteX60" fmla="*/ 63366 w 323412"/>
                <a:gd name="connsiteY60" fmla="*/ 211169 h 304800"/>
                <a:gd name="connsiteX61" fmla="*/ 96564 w 323412"/>
                <a:gd name="connsiteY61" fmla="*/ 243078 h 304800"/>
                <a:gd name="connsiteX62" fmla="*/ 94471 w 323412"/>
                <a:gd name="connsiteY62" fmla="*/ 245078 h 304800"/>
                <a:gd name="connsiteX63" fmla="*/ 92854 w 323412"/>
                <a:gd name="connsiteY63" fmla="*/ 244316 h 304800"/>
                <a:gd name="connsiteX64" fmla="*/ 41583 w 323412"/>
                <a:gd name="connsiteY64" fmla="*/ 162782 h 304800"/>
                <a:gd name="connsiteX65" fmla="*/ 39966 w 323412"/>
                <a:gd name="connsiteY65" fmla="*/ 141446 h 304800"/>
                <a:gd name="connsiteX66" fmla="*/ 42154 w 323412"/>
                <a:gd name="connsiteY66" fmla="*/ 162496 h 304800"/>
                <a:gd name="connsiteX67" fmla="*/ 43391 w 323412"/>
                <a:gd name="connsiteY67" fmla="*/ 169164 h 304800"/>
                <a:gd name="connsiteX68" fmla="*/ 42154 w 323412"/>
                <a:gd name="connsiteY68" fmla="*/ 166211 h 304800"/>
                <a:gd name="connsiteX69" fmla="*/ 41583 w 323412"/>
                <a:gd name="connsiteY69" fmla="*/ 162782 h 304800"/>
                <a:gd name="connsiteX70" fmla="*/ 41583 w 323412"/>
                <a:gd name="connsiteY70" fmla="*/ 122587 h 304800"/>
                <a:gd name="connsiteX71" fmla="*/ 14854 w 323412"/>
                <a:gd name="connsiteY71" fmla="*/ 111728 h 304800"/>
                <a:gd name="connsiteX72" fmla="*/ 7245 w 323412"/>
                <a:gd name="connsiteY72" fmla="*/ 98965 h 304800"/>
                <a:gd name="connsiteX73" fmla="*/ 14474 w 323412"/>
                <a:gd name="connsiteY73" fmla="*/ 108490 h 304800"/>
                <a:gd name="connsiteX74" fmla="*/ 43010 w 323412"/>
                <a:gd name="connsiteY74" fmla="*/ 119824 h 304800"/>
                <a:gd name="connsiteX75" fmla="*/ 41964 w 323412"/>
                <a:gd name="connsiteY75" fmla="*/ 122968 h 304800"/>
                <a:gd name="connsiteX76" fmla="*/ 91617 w 323412"/>
                <a:gd name="connsiteY76" fmla="*/ 42386 h 304800"/>
                <a:gd name="connsiteX77" fmla="*/ 80488 w 323412"/>
                <a:gd name="connsiteY77" fmla="*/ 15335 h 304800"/>
                <a:gd name="connsiteX78" fmla="*/ 79727 w 323412"/>
                <a:gd name="connsiteY78" fmla="*/ 8953 h 304800"/>
                <a:gd name="connsiteX79" fmla="*/ 80488 w 323412"/>
                <a:gd name="connsiteY79" fmla="*/ 11811 h 304800"/>
                <a:gd name="connsiteX80" fmla="*/ 94376 w 323412"/>
                <a:gd name="connsiteY80" fmla="*/ 44291 h 304800"/>
                <a:gd name="connsiteX81" fmla="*/ 91998 w 323412"/>
                <a:gd name="connsiteY81" fmla="*/ 42386 h 304800"/>
                <a:gd name="connsiteX82" fmla="*/ 144505 w 323412"/>
                <a:gd name="connsiteY82" fmla="*/ 97726 h 304800"/>
                <a:gd name="connsiteX83" fmla="*/ 208807 w 323412"/>
                <a:gd name="connsiteY83" fmla="*/ 123539 h 304800"/>
                <a:gd name="connsiteX84" fmla="*/ 212707 w 323412"/>
                <a:gd name="connsiteY84" fmla="*/ 140970 h 304800"/>
                <a:gd name="connsiteX85" fmla="*/ 208807 w 323412"/>
                <a:gd name="connsiteY85" fmla="*/ 120015 h 304800"/>
                <a:gd name="connsiteX86" fmla="*/ 144473 w 323412"/>
                <a:gd name="connsiteY86" fmla="*/ 94276 h 304800"/>
                <a:gd name="connsiteX87" fmla="*/ 114827 w 323412"/>
                <a:gd name="connsiteY87" fmla="*/ 140970 h 304800"/>
                <a:gd name="connsiteX88" fmla="*/ 144505 w 323412"/>
                <a:gd name="connsiteY88" fmla="*/ 97726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23412" h="304800">
                  <a:moveTo>
                    <a:pt x="245048" y="7334"/>
                  </a:moveTo>
                  <a:cubicBezTo>
                    <a:pt x="245365" y="9398"/>
                    <a:pt x="245101" y="11508"/>
                    <a:pt x="244287" y="13430"/>
                  </a:cubicBezTo>
                  <a:lnTo>
                    <a:pt x="233158" y="40576"/>
                  </a:lnTo>
                  <a:lnTo>
                    <a:pt x="230875" y="42577"/>
                  </a:lnTo>
                  <a:lnTo>
                    <a:pt x="244002" y="9715"/>
                  </a:lnTo>
                  <a:cubicBezTo>
                    <a:pt x="244342" y="8886"/>
                    <a:pt x="244597" y="8025"/>
                    <a:pt x="244763" y="7144"/>
                  </a:cubicBezTo>
                  <a:close/>
                  <a:moveTo>
                    <a:pt x="319148" y="95631"/>
                  </a:moveTo>
                  <a:cubicBezTo>
                    <a:pt x="319930" y="101075"/>
                    <a:pt x="316794" y="106322"/>
                    <a:pt x="311633" y="108204"/>
                  </a:cubicBezTo>
                  <a:lnTo>
                    <a:pt x="284999" y="119824"/>
                  </a:lnTo>
                  <a:lnTo>
                    <a:pt x="283858" y="116776"/>
                  </a:lnTo>
                  <a:lnTo>
                    <a:pt x="312394" y="104680"/>
                  </a:lnTo>
                  <a:cubicBezTo>
                    <a:pt x="316279" y="103021"/>
                    <a:pt x="318944" y="99365"/>
                    <a:pt x="319338" y="95155"/>
                  </a:cubicBezTo>
                  <a:close/>
                  <a:moveTo>
                    <a:pt x="287187" y="141541"/>
                  </a:moveTo>
                  <a:cubicBezTo>
                    <a:pt x="287284" y="147690"/>
                    <a:pt x="286902" y="153836"/>
                    <a:pt x="286046" y="159925"/>
                  </a:cubicBezTo>
                  <a:lnTo>
                    <a:pt x="285475" y="163258"/>
                  </a:lnTo>
                  <a:lnTo>
                    <a:pt x="284619" y="166402"/>
                  </a:lnTo>
                  <a:lnTo>
                    <a:pt x="285475" y="159734"/>
                  </a:lnTo>
                  <a:cubicBezTo>
                    <a:pt x="286520" y="153724"/>
                    <a:pt x="287093" y="147641"/>
                    <a:pt x="287187" y="141541"/>
                  </a:cubicBezTo>
                  <a:close/>
                  <a:moveTo>
                    <a:pt x="319909" y="183451"/>
                  </a:moveTo>
                  <a:cubicBezTo>
                    <a:pt x="320209" y="185507"/>
                    <a:pt x="319980" y="187605"/>
                    <a:pt x="319243" y="189547"/>
                  </a:cubicBezTo>
                  <a:lnTo>
                    <a:pt x="308304" y="216789"/>
                  </a:lnTo>
                  <a:cubicBezTo>
                    <a:pt x="305842" y="222794"/>
                    <a:pt x="299030" y="225717"/>
                    <a:pt x="292989" y="223361"/>
                  </a:cubicBezTo>
                  <a:lnTo>
                    <a:pt x="265785" y="212026"/>
                  </a:lnTo>
                  <a:cubicBezTo>
                    <a:pt x="257900" y="223701"/>
                    <a:pt x="248051" y="233918"/>
                    <a:pt x="236677" y="242221"/>
                  </a:cubicBezTo>
                  <a:lnTo>
                    <a:pt x="235536" y="243459"/>
                  </a:lnTo>
                  <a:lnTo>
                    <a:pt x="233253" y="241744"/>
                  </a:lnTo>
                  <a:cubicBezTo>
                    <a:pt x="245926" y="232773"/>
                    <a:pt x="256936" y="221652"/>
                    <a:pt x="265785" y="208883"/>
                  </a:cubicBezTo>
                  <a:lnTo>
                    <a:pt x="292609" y="219742"/>
                  </a:lnTo>
                  <a:cubicBezTo>
                    <a:pt x="298649" y="222098"/>
                    <a:pt x="305461" y="219174"/>
                    <a:pt x="307923" y="213169"/>
                  </a:cubicBezTo>
                  <a:lnTo>
                    <a:pt x="318862" y="185928"/>
                  </a:lnTo>
                  <a:cubicBezTo>
                    <a:pt x="319173" y="185096"/>
                    <a:pt x="319396" y="184234"/>
                    <a:pt x="319528" y="183356"/>
                  </a:cubicBezTo>
                  <a:close/>
                  <a:moveTo>
                    <a:pt x="247807" y="273367"/>
                  </a:moveTo>
                  <a:cubicBezTo>
                    <a:pt x="248631" y="278655"/>
                    <a:pt x="245773" y="283829"/>
                    <a:pt x="240863" y="285940"/>
                  </a:cubicBezTo>
                  <a:lnTo>
                    <a:pt x="213848" y="297751"/>
                  </a:lnTo>
                  <a:cubicBezTo>
                    <a:pt x="207885" y="300270"/>
                    <a:pt x="201009" y="297508"/>
                    <a:pt x="198439" y="291560"/>
                  </a:cubicBezTo>
                  <a:lnTo>
                    <a:pt x="186834" y="264604"/>
                  </a:lnTo>
                  <a:cubicBezTo>
                    <a:pt x="172516" y="267321"/>
                    <a:pt x="157832" y="267482"/>
                    <a:pt x="143458" y="265081"/>
                  </a:cubicBezTo>
                  <a:lnTo>
                    <a:pt x="132615" y="292036"/>
                  </a:lnTo>
                  <a:cubicBezTo>
                    <a:pt x="130152" y="298041"/>
                    <a:pt x="123341" y="300965"/>
                    <a:pt x="117300" y="298609"/>
                  </a:cubicBezTo>
                  <a:lnTo>
                    <a:pt x="90000" y="287655"/>
                  </a:lnTo>
                  <a:cubicBezTo>
                    <a:pt x="84971" y="285543"/>
                    <a:pt x="82000" y="280297"/>
                    <a:pt x="82771" y="274892"/>
                  </a:cubicBezTo>
                  <a:cubicBezTo>
                    <a:pt x="83278" y="279144"/>
                    <a:pt x="86044" y="282789"/>
                    <a:pt x="90000" y="284417"/>
                  </a:cubicBezTo>
                  <a:lnTo>
                    <a:pt x="117300" y="295370"/>
                  </a:lnTo>
                  <a:cubicBezTo>
                    <a:pt x="123459" y="297651"/>
                    <a:pt x="130299" y="294500"/>
                    <a:pt x="132576" y="288332"/>
                  </a:cubicBezTo>
                  <a:cubicBezTo>
                    <a:pt x="132589" y="288297"/>
                    <a:pt x="132602" y="288262"/>
                    <a:pt x="132615" y="288226"/>
                  </a:cubicBezTo>
                  <a:lnTo>
                    <a:pt x="143458" y="260985"/>
                  </a:lnTo>
                  <a:cubicBezTo>
                    <a:pt x="157804" y="263544"/>
                    <a:pt x="172488" y="263544"/>
                    <a:pt x="186834" y="260985"/>
                  </a:cubicBezTo>
                  <a:lnTo>
                    <a:pt x="198439" y="288226"/>
                  </a:lnTo>
                  <a:cubicBezTo>
                    <a:pt x="201009" y="294174"/>
                    <a:pt x="207885" y="296937"/>
                    <a:pt x="213848" y="294418"/>
                  </a:cubicBezTo>
                  <a:lnTo>
                    <a:pt x="240863" y="282797"/>
                  </a:lnTo>
                  <a:cubicBezTo>
                    <a:pt x="244587" y="281190"/>
                    <a:pt x="247215" y="277766"/>
                    <a:pt x="247807" y="273748"/>
                  </a:cubicBezTo>
                  <a:close/>
                  <a:moveTo>
                    <a:pt x="92854" y="244316"/>
                  </a:moveTo>
                  <a:cubicBezTo>
                    <a:pt x="81245" y="236266"/>
                    <a:pt x="71136" y="226240"/>
                    <a:pt x="62986" y="214693"/>
                  </a:cubicBezTo>
                  <a:lnTo>
                    <a:pt x="36066" y="226219"/>
                  </a:lnTo>
                  <a:cubicBezTo>
                    <a:pt x="30104" y="228813"/>
                    <a:pt x="23169" y="226086"/>
                    <a:pt x="20562" y="220123"/>
                  </a:cubicBezTo>
                  <a:lnTo>
                    <a:pt x="9432" y="192976"/>
                  </a:lnTo>
                  <a:cubicBezTo>
                    <a:pt x="8584" y="190997"/>
                    <a:pt x="8289" y="188824"/>
                    <a:pt x="8576" y="186690"/>
                  </a:cubicBezTo>
                  <a:cubicBezTo>
                    <a:pt x="8761" y="187639"/>
                    <a:pt x="9048" y="188565"/>
                    <a:pt x="9432" y="189452"/>
                  </a:cubicBezTo>
                  <a:lnTo>
                    <a:pt x="20942" y="216598"/>
                  </a:lnTo>
                  <a:cubicBezTo>
                    <a:pt x="23549" y="222562"/>
                    <a:pt x="30484" y="225289"/>
                    <a:pt x="36447" y="222694"/>
                  </a:cubicBezTo>
                  <a:lnTo>
                    <a:pt x="63366" y="211169"/>
                  </a:lnTo>
                  <a:cubicBezTo>
                    <a:pt x="72379" y="223758"/>
                    <a:pt x="83633" y="234575"/>
                    <a:pt x="96564" y="243078"/>
                  </a:cubicBezTo>
                  <a:lnTo>
                    <a:pt x="94471" y="245078"/>
                  </a:lnTo>
                  <a:lnTo>
                    <a:pt x="92854" y="244316"/>
                  </a:lnTo>
                  <a:close/>
                  <a:moveTo>
                    <a:pt x="41583" y="162782"/>
                  </a:moveTo>
                  <a:cubicBezTo>
                    <a:pt x="40387" y="155736"/>
                    <a:pt x="39846" y="148593"/>
                    <a:pt x="39966" y="141446"/>
                  </a:cubicBezTo>
                  <a:cubicBezTo>
                    <a:pt x="40082" y="148513"/>
                    <a:pt x="40815" y="155557"/>
                    <a:pt x="42154" y="162496"/>
                  </a:cubicBezTo>
                  <a:lnTo>
                    <a:pt x="43391" y="169164"/>
                  </a:lnTo>
                  <a:lnTo>
                    <a:pt x="42154" y="166211"/>
                  </a:lnTo>
                  <a:lnTo>
                    <a:pt x="41583" y="162782"/>
                  </a:lnTo>
                  <a:close/>
                  <a:moveTo>
                    <a:pt x="41583" y="122587"/>
                  </a:moveTo>
                  <a:lnTo>
                    <a:pt x="14854" y="111728"/>
                  </a:lnTo>
                  <a:cubicBezTo>
                    <a:pt x="9651" y="109777"/>
                    <a:pt x="6491" y="104477"/>
                    <a:pt x="7245" y="98965"/>
                  </a:cubicBezTo>
                  <a:cubicBezTo>
                    <a:pt x="7691" y="103242"/>
                    <a:pt x="10478" y="106914"/>
                    <a:pt x="14474" y="108490"/>
                  </a:cubicBezTo>
                  <a:lnTo>
                    <a:pt x="43010" y="119824"/>
                  </a:lnTo>
                  <a:lnTo>
                    <a:pt x="41964" y="122968"/>
                  </a:lnTo>
                  <a:close/>
                  <a:moveTo>
                    <a:pt x="91617" y="42386"/>
                  </a:moveTo>
                  <a:lnTo>
                    <a:pt x="80488" y="15335"/>
                  </a:lnTo>
                  <a:cubicBezTo>
                    <a:pt x="79625" y="13326"/>
                    <a:pt x="79361" y="11110"/>
                    <a:pt x="79727" y="8953"/>
                  </a:cubicBezTo>
                  <a:cubicBezTo>
                    <a:pt x="79831" y="9940"/>
                    <a:pt x="80087" y="10904"/>
                    <a:pt x="80488" y="11811"/>
                  </a:cubicBezTo>
                  <a:lnTo>
                    <a:pt x="94376" y="44291"/>
                  </a:lnTo>
                  <a:lnTo>
                    <a:pt x="91998" y="42386"/>
                  </a:lnTo>
                  <a:close/>
                  <a:moveTo>
                    <a:pt x="144505" y="97726"/>
                  </a:moveTo>
                  <a:cubicBezTo>
                    <a:pt x="169380" y="87075"/>
                    <a:pt x="198168" y="98631"/>
                    <a:pt x="208807" y="123539"/>
                  </a:cubicBezTo>
                  <a:cubicBezTo>
                    <a:pt x="211149" y="129065"/>
                    <a:pt x="212470" y="134971"/>
                    <a:pt x="212707" y="140970"/>
                  </a:cubicBezTo>
                  <a:cubicBezTo>
                    <a:pt x="212902" y="133787"/>
                    <a:pt x="211573" y="126645"/>
                    <a:pt x="208807" y="120015"/>
                  </a:cubicBezTo>
                  <a:cubicBezTo>
                    <a:pt x="198139" y="95118"/>
                    <a:pt x="169336" y="83595"/>
                    <a:pt x="144473" y="94276"/>
                  </a:cubicBezTo>
                  <a:cubicBezTo>
                    <a:pt x="125931" y="102242"/>
                    <a:pt x="114163" y="120777"/>
                    <a:pt x="114827" y="140970"/>
                  </a:cubicBezTo>
                  <a:cubicBezTo>
                    <a:pt x="115542" y="122024"/>
                    <a:pt x="127098" y="105186"/>
                    <a:pt x="144505" y="97726"/>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25" name="Freeform 24">
              <a:extLst>
                <a:ext uri="{FF2B5EF4-FFF2-40B4-BE49-F238E27FC236}">
                  <a16:creationId xmlns="" xmlns:a16="http://schemas.microsoft.com/office/drawing/2014/main" id="{8AB6B8E3-952B-8348-8C00-DA3BE596B26D}"/>
                </a:ext>
              </a:extLst>
            </p:cNvPr>
            <p:cNvSpPr/>
            <p:nvPr/>
          </p:nvSpPr>
          <p:spPr>
            <a:xfrm>
              <a:off x="5090061" y="3286809"/>
              <a:ext cx="367617" cy="368113"/>
            </a:xfrm>
            <a:custGeom>
              <a:avLst/>
              <a:gdLst>
                <a:gd name="connsiteX0" fmla="*/ 86518 w 323412"/>
                <a:gd name="connsiteY0" fmla="*/ 20718 h 323850"/>
                <a:gd name="connsiteX1" fmla="*/ 113438 w 323412"/>
                <a:gd name="connsiteY1" fmla="*/ 9097 h 323850"/>
                <a:gd name="connsiteX2" fmla="*/ 128942 w 323412"/>
                <a:gd name="connsiteY2" fmla="*/ 15288 h 323850"/>
                <a:gd name="connsiteX3" fmla="*/ 140737 w 323412"/>
                <a:gd name="connsiteY3" fmla="*/ 42244 h 323850"/>
                <a:gd name="connsiteX4" fmla="*/ 184113 w 323412"/>
                <a:gd name="connsiteY4" fmla="*/ 41768 h 323850"/>
                <a:gd name="connsiteX5" fmla="*/ 195052 w 323412"/>
                <a:gd name="connsiteY5" fmla="*/ 14526 h 323850"/>
                <a:gd name="connsiteX6" fmla="*/ 210271 w 323412"/>
                <a:gd name="connsiteY6" fmla="*/ 7954 h 323850"/>
                <a:gd name="connsiteX7" fmla="*/ 237571 w 323412"/>
                <a:gd name="connsiteY7" fmla="*/ 18908 h 323850"/>
                <a:gd name="connsiteX8" fmla="*/ 244134 w 323412"/>
                <a:gd name="connsiteY8" fmla="*/ 34243 h 323850"/>
                <a:gd name="connsiteX9" fmla="*/ 233196 w 323412"/>
                <a:gd name="connsiteY9" fmla="*/ 61485 h 323850"/>
                <a:gd name="connsiteX10" fmla="*/ 264395 w 323412"/>
                <a:gd name="connsiteY10" fmla="*/ 91774 h 323850"/>
                <a:gd name="connsiteX11" fmla="*/ 291315 w 323412"/>
                <a:gd name="connsiteY11" fmla="*/ 80249 h 323850"/>
                <a:gd name="connsiteX12" fmla="*/ 306724 w 323412"/>
                <a:gd name="connsiteY12" fmla="*/ 86440 h 323850"/>
                <a:gd name="connsiteX13" fmla="*/ 318234 w 323412"/>
                <a:gd name="connsiteY13" fmla="*/ 113491 h 323850"/>
                <a:gd name="connsiteX14" fmla="*/ 312066 w 323412"/>
                <a:gd name="connsiteY14" fmla="*/ 129011 h 323850"/>
                <a:gd name="connsiteX15" fmla="*/ 312051 w 323412"/>
                <a:gd name="connsiteY15" fmla="*/ 129017 h 323850"/>
                <a:gd name="connsiteX16" fmla="*/ 284751 w 323412"/>
                <a:gd name="connsiteY16" fmla="*/ 140733 h 323850"/>
                <a:gd name="connsiteX17" fmla="*/ 285322 w 323412"/>
                <a:gd name="connsiteY17" fmla="*/ 184167 h 323850"/>
                <a:gd name="connsiteX18" fmla="*/ 312432 w 323412"/>
                <a:gd name="connsiteY18" fmla="*/ 195120 h 323850"/>
                <a:gd name="connsiteX19" fmla="*/ 318995 w 323412"/>
                <a:gd name="connsiteY19" fmla="*/ 210360 h 323850"/>
                <a:gd name="connsiteX20" fmla="*/ 308056 w 323412"/>
                <a:gd name="connsiteY20" fmla="*/ 237697 h 323850"/>
                <a:gd name="connsiteX21" fmla="*/ 292837 w 323412"/>
                <a:gd name="connsiteY21" fmla="*/ 244269 h 323850"/>
                <a:gd name="connsiteX22" fmla="*/ 265632 w 323412"/>
                <a:gd name="connsiteY22" fmla="*/ 233316 h 323850"/>
                <a:gd name="connsiteX23" fmla="*/ 235288 w 323412"/>
                <a:gd name="connsiteY23" fmla="*/ 264558 h 323850"/>
                <a:gd name="connsiteX24" fmla="*/ 246798 w 323412"/>
                <a:gd name="connsiteY24" fmla="*/ 291513 h 323850"/>
                <a:gd name="connsiteX25" fmla="*/ 240690 w 323412"/>
                <a:gd name="connsiteY25" fmla="*/ 306912 h 323850"/>
                <a:gd name="connsiteX26" fmla="*/ 240615 w 323412"/>
                <a:gd name="connsiteY26" fmla="*/ 306944 h 323850"/>
                <a:gd name="connsiteX27" fmla="*/ 213601 w 323412"/>
                <a:gd name="connsiteY27" fmla="*/ 318469 h 323850"/>
                <a:gd name="connsiteX28" fmla="*/ 198064 w 323412"/>
                <a:gd name="connsiteY28" fmla="*/ 312771 h 323850"/>
                <a:gd name="connsiteX29" fmla="*/ 197810 w 323412"/>
                <a:gd name="connsiteY29" fmla="*/ 312183 h 323850"/>
                <a:gd name="connsiteX30" fmla="*/ 186301 w 323412"/>
                <a:gd name="connsiteY30" fmla="*/ 285227 h 323850"/>
                <a:gd name="connsiteX31" fmla="*/ 142830 w 323412"/>
                <a:gd name="connsiteY31" fmla="*/ 285703 h 323850"/>
                <a:gd name="connsiteX32" fmla="*/ 131986 w 323412"/>
                <a:gd name="connsiteY32" fmla="*/ 312945 h 323850"/>
                <a:gd name="connsiteX33" fmla="*/ 116672 w 323412"/>
                <a:gd name="connsiteY33" fmla="*/ 319517 h 323850"/>
                <a:gd name="connsiteX34" fmla="*/ 89467 w 323412"/>
                <a:gd name="connsiteY34" fmla="*/ 308563 h 323850"/>
                <a:gd name="connsiteX35" fmla="*/ 83665 w 323412"/>
                <a:gd name="connsiteY35" fmla="*/ 293133 h 323850"/>
                <a:gd name="connsiteX36" fmla="*/ 94508 w 323412"/>
                <a:gd name="connsiteY36" fmla="*/ 265891 h 323850"/>
                <a:gd name="connsiteX37" fmla="*/ 63118 w 323412"/>
                <a:gd name="connsiteY37" fmla="*/ 235983 h 323850"/>
                <a:gd name="connsiteX38" fmla="*/ 36104 w 323412"/>
                <a:gd name="connsiteY38" fmla="*/ 247032 h 323850"/>
                <a:gd name="connsiteX39" fmla="*/ 20726 w 323412"/>
                <a:gd name="connsiteY39" fmla="*/ 240916 h 323850"/>
                <a:gd name="connsiteX40" fmla="*/ 20694 w 323412"/>
                <a:gd name="connsiteY40" fmla="*/ 240840 h 323850"/>
                <a:gd name="connsiteX41" fmla="*/ 9089 w 323412"/>
                <a:gd name="connsiteY41" fmla="*/ 213789 h 323850"/>
                <a:gd name="connsiteX42" fmla="*/ 15197 w 323412"/>
                <a:gd name="connsiteY42" fmla="*/ 198391 h 323850"/>
                <a:gd name="connsiteX43" fmla="*/ 15272 w 323412"/>
                <a:gd name="connsiteY43" fmla="*/ 198359 h 323850"/>
                <a:gd name="connsiteX44" fmla="*/ 42192 w 323412"/>
                <a:gd name="connsiteY44" fmla="*/ 186834 h 323850"/>
                <a:gd name="connsiteX45" fmla="*/ 41716 w 323412"/>
                <a:gd name="connsiteY45" fmla="*/ 143304 h 323850"/>
                <a:gd name="connsiteX46" fmla="*/ 14511 w 323412"/>
                <a:gd name="connsiteY46" fmla="*/ 132446 h 323850"/>
                <a:gd name="connsiteX47" fmla="*/ 7948 w 323412"/>
                <a:gd name="connsiteY47" fmla="*/ 117111 h 323850"/>
                <a:gd name="connsiteX48" fmla="*/ 18887 w 323412"/>
                <a:gd name="connsiteY48" fmla="*/ 89774 h 323850"/>
                <a:gd name="connsiteX49" fmla="*/ 34201 w 323412"/>
                <a:gd name="connsiteY49" fmla="*/ 83297 h 323850"/>
                <a:gd name="connsiteX50" fmla="*/ 61406 w 323412"/>
                <a:gd name="connsiteY50" fmla="*/ 94155 h 323850"/>
                <a:gd name="connsiteX51" fmla="*/ 91750 w 323412"/>
                <a:gd name="connsiteY51" fmla="*/ 63104 h 323850"/>
                <a:gd name="connsiteX52" fmla="*/ 80335 w 323412"/>
                <a:gd name="connsiteY52" fmla="*/ 35958 h 323850"/>
                <a:gd name="connsiteX53" fmla="*/ 86443 w 323412"/>
                <a:gd name="connsiteY53" fmla="*/ 20559 h 323850"/>
                <a:gd name="connsiteX54" fmla="*/ 86518 w 323412"/>
                <a:gd name="connsiteY54" fmla="*/ 20527 h 323850"/>
                <a:gd name="connsiteX55" fmla="*/ 144257 w 323412"/>
                <a:gd name="connsiteY55" fmla="*/ 118539 h 323850"/>
                <a:gd name="connsiteX56" fmla="*/ 118476 w 323412"/>
                <a:gd name="connsiteY56" fmla="*/ 182930 h 323850"/>
                <a:gd name="connsiteX57" fmla="*/ 182780 w 323412"/>
                <a:gd name="connsiteY57" fmla="*/ 208745 h 323850"/>
                <a:gd name="connsiteX58" fmla="*/ 208560 w 323412"/>
                <a:gd name="connsiteY58" fmla="*/ 144355 h 323850"/>
                <a:gd name="connsiteX59" fmla="*/ 208559 w 323412"/>
                <a:gd name="connsiteY59" fmla="*/ 144352 h 323850"/>
                <a:gd name="connsiteX60" fmla="*/ 144257 w 323412"/>
                <a:gd name="connsiteY60" fmla="*/ 118539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23412" h="323850">
                  <a:moveTo>
                    <a:pt x="86518" y="20718"/>
                  </a:moveTo>
                  <a:lnTo>
                    <a:pt x="113438" y="9097"/>
                  </a:lnTo>
                  <a:cubicBezTo>
                    <a:pt x="119427" y="6571"/>
                    <a:pt x="126333" y="9328"/>
                    <a:pt x="128942" y="15288"/>
                  </a:cubicBezTo>
                  <a:lnTo>
                    <a:pt x="140737" y="42244"/>
                  </a:lnTo>
                  <a:cubicBezTo>
                    <a:pt x="155055" y="39527"/>
                    <a:pt x="169739" y="39366"/>
                    <a:pt x="184113" y="41768"/>
                  </a:cubicBezTo>
                  <a:lnTo>
                    <a:pt x="195052" y="14526"/>
                  </a:lnTo>
                  <a:cubicBezTo>
                    <a:pt x="197474" y="8534"/>
                    <a:pt x="204257" y="5605"/>
                    <a:pt x="210271" y="7954"/>
                  </a:cubicBezTo>
                  <a:lnTo>
                    <a:pt x="237571" y="18908"/>
                  </a:lnTo>
                  <a:cubicBezTo>
                    <a:pt x="243568" y="21373"/>
                    <a:pt x="246487" y="28194"/>
                    <a:pt x="244134" y="34243"/>
                  </a:cubicBezTo>
                  <a:lnTo>
                    <a:pt x="233196" y="61485"/>
                  </a:lnTo>
                  <a:cubicBezTo>
                    <a:pt x="245300" y="69658"/>
                    <a:pt x="255862" y="79913"/>
                    <a:pt x="264395" y="91774"/>
                  </a:cubicBezTo>
                  <a:lnTo>
                    <a:pt x="291315" y="80249"/>
                  </a:lnTo>
                  <a:cubicBezTo>
                    <a:pt x="297278" y="77785"/>
                    <a:pt x="304116" y="80532"/>
                    <a:pt x="306724" y="86440"/>
                  </a:cubicBezTo>
                  <a:lnTo>
                    <a:pt x="318234" y="113491"/>
                  </a:lnTo>
                  <a:cubicBezTo>
                    <a:pt x="320811" y="119482"/>
                    <a:pt x="318049" y="126431"/>
                    <a:pt x="312066" y="129011"/>
                  </a:cubicBezTo>
                  <a:cubicBezTo>
                    <a:pt x="312061" y="129013"/>
                    <a:pt x="312056" y="129015"/>
                    <a:pt x="312051" y="129017"/>
                  </a:cubicBezTo>
                  <a:lnTo>
                    <a:pt x="284751" y="140733"/>
                  </a:lnTo>
                  <a:cubicBezTo>
                    <a:pt x="287496" y="155064"/>
                    <a:pt x="287689" y="169768"/>
                    <a:pt x="285322" y="184167"/>
                  </a:cubicBezTo>
                  <a:lnTo>
                    <a:pt x="312432" y="195120"/>
                  </a:lnTo>
                  <a:cubicBezTo>
                    <a:pt x="318416" y="197546"/>
                    <a:pt x="321341" y="204338"/>
                    <a:pt x="318995" y="210360"/>
                  </a:cubicBezTo>
                  <a:lnTo>
                    <a:pt x="308056" y="237697"/>
                  </a:lnTo>
                  <a:cubicBezTo>
                    <a:pt x="305634" y="243689"/>
                    <a:pt x="298851" y="246618"/>
                    <a:pt x="292837" y="244269"/>
                  </a:cubicBezTo>
                  <a:lnTo>
                    <a:pt x="265632" y="233316"/>
                  </a:lnTo>
                  <a:cubicBezTo>
                    <a:pt x="257442" y="245444"/>
                    <a:pt x="247168" y="256022"/>
                    <a:pt x="235288" y="264558"/>
                  </a:cubicBezTo>
                  <a:lnTo>
                    <a:pt x="246798" y="291513"/>
                  </a:lnTo>
                  <a:cubicBezTo>
                    <a:pt x="249358" y="297454"/>
                    <a:pt x="246623" y="304349"/>
                    <a:pt x="240690" y="306912"/>
                  </a:cubicBezTo>
                  <a:cubicBezTo>
                    <a:pt x="240665" y="306923"/>
                    <a:pt x="240640" y="306933"/>
                    <a:pt x="240615" y="306944"/>
                  </a:cubicBezTo>
                  <a:lnTo>
                    <a:pt x="213601" y="318469"/>
                  </a:lnTo>
                  <a:cubicBezTo>
                    <a:pt x="207739" y="321192"/>
                    <a:pt x="200783" y="318641"/>
                    <a:pt x="198064" y="312771"/>
                  </a:cubicBezTo>
                  <a:cubicBezTo>
                    <a:pt x="197974" y="312577"/>
                    <a:pt x="197889" y="312381"/>
                    <a:pt x="197810" y="312183"/>
                  </a:cubicBezTo>
                  <a:lnTo>
                    <a:pt x="186301" y="285227"/>
                  </a:lnTo>
                  <a:cubicBezTo>
                    <a:pt x="171957" y="288002"/>
                    <a:pt x="157231" y="288163"/>
                    <a:pt x="142830" y="285703"/>
                  </a:cubicBezTo>
                  <a:lnTo>
                    <a:pt x="131986" y="312945"/>
                  </a:lnTo>
                  <a:cubicBezTo>
                    <a:pt x="129524" y="318949"/>
                    <a:pt x="122712" y="321873"/>
                    <a:pt x="116672" y="319517"/>
                  </a:cubicBezTo>
                  <a:lnTo>
                    <a:pt x="89467" y="308563"/>
                  </a:lnTo>
                  <a:cubicBezTo>
                    <a:pt x="83634" y="305884"/>
                    <a:pt x="81045" y="298999"/>
                    <a:pt x="83665" y="293133"/>
                  </a:cubicBezTo>
                  <a:lnTo>
                    <a:pt x="94508" y="265891"/>
                  </a:lnTo>
                  <a:cubicBezTo>
                    <a:pt x="82347" y="257876"/>
                    <a:pt x="71716" y="247747"/>
                    <a:pt x="63118" y="235983"/>
                  </a:cubicBezTo>
                  <a:lnTo>
                    <a:pt x="36104" y="247032"/>
                  </a:lnTo>
                  <a:cubicBezTo>
                    <a:pt x="30171" y="249595"/>
                    <a:pt x="23286" y="246857"/>
                    <a:pt x="20726" y="240916"/>
                  </a:cubicBezTo>
                  <a:cubicBezTo>
                    <a:pt x="20716" y="240891"/>
                    <a:pt x="20705" y="240865"/>
                    <a:pt x="20694" y="240840"/>
                  </a:cubicBezTo>
                  <a:lnTo>
                    <a:pt x="9089" y="213789"/>
                  </a:lnTo>
                  <a:cubicBezTo>
                    <a:pt x="6530" y="207848"/>
                    <a:pt x="9264" y="200954"/>
                    <a:pt x="15197" y="198391"/>
                  </a:cubicBezTo>
                  <a:cubicBezTo>
                    <a:pt x="15222" y="198380"/>
                    <a:pt x="15247" y="198369"/>
                    <a:pt x="15272" y="198359"/>
                  </a:cubicBezTo>
                  <a:lnTo>
                    <a:pt x="42192" y="186834"/>
                  </a:lnTo>
                  <a:cubicBezTo>
                    <a:pt x="39467" y="172466"/>
                    <a:pt x="39306" y="157728"/>
                    <a:pt x="41716" y="143304"/>
                  </a:cubicBezTo>
                  <a:lnTo>
                    <a:pt x="14511" y="132446"/>
                  </a:lnTo>
                  <a:cubicBezTo>
                    <a:pt x="8514" y="129980"/>
                    <a:pt x="5595" y="123159"/>
                    <a:pt x="7948" y="117111"/>
                  </a:cubicBezTo>
                  <a:lnTo>
                    <a:pt x="18887" y="89774"/>
                  </a:lnTo>
                  <a:cubicBezTo>
                    <a:pt x="21346" y="83767"/>
                    <a:pt x="28186" y="80874"/>
                    <a:pt x="34201" y="83297"/>
                  </a:cubicBezTo>
                  <a:lnTo>
                    <a:pt x="61406" y="94155"/>
                  </a:lnTo>
                  <a:cubicBezTo>
                    <a:pt x="69560" y="82051"/>
                    <a:pt x="79841" y="71529"/>
                    <a:pt x="91750" y="63104"/>
                  </a:cubicBezTo>
                  <a:lnTo>
                    <a:pt x="80335" y="35958"/>
                  </a:lnTo>
                  <a:cubicBezTo>
                    <a:pt x="77776" y="30017"/>
                    <a:pt x="80510" y="23122"/>
                    <a:pt x="86443" y="20559"/>
                  </a:cubicBezTo>
                  <a:cubicBezTo>
                    <a:pt x="86468" y="20548"/>
                    <a:pt x="86493" y="20538"/>
                    <a:pt x="86518" y="20527"/>
                  </a:cubicBezTo>
                  <a:close/>
                  <a:moveTo>
                    <a:pt x="144257" y="118539"/>
                  </a:moveTo>
                  <a:cubicBezTo>
                    <a:pt x="119381" y="129191"/>
                    <a:pt x="107838" y="158020"/>
                    <a:pt x="118476" y="182930"/>
                  </a:cubicBezTo>
                  <a:cubicBezTo>
                    <a:pt x="129114" y="207839"/>
                    <a:pt x="157903" y="219397"/>
                    <a:pt x="182780" y="208745"/>
                  </a:cubicBezTo>
                  <a:cubicBezTo>
                    <a:pt x="207656" y="198093"/>
                    <a:pt x="219198" y="169265"/>
                    <a:pt x="208560" y="144355"/>
                  </a:cubicBezTo>
                  <a:cubicBezTo>
                    <a:pt x="208560" y="144354"/>
                    <a:pt x="208559" y="144353"/>
                    <a:pt x="208559" y="144352"/>
                  </a:cubicBezTo>
                  <a:cubicBezTo>
                    <a:pt x="197881" y="119485"/>
                    <a:pt x="169133" y="107944"/>
                    <a:pt x="144257" y="118539"/>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26" name="Freeform 25">
              <a:extLst>
                <a:ext uri="{FF2B5EF4-FFF2-40B4-BE49-F238E27FC236}">
                  <a16:creationId xmlns="" xmlns:a16="http://schemas.microsoft.com/office/drawing/2014/main" id="{2E731037-0EA6-F24E-8D90-F130A84AA611}"/>
                </a:ext>
              </a:extLst>
            </p:cNvPr>
            <p:cNvSpPr/>
            <p:nvPr/>
          </p:nvSpPr>
          <p:spPr>
            <a:xfrm>
              <a:off x="5090407" y="3286809"/>
              <a:ext cx="367617" cy="346460"/>
            </a:xfrm>
            <a:custGeom>
              <a:avLst/>
              <a:gdLst>
                <a:gd name="connsiteX0" fmla="*/ 86213 w 323412"/>
                <a:gd name="connsiteY0" fmla="*/ 20622 h 304800"/>
                <a:gd name="connsiteX1" fmla="*/ 113228 w 323412"/>
                <a:gd name="connsiteY1" fmla="*/ 9097 h 304800"/>
                <a:gd name="connsiteX2" fmla="*/ 128637 w 323412"/>
                <a:gd name="connsiteY2" fmla="*/ 15288 h 304800"/>
                <a:gd name="connsiteX3" fmla="*/ 140432 w 323412"/>
                <a:gd name="connsiteY3" fmla="*/ 42244 h 304800"/>
                <a:gd name="connsiteX4" fmla="*/ 183808 w 323412"/>
                <a:gd name="connsiteY4" fmla="*/ 41768 h 304800"/>
                <a:gd name="connsiteX5" fmla="*/ 194747 w 323412"/>
                <a:gd name="connsiteY5" fmla="*/ 14526 h 304800"/>
                <a:gd name="connsiteX6" fmla="*/ 209966 w 323412"/>
                <a:gd name="connsiteY6" fmla="*/ 7954 h 304800"/>
                <a:gd name="connsiteX7" fmla="*/ 237266 w 323412"/>
                <a:gd name="connsiteY7" fmla="*/ 18908 h 304800"/>
                <a:gd name="connsiteX8" fmla="*/ 244495 w 323412"/>
                <a:gd name="connsiteY8" fmla="*/ 31671 h 304800"/>
                <a:gd name="connsiteX9" fmla="*/ 237266 w 323412"/>
                <a:gd name="connsiteY9" fmla="*/ 22146 h 304800"/>
                <a:gd name="connsiteX10" fmla="*/ 209966 w 323412"/>
                <a:gd name="connsiteY10" fmla="*/ 11193 h 304800"/>
                <a:gd name="connsiteX11" fmla="*/ 194747 w 323412"/>
                <a:gd name="connsiteY11" fmla="*/ 17765 h 304800"/>
                <a:gd name="connsiteX12" fmla="*/ 183522 w 323412"/>
                <a:gd name="connsiteY12" fmla="*/ 45483 h 304800"/>
                <a:gd name="connsiteX13" fmla="*/ 140432 w 323412"/>
                <a:gd name="connsiteY13" fmla="*/ 45483 h 304800"/>
                <a:gd name="connsiteX14" fmla="*/ 128923 w 323412"/>
                <a:gd name="connsiteY14" fmla="*/ 18527 h 304800"/>
                <a:gd name="connsiteX15" fmla="*/ 113513 w 323412"/>
                <a:gd name="connsiteY15" fmla="*/ 12336 h 304800"/>
                <a:gd name="connsiteX16" fmla="*/ 86499 w 323412"/>
                <a:gd name="connsiteY16" fmla="*/ 23861 h 304800"/>
                <a:gd name="connsiteX17" fmla="*/ 79840 w 323412"/>
                <a:gd name="connsiteY17" fmla="*/ 31195 h 304800"/>
                <a:gd name="connsiteX18" fmla="*/ 79840 w 323412"/>
                <a:gd name="connsiteY18" fmla="*/ 28623 h 304800"/>
                <a:gd name="connsiteX19" fmla="*/ 86689 w 323412"/>
                <a:gd name="connsiteY19" fmla="*/ 20337 h 304800"/>
                <a:gd name="connsiteX20" fmla="*/ 233747 w 323412"/>
                <a:gd name="connsiteY20" fmla="*/ 62247 h 304800"/>
                <a:gd name="connsiteX21" fmla="*/ 263710 w 323412"/>
                <a:gd name="connsiteY21" fmla="*/ 91774 h 304800"/>
                <a:gd name="connsiteX22" fmla="*/ 290629 w 323412"/>
                <a:gd name="connsiteY22" fmla="*/ 80249 h 304800"/>
                <a:gd name="connsiteX23" fmla="*/ 306039 w 323412"/>
                <a:gd name="connsiteY23" fmla="*/ 86440 h 304800"/>
                <a:gd name="connsiteX24" fmla="*/ 317549 w 323412"/>
                <a:gd name="connsiteY24" fmla="*/ 113491 h 304800"/>
                <a:gd name="connsiteX25" fmla="*/ 318405 w 323412"/>
                <a:gd name="connsiteY25" fmla="*/ 119873 h 304800"/>
                <a:gd name="connsiteX26" fmla="*/ 317549 w 323412"/>
                <a:gd name="connsiteY26" fmla="*/ 117015 h 304800"/>
                <a:gd name="connsiteX27" fmla="*/ 306039 w 323412"/>
                <a:gd name="connsiteY27" fmla="*/ 89964 h 304800"/>
                <a:gd name="connsiteX28" fmla="*/ 290629 w 323412"/>
                <a:gd name="connsiteY28" fmla="*/ 83773 h 304800"/>
                <a:gd name="connsiteX29" fmla="*/ 264090 w 323412"/>
                <a:gd name="connsiteY29" fmla="*/ 95298 h 304800"/>
                <a:gd name="connsiteX30" fmla="*/ 232986 w 323412"/>
                <a:gd name="connsiteY30" fmla="*/ 65009 h 304800"/>
                <a:gd name="connsiteX31" fmla="*/ 230703 w 323412"/>
                <a:gd name="connsiteY31" fmla="*/ 63485 h 304800"/>
                <a:gd name="connsiteX32" fmla="*/ 232986 w 323412"/>
                <a:gd name="connsiteY32" fmla="*/ 61485 h 304800"/>
                <a:gd name="connsiteX33" fmla="*/ 234127 w 323412"/>
                <a:gd name="connsiteY33" fmla="*/ 62247 h 304800"/>
                <a:gd name="connsiteX34" fmla="*/ 285017 w 323412"/>
                <a:gd name="connsiteY34" fmla="*/ 143781 h 304800"/>
                <a:gd name="connsiteX35" fmla="*/ 286634 w 323412"/>
                <a:gd name="connsiteY35" fmla="*/ 165212 h 304800"/>
                <a:gd name="connsiteX36" fmla="*/ 284446 w 323412"/>
                <a:gd name="connsiteY36" fmla="*/ 144066 h 304800"/>
                <a:gd name="connsiteX37" fmla="*/ 283305 w 323412"/>
                <a:gd name="connsiteY37" fmla="*/ 137589 h 304800"/>
                <a:gd name="connsiteX38" fmla="*/ 284446 w 323412"/>
                <a:gd name="connsiteY38" fmla="*/ 140447 h 304800"/>
                <a:gd name="connsiteX39" fmla="*/ 285017 w 323412"/>
                <a:gd name="connsiteY39" fmla="*/ 143781 h 304800"/>
                <a:gd name="connsiteX40" fmla="*/ 285017 w 323412"/>
                <a:gd name="connsiteY40" fmla="*/ 183881 h 304800"/>
                <a:gd name="connsiteX41" fmla="*/ 312507 w 323412"/>
                <a:gd name="connsiteY41" fmla="*/ 194835 h 304800"/>
                <a:gd name="connsiteX42" fmla="*/ 319831 w 323412"/>
                <a:gd name="connsiteY42" fmla="*/ 207598 h 304800"/>
                <a:gd name="connsiteX43" fmla="*/ 312507 w 323412"/>
                <a:gd name="connsiteY43" fmla="*/ 198073 h 304800"/>
                <a:gd name="connsiteX44" fmla="*/ 284541 w 323412"/>
                <a:gd name="connsiteY44" fmla="*/ 186929 h 304800"/>
                <a:gd name="connsiteX45" fmla="*/ 284541 w 323412"/>
                <a:gd name="connsiteY45" fmla="*/ 183595 h 304800"/>
                <a:gd name="connsiteX46" fmla="*/ 234222 w 323412"/>
                <a:gd name="connsiteY46" fmla="*/ 261700 h 304800"/>
                <a:gd name="connsiteX47" fmla="*/ 246873 w 323412"/>
                <a:gd name="connsiteY47" fmla="*/ 291228 h 304800"/>
                <a:gd name="connsiteX48" fmla="*/ 247634 w 323412"/>
                <a:gd name="connsiteY48" fmla="*/ 297514 h 304800"/>
                <a:gd name="connsiteX49" fmla="*/ 246873 w 323412"/>
                <a:gd name="connsiteY49" fmla="*/ 294752 h 304800"/>
                <a:gd name="connsiteX50" fmla="*/ 233081 w 323412"/>
                <a:gd name="connsiteY50" fmla="*/ 262462 h 304800"/>
                <a:gd name="connsiteX51" fmla="*/ 234222 w 323412"/>
                <a:gd name="connsiteY51" fmla="*/ 261700 h 304800"/>
                <a:gd name="connsiteX52" fmla="*/ 82599 w 323412"/>
                <a:gd name="connsiteY52" fmla="*/ 299133 h 304800"/>
                <a:gd name="connsiteX53" fmla="*/ 83360 w 323412"/>
                <a:gd name="connsiteY53" fmla="*/ 293133 h 304800"/>
                <a:gd name="connsiteX54" fmla="*/ 95345 w 323412"/>
                <a:gd name="connsiteY54" fmla="*/ 263129 h 304800"/>
                <a:gd name="connsiteX55" fmla="*/ 96391 w 323412"/>
                <a:gd name="connsiteY55" fmla="*/ 263891 h 304800"/>
                <a:gd name="connsiteX56" fmla="*/ 83360 w 323412"/>
                <a:gd name="connsiteY56" fmla="*/ 296657 h 304800"/>
                <a:gd name="connsiteX57" fmla="*/ 82599 w 323412"/>
                <a:gd name="connsiteY57" fmla="*/ 299133 h 304800"/>
                <a:gd name="connsiteX58" fmla="*/ 8499 w 323412"/>
                <a:gd name="connsiteY58" fmla="*/ 210932 h 304800"/>
                <a:gd name="connsiteX59" fmla="*/ 15443 w 323412"/>
                <a:gd name="connsiteY59" fmla="*/ 198359 h 304800"/>
                <a:gd name="connsiteX60" fmla="*/ 42838 w 323412"/>
                <a:gd name="connsiteY60" fmla="*/ 186643 h 304800"/>
                <a:gd name="connsiteX61" fmla="*/ 43599 w 323412"/>
                <a:gd name="connsiteY61" fmla="*/ 189786 h 304800"/>
                <a:gd name="connsiteX62" fmla="*/ 15062 w 323412"/>
                <a:gd name="connsiteY62" fmla="*/ 201883 h 304800"/>
                <a:gd name="connsiteX63" fmla="*/ 8119 w 323412"/>
                <a:gd name="connsiteY63" fmla="*/ 210932 h 304800"/>
                <a:gd name="connsiteX64" fmla="*/ 40174 w 323412"/>
                <a:gd name="connsiteY64" fmla="*/ 165593 h 304800"/>
                <a:gd name="connsiteX65" fmla="*/ 41411 w 323412"/>
                <a:gd name="connsiteY65" fmla="*/ 146543 h 304800"/>
                <a:gd name="connsiteX66" fmla="*/ 41411 w 323412"/>
                <a:gd name="connsiteY66" fmla="*/ 143209 h 304800"/>
                <a:gd name="connsiteX67" fmla="*/ 42362 w 323412"/>
                <a:gd name="connsiteY67" fmla="*/ 140066 h 304800"/>
                <a:gd name="connsiteX68" fmla="*/ 41411 w 323412"/>
                <a:gd name="connsiteY68" fmla="*/ 146733 h 304800"/>
                <a:gd name="connsiteX69" fmla="*/ 39699 w 323412"/>
                <a:gd name="connsiteY69" fmla="*/ 165783 h 304800"/>
                <a:gd name="connsiteX70" fmla="*/ 7262 w 323412"/>
                <a:gd name="connsiteY70" fmla="*/ 123207 h 304800"/>
                <a:gd name="connsiteX71" fmla="*/ 7928 w 323412"/>
                <a:gd name="connsiteY71" fmla="*/ 117111 h 304800"/>
                <a:gd name="connsiteX72" fmla="*/ 18867 w 323412"/>
                <a:gd name="connsiteY72" fmla="*/ 89774 h 304800"/>
                <a:gd name="connsiteX73" fmla="*/ 34182 w 323412"/>
                <a:gd name="connsiteY73" fmla="*/ 83297 h 304800"/>
                <a:gd name="connsiteX74" fmla="*/ 61386 w 323412"/>
                <a:gd name="connsiteY74" fmla="*/ 94155 h 304800"/>
                <a:gd name="connsiteX75" fmla="*/ 90494 w 323412"/>
                <a:gd name="connsiteY75" fmla="*/ 63961 h 304800"/>
                <a:gd name="connsiteX76" fmla="*/ 91635 w 323412"/>
                <a:gd name="connsiteY76" fmla="*/ 63104 h 304800"/>
                <a:gd name="connsiteX77" fmla="*/ 94108 w 323412"/>
                <a:gd name="connsiteY77" fmla="*/ 65009 h 304800"/>
                <a:gd name="connsiteX78" fmla="*/ 91730 w 323412"/>
                <a:gd name="connsiteY78" fmla="*/ 66628 h 304800"/>
                <a:gd name="connsiteX79" fmla="*/ 61386 w 323412"/>
                <a:gd name="connsiteY79" fmla="*/ 97680 h 304800"/>
                <a:gd name="connsiteX80" fmla="*/ 34182 w 323412"/>
                <a:gd name="connsiteY80" fmla="*/ 86821 h 304800"/>
                <a:gd name="connsiteX81" fmla="*/ 18867 w 323412"/>
                <a:gd name="connsiteY81" fmla="*/ 93298 h 304800"/>
                <a:gd name="connsiteX82" fmla="*/ 7928 w 323412"/>
                <a:gd name="connsiteY82" fmla="*/ 120635 h 304800"/>
                <a:gd name="connsiteX83" fmla="*/ 7262 w 323412"/>
                <a:gd name="connsiteY83" fmla="*/ 123207 h 304800"/>
                <a:gd name="connsiteX84" fmla="*/ 212344 w 323412"/>
                <a:gd name="connsiteY84" fmla="*/ 165307 h 304800"/>
                <a:gd name="connsiteX85" fmla="*/ 161990 w 323412"/>
                <a:gd name="connsiteY85" fmla="*/ 212757 h 304800"/>
                <a:gd name="connsiteX86" fmla="*/ 118459 w 323412"/>
                <a:gd name="connsiteY86" fmla="*/ 182928 h 304800"/>
                <a:gd name="connsiteX87" fmla="*/ 114464 w 323412"/>
                <a:gd name="connsiteY87" fmla="*/ 165402 h 304800"/>
                <a:gd name="connsiteX88" fmla="*/ 118459 w 323412"/>
                <a:gd name="connsiteY88" fmla="*/ 186453 h 304800"/>
                <a:gd name="connsiteX89" fmla="*/ 182526 w 323412"/>
                <a:gd name="connsiteY89" fmla="*/ 212495 h 304800"/>
                <a:gd name="connsiteX90" fmla="*/ 212344 w 323412"/>
                <a:gd name="connsiteY90" fmla="*/ 165307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23412" h="304800">
                  <a:moveTo>
                    <a:pt x="86213" y="20622"/>
                  </a:moveTo>
                  <a:lnTo>
                    <a:pt x="113228" y="9097"/>
                  </a:lnTo>
                  <a:cubicBezTo>
                    <a:pt x="119191" y="6578"/>
                    <a:pt x="126067" y="9341"/>
                    <a:pt x="128637" y="15288"/>
                  </a:cubicBezTo>
                  <a:lnTo>
                    <a:pt x="140432" y="42244"/>
                  </a:lnTo>
                  <a:cubicBezTo>
                    <a:pt x="154750" y="39527"/>
                    <a:pt x="169434" y="39366"/>
                    <a:pt x="183808" y="41768"/>
                  </a:cubicBezTo>
                  <a:lnTo>
                    <a:pt x="194747" y="14526"/>
                  </a:lnTo>
                  <a:cubicBezTo>
                    <a:pt x="197169" y="8534"/>
                    <a:pt x="203952" y="5605"/>
                    <a:pt x="209966" y="7954"/>
                  </a:cubicBezTo>
                  <a:lnTo>
                    <a:pt x="237266" y="18908"/>
                  </a:lnTo>
                  <a:cubicBezTo>
                    <a:pt x="242343" y="20966"/>
                    <a:pt x="245337" y="26252"/>
                    <a:pt x="244495" y="31671"/>
                  </a:cubicBezTo>
                  <a:cubicBezTo>
                    <a:pt x="243988" y="27419"/>
                    <a:pt x="241222" y="23774"/>
                    <a:pt x="237266" y="22146"/>
                  </a:cubicBezTo>
                  <a:lnTo>
                    <a:pt x="209966" y="11193"/>
                  </a:lnTo>
                  <a:cubicBezTo>
                    <a:pt x="203952" y="8844"/>
                    <a:pt x="197169" y="11773"/>
                    <a:pt x="194747" y="17765"/>
                  </a:cubicBezTo>
                  <a:lnTo>
                    <a:pt x="183522" y="45483"/>
                  </a:lnTo>
                  <a:cubicBezTo>
                    <a:pt x="169270" y="42957"/>
                    <a:pt x="154685" y="42957"/>
                    <a:pt x="140432" y="45483"/>
                  </a:cubicBezTo>
                  <a:lnTo>
                    <a:pt x="128923" y="18527"/>
                  </a:lnTo>
                  <a:cubicBezTo>
                    <a:pt x="126352" y="12579"/>
                    <a:pt x="119476" y="9817"/>
                    <a:pt x="113513" y="12336"/>
                  </a:cubicBezTo>
                  <a:lnTo>
                    <a:pt x="86499" y="23861"/>
                  </a:lnTo>
                  <a:cubicBezTo>
                    <a:pt x="83327" y="25231"/>
                    <a:pt x="80901" y="27904"/>
                    <a:pt x="79840" y="31195"/>
                  </a:cubicBezTo>
                  <a:cubicBezTo>
                    <a:pt x="79564" y="30360"/>
                    <a:pt x="79564" y="29458"/>
                    <a:pt x="79840" y="28623"/>
                  </a:cubicBezTo>
                  <a:cubicBezTo>
                    <a:pt x="80676" y="24927"/>
                    <a:pt x="83219" y="21850"/>
                    <a:pt x="86689" y="20337"/>
                  </a:cubicBezTo>
                  <a:close/>
                  <a:moveTo>
                    <a:pt x="233747" y="62247"/>
                  </a:moveTo>
                  <a:cubicBezTo>
                    <a:pt x="245338" y="70312"/>
                    <a:pt x="255471" y="80297"/>
                    <a:pt x="263710" y="91774"/>
                  </a:cubicBezTo>
                  <a:lnTo>
                    <a:pt x="290629" y="80249"/>
                  </a:lnTo>
                  <a:cubicBezTo>
                    <a:pt x="296592" y="77785"/>
                    <a:pt x="303430" y="80532"/>
                    <a:pt x="306039" y="86440"/>
                  </a:cubicBezTo>
                  <a:lnTo>
                    <a:pt x="317549" y="113491"/>
                  </a:lnTo>
                  <a:cubicBezTo>
                    <a:pt x="318434" y="115494"/>
                    <a:pt x="318731" y="117707"/>
                    <a:pt x="318405" y="119873"/>
                  </a:cubicBezTo>
                  <a:cubicBezTo>
                    <a:pt x="318252" y="118885"/>
                    <a:pt x="317964" y="117924"/>
                    <a:pt x="317549" y="117015"/>
                  </a:cubicBezTo>
                  <a:lnTo>
                    <a:pt x="306039" y="89964"/>
                  </a:lnTo>
                  <a:cubicBezTo>
                    <a:pt x="303430" y="84056"/>
                    <a:pt x="296592" y="81309"/>
                    <a:pt x="290629" y="83773"/>
                  </a:cubicBezTo>
                  <a:lnTo>
                    <a:pt x="264090" y="95298"/>
                  </a:lnTo>
                  <a:cubicBezTo>
                    <a:pt x="255586" y="83445"/>
                    <a:pt x="245056" y="73191"/>
                    <a:pt x="232986" y="65009"/>
                  </a:cubicBezTo>
                  <a:lnTo>
                    <a:pt x="230703" y="63485"/>
                  </a:lnTo>
                  <a:lnTo>
                    <a:pt x="232986" y="61485"/>
                  </a:lnTo>
                  <a:lnTo>
                    <a:pt x="234127" y="62247"/>
                  </a:lnTo>
                  <a:close/>
                  <a:moveTo>
                    <a:pt x="285017" y="143781"/>
                  </a:moveTo>
                  <a:cubicBezTo>
                    <a:pt x="286213" y="150859"/>
                    <a:pt x="286755" y="158034"/>
                    <a:pt x="286634" y="165212"/>
                  </a:cubicBezTo>
                  <a:cubicBezTo>
                    <a:pt x="286562" y="158111"/>
                    <a:pt x="285830" y="151032"/>
                    <a:pt x="284446" y="144066"/>
                  </a:cubicBezTo>
                  <a:lnTo>
                    <a:pt x="283305" y="137589"/>
                  </a:lnTo>
                  <a:lnTo>
                    <a:pt x="284446" y="140447"/>
                  </a:lnTo>
                  <a:lnTo>
                    <a:pt x="285017" y="143781"/>
                  </a:lnTo>
                  <a:close/>
                  <a:moveTo>
                    <a:pt x="285017" y="183881"/>
                  </a:moveTo>
                  <a:lnTo>
                    <a:pt x="312507" y="194835"/>
                  </a:lnTo>
                  <a:cubicBezTo>
                    <a:pt x="317597" y="196887"/>
                    <a:pt x="320624" y="202161"/>
                    <a:pt x="319831" y="207598"/>
                  </a:cubicBezTo>
                  <a:cubicBezTo>
                    <a:pt x="319250" y="203347"/>
                    <a:pt x="316463" y="199723"/>
                    <a:pt x="312507" y="198073"/>
                  </a:cubicBezTo>
                  <a:lnTo>
                    <a:pt x="284541" y="186929"/>
                  </a:lnTo>
                  <a:lnTo>
                    <a:pt x="284541" y="183595"/>
                  </a:lnTo>
                  <a:close/>
                  <a:moveTo>
                    <a:pt x="234222" y="261700"/>
                  </a:moveTo>
                  <a:lnTo>
                    <a:pt x="246873" y="291228"/>
                  </a:lnTo>
                  <a:cubicBezTo>
                    <a:pt x="247734" y="293204"/>
                    <a:pt x="247999" y="295389"/>
                    <a:pt x="247634" y="297514"/>
                  </a:cubicBezTo>
                  <a:cubicBezTo>
                    <a:pt x="247521" y="296560"/>
                    <a:pt x="247265" y="295629"/>
                    <a:pt x="246873" y="294752"/>
                  </a:cubicBezTo>
                  <a:lnTo>
                    <a:pt x="233081" y="262462"/>
                  </a:lnTo>
                  <a:lnTo>
                    <a:pt x="234222" y="261700"/>
                  </a:lnTo>
                  <a:close/>
                  <a:moveTo>
                    <a:pt x="82599" y="299133"/>
                  </a:moveTo>
                  <a:cubicBezTo>
                    <a:pt x="82290" y="297101"/>
                    <a:pt x="82553" y="295023"/>
                    <a:pt x="83360" y="293133"/>
                  </a:cubicBezTo>
                  <a:lnTo>
                    <a:pt x="95345" y="263129"/>
                  </a:lnTo>
                  <a:lnTo>
                    <a:pt x="96391" y="263891"/>
                  </a:lnTo>
                  <a:lnTo>
                    <a:pt x="83360" y="296657"/>
                  </a:lnTo>
                  <a:cubicBezTo>
                    <a:pt x="83006" y="297448"/>
                    <a:pt x="82751" y="298280"/>
                    <a:pt x="82599" y="299133"/>
                  </a:cubicBezTo>
                  <a:close/>
                  <a:moveTo>
                    <a:pt x="8499" y="210932"/>
                  </a:moveTo>
                  <a:cubicBezTo>
                    <a:pt x="7639" y="205638"/>
                    <a:pt x="10508" y="200443"/>
                    <a:pt x="15443" y="198359"/>
                  </a:cubicBezTo>
                  <a:lnTo>
                    <a:pt x="42838" y="186643"/>
                  </a:lnTo>
                  <a:lnTo>
                    <a:pt x="43599" y="189786"/>
                  </a:lnTo>
                  <a:lnTo>
                    <a:pt x="15062" y="201883"/>
                  </a:lnTo>
                  <a:cubicBezTo>
                    <a:pt x="11338" y="203490"/>
                    <a:pt x="8711" y="206914"/>
                    <a:pt x="8119" y="210932"/>
                  </a:cubicBezTo>
                  <a:close/>
                  <a:moveTo>
                    <a:pt x="40174" y="165593"/>
                  </a:moveTo>
                  <a:cubicBezTo>
                    <a:pt x="40055" y="159219"/>
                    <a:pt x="40469" y="152847"/>
                    <a:pt x="41411" y="146543"/>
                  </a:cubicBezTo>
                  <a:lnTo>
                    <a:pt x="41411" y="143209"/>
                  </a:lnTo>
                  <a:lnTo>
                    <a:pt x="42362" y="140066"/>
                  </a:lnTo>
                  <a:lnTo>
                    <a:pt x="41411" y="146733"/>
                  </a:lnTo>
                  <a:cubicBezTo>
                    <a:pt x="40350" y="153030"/>
                    <a:pt x="39778" y="159399"/>
                    <a:pt x="39699" y="165783"/>
                  </a:cubicBezTo>
                  <a:close/>
                  <a:moveTo>
                    <a:pt x="7262" y="123207"/>
                  </a:moveTo>
                  <a:cubicBezTo>
                    <a:pt x="6962" y="121151"/>
                    <a:pt x="7191" y="119053"/>
                    <a:pt x="7928" y="117111"/>
                  </a:cubicBezTo>
                  <a:lnTo>
                    <a:pt x="18867" y="89774"/>
                  </a:lnTo>
                  <a:cubicBezTo>
                    <a:pt x="21327" y="83767"/>
                    <a:pt x="28167" y="80874"/>
                    <a:pt x="34182" y="83297"/>
                  </a:cubicBezTo>
                  <a:lnTo>
                    <a:pt x="61386" y="94155"/>
                  </a:lnTo>
                  <a:cubicBezTo>
                    <a:pt x="69272" y="82480"/>
                    <a:pt x="79120" y="72264"/>
                    <a:pt x="90494" y="63961"/>
                  </a:cubicBezTo>
                  <a:lnTo>
                    <a:pt x="91635" y="63104"/>
                  </a:lnTo>
                  <a:lnTo>
                    <a:pt x="94108" y="65009"/>
                  </a:lnTo>
                  <a:lnTo>
                    <a:pt x="91730" y="66628"/>
                  </a:lnTo>
                  <a:cubicBezTo>
                    <a:pt x="79822" y="75054"/>
                    <a:pt x="69540" y="85575"/>
                    <a:pt x="61386" y="97680"/>
                  </a:cubicBezTo>
                  <a:lnTo>
                    <a:pt x="34182" y="86821"/>
                  </a:lnTo>
                  <a:cubicBezTo>
                    <a:pt x="28167" y="84399"/>
                    <a:pt x="21327" y="87291"/>
                    <a:pt x="18867" y="93298"/>
                  </a:cubicBezTo>
                  <a:lnTo>
                    <a:pt x="7928" y="120635"/>
                  </a:lnTo>
                  <a:cubicBezTo>
                    <a:pt x="7618" y="121467"/>
                    <a:pt x="7394" y="122329"/>
                    <a:pt x="7262" y="123207"/>
                  </a:cubicBezTo>
                  <a:close/>
                  <a:moveTo>
                    <a:pt x="212344" y="165307"/>
                  </a:moveTo>
                  <a:cubicBezTo>
                    <a:pt x="211524" y="192334"/>
                    <a:pt x="188980" y="213578"/>
                    <a:pt x="161990" y="212757"/>
                  </a:cubicBezTo>
                  <a:cubicBezTo>
                    <a:pt x="142909" y="212176"/>
                    <a:pt x="125910" y="200528"/>
                    <a:pt x="118459" y="182928"/>
                  </a:cubicBezTo>
                  <a:cubicBezTo>
                    <a:pt x="116044" y="177388"/>
                    <a:pt x="114689" y="171443"/>
                    <a:pt x="114464" y="165402"/>
                  </a:cubicBezTo>
                  <a:cubicBezTo>
                    <a:pt x="114208" y="172630"/>
                    <a:pt x="115573" y="179823"/>
                    <a:pt x="118459" y="186453"/>
                  </a:cubicBezTo>
                  <a:cubicBezTo>
                    <a:pt x="128969" y="211359"/>
                    <a:pt x="157653" y="223019"/>
                    <a:pt x="182526" y="212495"/>
                  </a:cubicBezTo>
                  <a:cubicBezTo>
                    <a:pt x="201327" y="204540"/>
                    <a:pt x="213215" y="185727"/>
                    <a:pt x="212344" y="165307"/>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27" name="Freeform 26">
              <a:extLst>
                <a:ext uri="{FF2B5EF4-FFF2-40B4-BE49-F238E27FC236}">
                  <a16:creationId xmlns="" xmlns:a16="http://schemas.microsoft.com/office/drawing/2014/main" id="{AF5701C9-5775-234D-AA1E-0B52BBC32B23}"/>
                </a:ext>
              </a:extLst>
            </p:cNvPr>
            <p:cNvSpPr/>
            <p:nvPr/>
          </p:nvSpPr>
          <p:spPr>
            <a:xfrm>
              <a:off x="5090068" y="3310683"/>
              <a:ext cx="367617" cy="346460"/>
            </a:xfrm>
            <a:custGeom>
              <a:avLst/>
              <a:gdLst>
                <a:gd name="connsiteX0" fmla="*/ 244508 w 323412"/>
                <a:gd name="connsiteY0" fmla="*/ 7144 h 304800"/>
                <a:gd name="connsiteX1" fmla="*/ 243842 w 323412"/>
                <a:gd name="connsiteY1" fmla="*/ 13240 h 304800"/>
                <a:gd name="connsiteX2" fmla="*/ 232903 w 323412"/>
                <a:gd name="connsiteY2" fmla="*/ 40481 h 304800"/>
                <a:gd name="connsiteX3" fmla="*/ 230620 w 323412"/>
                <a:gd name="connsiteY3" fmla="*/ 42577 h 304800"/>
                <a:gd name="connsiteX4" fmla="*/ 243842 w 323412"/>
                <a:gd name="connsiteY4" fmla="*/ 9716 h 304800"/>
                <a:gd name="connsiteX5" fmla="*/ 244508 w 323412"/>
                <a:gd name="connsiteY5" fmla="*/ 7144 h 304800"/>
                <a:gd name="connsiteX6" fmla="*/ 318703 w 323412"/>
                <a:gd name="connsiteY6" fmla="*/ 95345 h 304800"/>
                <a:gd name="connsiteX7" fmla="*/ 311664 w 323412"/>
                <a:gd name="connsiteY7" fmla="*/ 108014 h 304800"/>
                <a:gd name="connsiteX8" fmla="*/ 284744 w 323412"/>
                <a:gd name="connsiteY8" fmla="*/ 119729 h 304800"/>
                <a:gd name="connsiteX9" fmla="*/ 283603 w 323412"/>
                <a:gd name="connsiteY9" fmla="*/ 116681 h 304800"/>
                <a:gd name="connsiteX10" fmla="*/ 311949 w 323412"/>
                <a:gd name="connsiteY10" fmla="*/ 104394 h 304800"/>
                <a:gd name="connsiteX11" fmla="*/ 318988 w 323412"/>
                <a:gd name="connsiteY11" fmla="*/ 95345 h 304800"/>
                <a:gd name="connsiteX12" fmla="*/ 286932 w 323412"/>
                <a:gd name="connsiteY12" fmla="*/ 141256 h 304800"/>
                <a:gd name="connsiteX13" fmla="*/ 285791 w 323412"/>
                <a:gd name="connsiteY13" fmla="*/ 159639 h 304800"/>
                <a:gd name="connsiteX14" fmla="*/ 285220 w 323412"/>
                <a:gd name="connsiteY14" fmla="*/ 162973 h 304800"/>
                <a:gd name="connsiteX15" fmla="*/ 284459 w 323412"/>
                <a:gd name="connsiteY15" fmla="*/ 166116 h 304800"/>
                <a:gd name="connsiteX16" fmla="*/ 285315 w 323412"/>
                <a:gd name="connsiteY16" fmla="*/ 159449 h 304800"/>
                <a:gd name="connsiteX17" fmla="*/ 286932 w 323412"/>
                <a:gd name="connsiteY17" fmla="*/ 141256 h 304800"/>
                <a:gd name="connsiteX18" fmla="*/ 319749 w 323412"/>
                <a:gd name="connsiteY18" fmla="*/ 183071 h 304800"/>
                <a:gd name="connsiteX19" fmla="*/ 318988 w 323412"/>
                <a:gd name="connsiteY19" fmla="*/ 189167 h 304800"/>
                <a:gd name="connsiteX20" fmla="*/ 308049 w 323412"/>
                <a:gd name="connsiteY20" fmla="*/ 216503 h 304800"/>
                <a:gd name="connsiteX21" fmla="*/ 292994 w 323412"/>
                <a:gd name="connsiteY21" fmla="*/ 223047 h 304800"/>
                <a:gd name="connsiteX22" fmla="*/ 292830 w 323412"/>
                <a:gd name="connsiteY22" fmla="*/ 222980 h 304800"/>
                <a:gd name="connsiteX23" fmla="*/ 265625 w 323412"/>
                <a:gd name="connsiteY23" fmla="*/ 212122 h 304800"/>
                <a:gd name="connsiteX24" fmla="*/ 236423 w 323412"/>
                <a:gd name="connsiteY24" fmla="*/ 242411 h 304800"/>
                <a:gd name="connsiteX25" fmla="*/ 235281 w 323412"/>
                <a:gd name="connsiteY25" fmla="*/ 243269 h 304800"/>
                <a:gd name="connsiteX26" fmla="*/ 232998 w 323412"/>
                <a:gd name="connsiteY26" fmla="*/ 241459 h 304800"/>
                <a:gd name="connsiteX27" fmla="*/ 265625 w 323412"/>
                <a:gd name="connsiteY27" fmla="*/ 208597 h 304800"/>
                <a:gd name="connsiteX28" fmla="*/ 292925 w 323412"/>
                <a:gd name="connsiteY28" fmla="*/ 219456 h 304800"/>
                <a:gd name="connsiteX29" fmla="*/ 308078 w 323412"/>
                <a:gd name="connsiteY29" fmla="*/ 213144 h 304800"/>
                <a:gd name="connsiteX30" fmla="*/ 308144 w 323412"/>
                <a:gd name="connsiteY30" fmla="*/ 212979 h 304800"/>
                <a:gd name="connsiteX31" fmla="*/ 319083 w 323412"/>
                <a:gd name="connsiteY31" fmla="*/ 185642 h 304800"/>
                <a:gd name="connsiteX32" fmla="*/ 319844 w 323412"/>
                <a:gd name="connsiteY32" fmla="*/ 183070 h 304800"/>
                <a:gd name="connsiteX33" fmla="*/ 247552 w 323412"/>
                <a:gd name="connsiteY33" fmla="*/ 272987 h 304800"/>
                <a:gd name="connsiteX34" fmla="*/ 240608 w 323412"/>
                <a:gd name="connsiteY34" fmla="*/ 285655 h 304800"/>
                <a:gd name="connsiteX35" fmla="*/ 213594 w 323412"/>
                <a:gd name="connsiteY35" fmla="*/ 297180 h 304800"/>
                <a:gd name="connsiteX36" fmla="*/ 198004 w 323412"/>
                <a:gd name="connsiteY36" fmla="*/ 291627 h 304800"/>
                <a:gd name="connsiteX37" fmla="*/ 197803 w 323412"/>
                <a:gd name="connsiteY37" fmla="*/ 291179 h 304800"/>
                <a:gd name="connsiteX38" fmla="*/ 186294 w 323412"/>
                <a:gd name="connsiteY38" fmla="*/ 264224 h 304800"/>
                <a:gd name="connsiteX39" fmla="*/ 142823 w 323412"/>
                <a:gd name="connsiteY39" fmla="*/ 264700 h 304800"/>
                <a:gd name="connsiteX40" fmla="*/ 131979 w 323412"/>
                <a:gd name="connsiteY40" fmla="*/ 291941 h 304800"/>
                <a:gd name="connsiteX41" fmla="*/ 116665 w 323412"/>
                <a:gd name="connsiteY41" fmla="*/ 298514 h 304800"/>
                <a:gd name="connsiteX42" fmla="*/ 89460 w 323412"/>
                <a:gd name="connsiteY42" fmla="*/ 287560 h 304800"/>
                <a:gd name="connsiteX43" fmla="*/ 82136 w 323412"/>
                <a:gd name="connsiteY43" fmla="*/ 274796 h 304800"/>
                <a:gd name="connsiteX44" fmla="*/ 89460 w 323412"/>
                <a:gd name="connsiteY44" fmla="*/ 284321 h 304800"/>
                <a:gd name="connsiteX45" fmla="*/ 116665 w 323412"/>
                <a:gd name="connsiteY45" fmla="*/ 295275 h 304800"/>
                <a:gd name="connsiteX46" fmla="*/ 131979 w 323412"/>
                <a:gd name="connsiteY46" fmla="*/ 288703 h 304800"/>
                <a:gd name="connsiteX47" fmla="*/ 142823 w 323412"/>
                <a:gd name="connsiteY47" fmla="*/ 261461 h 304800"/>
                <a:gd name="connsiteX48" fmla="*/ 186294 w 323412"/>
                <a:gd name="connsiteY48" fmla="*/ 261461 h 304800"/>
                <a:gd name="connsiteX49" fmla="*/ 197803 w 323412"/>
                <a:gd name="connsiteY49" fmla="*/ 287465 h 304800"/>
                <a:gd name="connsiteX50" fmla="*/ 213138 w 323412"/>
                <a:gd name="connsiteY50" fmla="*/ 293688 h 304800"/>
                <a:gd name="connsiteX51" fmla="*/ 213213 w 323412"/>
                <a:gd name="connsiteY51" fmla="*/ 293656 h 304800"/>
                <a:gd name="connsiteX52" fmla="*/ 240228 w 323412"/>
                <a:gd name="connsiteY52" fmla="*/ 282131 h 304800"/>
                <a:gd name="connsiteX53" fmla="*/ 247171 w 323412"/>
                <a:gd name="connsiteY53" fmla="*/ 272606 h 304800"/>
                <a:gd name="connsiteX54" fmla="*/ 93075 w 323412"/>
                <a:gd name="connsiteY54" fmla="*/ 244412 h 304800"/>
                <a:gd name="connsiteX55" fmla="*/ 63111 w 323412"/>
                <a:gd name="connsiteY55" fmla="*/ 214979 h 304800"/>
                <a:gd name="connsiteX56" fmla="*/ 36097 w 323412"/>
                <a:gd name="connsiteY56" fmla="*/ 226028 h 304800"/>
                <a:gd name="connsiteX57" fmla="*/ 20719 w 323412"/>
                <a:gd name="connsiteY57" fmla="*/ 219912 h 304800"/>
                <a:gd name="connsiteX58" fmla="*/ 20687 w 323412"/>
                <a:gd name="connsiteY58" fmla="*/ 219837 h 304800"/>
                <a:gd name="connsiteX59" fmla="*/ 9082 w 323412"/>
                <a:gd name="connsiteY59" fmla="*/ 192786 h 304800"/>
                <a:gd name="connsiteX60" fmla="*/ 8321 w 323412"/>
                <a:gd name="connsiteY60" fmla="*/ 186404 h 304800"/>
                <a:gd name="connsiteX61" fmla="*/ 9082 w 323412"/>
                <a:gd name="connsiteY61" fmla="*/ 189262 h 304800"/>
                <a:gd name="connsiteX62" fmla="*/ 20687 w 323412"/>
                <a:gd name="connsiteY62" fmla="*/ 216313 h 304800"/>
                <a:gd name="connsiteX63" fmla="*/ 36022 w 323412"/>
                <a:gd name="connsiteY63" fmla="*/ 222536 h 304800"/>
                <a:gd name="connsiteX64" fmla="*/ 36097 w 323412"/>
                <a:gd name="connsiteY64" fmla="*/ 222504 h 304800"/>
                <a:gd name="connsiteX65" fmla="*/ 63016 w 323412"/>
                <a:gd name="connsiteY65" fmla="*/ 210979 h 304800"/>
                <a:gd name="connsiteX66" fmla="*/ 96214 w 323412"/>
                <a:gd name="connsiteY66" fmla="*/ 242888 h 304800"/>
                <a:gd name="connsiteX67" fmla="*/ 94121 w 323412"/>
                <a:gd name="connsiteY67" fmla="*/ 244888 h 304800"/>
                <a:gd name="connsiteX68" fmla="*/ 92979 w 323412"/>
                <a:gd name="connsiteY68" fmla="*/ 244126 h 304800"/>
                <a:gd name="connsiteX69" fmla="*/ 41709 w 323412"/>
                <a:gd name="connsiteY69" fmla="*/ 162782 h 304800"/>
                <a:gd name="connsiteX70" fmla="*/ 40092 w 323412"/>
                <a:gd name="connsiteY70" fmla="*/ 141446 h 304800"/>
                <a:gd name="connsiteX71" fmla="*/ 42280 w 323412"/>
                <a:gd name="connsiteY71" fmla="*/ 162592 h 304800"/>
                <a:gd name="connsiteX72" fmla="*/ 43516 w 323412"/>
                <a:gd name="connsiteY72" fmla="*/ 169164 h 304800"/>
                <a:gd name="connsiteX73" fmla="*/ 42280 w 323412"/>
                <a:gd name="connsiteY73" fmla="*/ 166211 h 304800"/>
                <a:gd name="connsiteX74" fmla="*/ 41709 w 323412"/>
                <a:gd name="connsiteY74" fmla="*/ 162782 h 304800"/>
                <a:gd name="connsiteX75" fmla="*/ 41709 w 323412"/>
                <a:gd name="connsiteY75" fmla="*/ 122587 h 304800"/>
                <a:gd name="connsiteX76" fmla="*/ 14504 w 323412"/>
                <a:gd name="connsiteY76" fmla="*/ 111728 h 304800"/>
                <a:gd name="connsiteX77" fmla="*/ 7275 w 323412"/>
                <a:gd name="connsiteY77" fmla="*/ 98965 h 304800"/>
                <a:gd name="connsiteX78" fmla="*/ 14504 w 323412"/>
                <a:gd name="connsiteY78" fmla="*/ 108490 h 304800"/>
                <a:gd name="connsiteX79" fmla="*/ 43041 w 323412"/>
                <a:gd name="connsiteY79" fmla="*/ 119825 h 304800"/>
                <a:gd name="connsiteX80" fmla="*/ 42090 w 323412"/>
                <a:gd name="connsiteY80" fmla="*/ 122873 h 304800"/>
                <a:gd name="connsiteX81" fmla="*/ 91648 w 323412"/>
                <a:gd name="connsiteY81" fmla="*/ 42386 h 304800"/>
                <a:gd name="connsiteX82" fmla="*/ 80328 w 323412"/>
                <a:gd name="connsiteY82" fmla="*/ 14954 h 304800"/>
                <a:gd name="connsiteX83" fmla="*/ 79472 w 323412"/>
                <a:gd name="connsiteY83" fmla="*/ 8573 h 304800"/>
                <a:gd name="connsiteX84" fmla="*/ 80328 w 323412"/>
                <a:gd name="connsiteY84" fmla="*/ 11430 h 304800"/>
                <a:gd name="connsiteX85" fmla="*/ 94121 w 323412"/>
                <a:gd name="connsiteY85" fmla="*/ 43815 h 304800"/>
                <a:gd name="connsiteX86" fmla="*/ 91743 w 323412"/>
                <a:gd name="connsiteY86" fmla="*/ 41910 h 304800"/>
                <a:gd name="connsiteX87" fmla="*/ 144155 w 323412"/>
                <a:gd name="connsiteY87" fmla="*/ 97822 h 304800"/>
                <a:gd name="connsiteX88" fmla="*/ 208457 w 323412"/>
                <a:gd name="connsiteY88" fmla="*/ 123635 h 304800"/>
                <a:gd name="connsiteX89" fmla="*/ 212357 w 323412"/>
                <a:gd name="connsiteY89" fmla="*/ 141065 h 304800"/>
                <a:gd name="connsiteX90" fmla="*/ 208457 w 323412"/>
                <a:gd name="connsiteY90" fmla="*/ 120110 h 304800"/>
                <a:gd name="connsiteX91" fmla="*/ 144128 w 323412"/>
                <a:gd name="connsiteY91" fmla="*/ 94360 h 304800"/>
                <a:gd name="connsiteX92" fmla="*/ 114477 w 323412"/>
                <a:gd name="connsiteY92" fmla="*/ 141161 h 304800"/>
                <a:gd name="connsiteX93" fmla="*/ 144250 w 323412"/>
                <a:gd name="connsiteY93" fmla="*/ 97536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323412" h="304800">
                  <a:moveTo>
                    <a:pt x="244508" y="7144"/>
                  </a:moveTo>
                  <a:cubicBezTo>
                    <a:pt x="244808" y="9199"/>
                    <a:pt x="244579" y="11298"/>
                    <a:pt x="243842" y="13240"/>
                  </a:cubicBezTo>
                  <a:lnTo>
                    <a:pt x="232903" y="40481"/>
                  </a:lnTo>
                  <a:lnTo>
                    <a:pt x="230620" y="42577"/>
                  </a:lnTo>
                  <a:lnTo>
                    <a:pt x="243842" y="9716"/>
                  </a:lnTo>
                  <a:cubicBezTo>
                    <a:pt x="244153" y="8884"/>
                    <a:pt x="244376" y="8022"/>
                    <a:pt x="244508" y="7144"/>
                  </a:cubicBezTo>
                  <a:close/>
                  <a:moveTo>
                    <a:pt x="318703" y="95345"/>
                  </a:moveTo>
                  <a:cubicBezTo>
                    <a:pt x="319456" y="100670"/>
                    <a:pt x="316580" y="105847"/>
                    <a:pt x="311664" y="108014"/>
                  </a:cubicBezTo>
                  <a:lnTo>
                    <a:pt x="284744" y="119729"/>
                  </a:lnTo>
                  <a:lnTo>
                    <a:pt x="283603" y="116681"/>
                  </a:lnTo>
                  <a:lnTo>
                    <a:pt x="311949" y="104394"/>
                  </a:lnTo>
                  <a:cubicBezTo>
                    <a:pt x="315722" y="102828"/>
                    <a:pt x="318395" y="99392"/>
                    <a:pt x="318988" y="95345"/>
                  </a:cubicBezTo>
                  <a:close/>
                  <a:moveTo>
                    <a:pt x="286932" y="141256"/>
                  </a:moveTo>
                  <a:cubicBezTo>
                    <a:pt x="287029" y="147404"/>
                    <a:pt x="286647" y="153550"/>
                    <a:pt x="285791" y="159639"/>
                  </a:cubicBezTo>
                  <a:lnTo>
                    <a:pt x="285220" y="162973"/>
                  </a:lnTo>
                  <a:lnTo>
                    <a:pt x="284459" y="166116"/>
                  </a:lnTo>
                  <a:lnTo>
                    <a:pt x="285315" y="159449"/>
                  </a:lnTo>
                  <a:cubicBezTo>
                    <a:pt x="286282" y="153430"/>
                    <a:pt x="286823" y="147351"/>
                    <a:pt x="286932" y="141256"/>
                  </a:cubicBezTo>
                  <a:close/>
                  <a:moveTo>
                    <a:pt x="319749" y="183071"/>
                  </a:moveTo>
                  <a:cubicBezTo>
                    <a:pt x="320061" y="185134"/>
                    <a:pt x="319797" y="187243"/>
                    <a:pt x="318988" y="189167"/>
                  </a:cubicBezTo>
                  <a:lnTo>
                    <a:pt x="308049" y="216503"/>
                  </a:lnTo>
                  <a:cubicBezTo>
                    <a:pt x="305696" y="222473"/>
                    <a:pt x="298956" y="225403"/>
                    <a:pt x="292994" y="223047"/>
                  </a:cubicBezTo>
                  <a:cubicBezTo>
                    <a:pt x="292939" y="223025"/>
                    <a:pt x="292884" y="223003"/>
                    <a:pt x="292830" y="222980"/>
                  </a:cubicBezTo>
                  <a:lnTo>
                    <a:pt x="265625" y="212122"/>
                  </a:lnTo>
                  <a:cubicBezTo>
                    <a:pt x="257710" y="223830"/>
                    <a:pt x="247830" y="234078"/>
                    <a:pt x="236423" y="242411"/>
                  </a:cubicBezTo>
                  <a:lnTo>
                    <a:pt x="235281" y="243269"/>
                  </a:lnTo>
                  <a:lnTo>
                    <a:pt x="232998" y="241459"/>
                  </a:lnTo>
                  <a:cubicBezTo>
                    <a:pt x="245721" y="232514"/>
                    <a:pt x="256766" y="221389"/>
                    <a:pt x="265625" y="208597"/>
                  </a:cubicBezTo>
                  <a:lnTo>
                    <a:pt x="292925" y="219456"/>
                  </a:lnTo>
                  <a:cubicBezTo>
                    <a:pt x="298850" y="221903"/>
                    <a:pt x="305634" y="219077"/>
                    <a:pt x="308078" y="213144"/>
                  </a:cubicBezTo>
                  <a:cubicBezTo>
                    <a:pt x="308100" y="213089"/>
                    <a:pt x="308122" y="213034"/>
                    <a:pt x="308144" y="212979"/>
                  </a:cubicBezTo>
                  <a:lnTo>
                    <a:pt x="319083" y="185642"/>
                  </a:lnTo>
                  <a:cubicBezTo>
                    <a:pt x="319424" y="184813"/>
                    <a:pt x="319679" y="183951"/>
                    <a:pt x="319844" y="183070"/>
                  </a:cubicBezTo>
                  <a:close/>
                  <a:moveTo>
                    <a:pt x="247552" y="272987"/>
                  </a:moveTo>
                  <a:cubicBezTo>
                    <a:pt x="248423" y="278306"/>
                    <a:pt x="245557" y="283535"/>
                    <a:pt x="240608" y="285655"/>
                  </a:cubicBezTo>
                  <a:lnTo>
                    <a:pt x="213594" y="297180"/>
                  </a:lnTo>
                  <a:cubicBezTo>
                    <a:pt x="207757" y="299957"/>
                    <a:pt x="200778" y="297471"/>
                    <a:pt x="198004" y="291627"/>
                  </a:cubicBezTo>
                  <a:cubicBezTo>
                    <a:pt x="197934" y="291479"/>
                    <a:pt x="197867" y="291330"/>
                    <a:pt x="197803" y="291179"/>
                  </a:cubicBezTo>
                  <a:lnTo>
                    <a:pt x="186294" y="264224"/>
                  </a:lnTo>
                  <a:cubicBezTo>
                    <a:pt x="171950" y="266999"/>
                    <a:pt x="157224" y="267160"/>
                    <a:pt x="142823" y="264700"/>
                  </a:cubicBezTo>
                  <a:lnTo>
                    <a:pt x="131979" y="291941"/>
                  </a:lnTo>
                  <a:cubicBezTo>
                    <a:pt x="129517" y="297946"/>
                    <a:pt x="122705" y="300869"/>
                    <a:pt x="116665" y="298514"/>
                  </a:cubicBezTo>
                  <a:lnTo>
                    <a:pt x="89460" y="287560"/>
                  </a:lnTo>
                  <a:cubicBezTo>
                    <a:pt x="84370" y="285507"/>
                    <a:pt x="81343" y="280233"/>
                    <a:pt x="82136" y="274796"/>
                  </a:cubicBezTo>
                  <a:cubicBezTo>
                    <a:pt x="82680" y="279063"/>
                    <a:pt x="85480" y="282704"/>
                    <a:pt x="89460" y="284321"/>
                  </a:cubicBezTo>
                  <a:lnTo>
                    <a:pt x="116665" y="295275"/>
                  </a:lnTo>
                  <a:cubicBezTo>
                    <a:pt x="122705" y="297631"/>
                    <a:pt x="129517" y="294708"/>
                    <a:pt x="131979" y="288703"/>
                  </a:cubicBezTo>
                  <a:lnTo>
                    <a:pt x="142823" y="261461"/>
                  </a:lnTo>
                  <a:cubicBezTo>
                    <a:pt x="157195" y="264079"/>
                    <a:pt x="171921" y="264079"/>
                    <a:pt x="186294" y="261461"/>
                  </a:cubicBezTo>
                  <a:lnTo>
                    <a:pt x="197803" y="287465"/>
                  </a:lnTo>
                  <a:cubicBezTo>
                    <a:pt x="200322" y="293423"/>
                    <a:pt x="207187" y="296210"/>
                    <a:pt x="213138" y="293688"/>
                  </a:cubicBezTo>
                  <a:cubicBezTo>
                    <a:pt x="213163" y="293677"/>
                    <a:pt x="213188" y="293667"/>
                    <a:pt x="213213" y="293656"/>
                  </a:cubicBezTo>
                  <a:lnTo>
                    <a:pt x="240228" y="282131"/>
                  </a:lnTo>
                  <a:cubicBezTo>
                    <a:pt x="244073" y="280423"/>
                    <a:pt x="246719" y="276793"/>
                    <a:pt x="247171" y="272606"/>
                  </a:cubicBezTo>
                  <a:close/>
                  <a:moveTo>
                    <a:pt x="93075" y="244412"/>
                  </a:moveTo>
                  <a:cubicBezTo>
                    <a:pt x="81475" y="236394"/>
                    <a:pt x="71340" y="226438"/>
                    <a:pt x="63111" y="214979"/>
                  </a:cubicBezTo>
                  <a:lnTo>
                    <a:pt x="36097" y="226028"/>
                  </a:lnTo>
                  <a:cubicBezTo>
                    <a:pt x="30164" y="228591"/>
                    <a:pt x="23279" y="225853"/>
                    <a:pt x="20719" y="219912"/>
                  </a:cubicBezTo>
                  <a:cubicBezTo>
                    <a:pt x="20709" y="219887"/>
                    <a:pt x="20698" y="219862"/>
                    <a:pt x="20687" y="219837"/>
                  </a:cubicBezTo>
                  <a:lnTo>
                    <a:pt x="9082" y="192786"/>
                  </a:lnTo>
                  <a:cubicBezTo>
                    <a:pt x="8224" y="190775"/>
                    <a:pt x="7960" y="188561"/>
                    <a:pt x="8321" y="186404"/>
                  </a:cubicBezTo>
                  <a:cubicBezTo>
                    <a:pt x="8440" y="187388"/>
                    <a:pt x="8696" y="188350"/>
                    <a:pt x="9082" y="189262"/>
                  </a:cubicBezTo>
                  <a:lnTo>
                    <a:pt x="20687" y="216313"/>
                  </a:lnTo>
                  <a:cubicBezTo>
                    <a:pt x="23206" y="222272"/>
                    <a:pt x="30071" y="225058"/>
                    <a:pt x="36022" y="222536"/>
                  </a:cubicBezTo>
                  <a:cubicBezTo>
                    <a:pt x="36047" y="222525"/>
                    <a:pt x="36072" y="222515"/>
                    <a:pt x="36097" y="222504"/>
                  </a:cubicBezTo>
                  <a:lnTo>
                    <a:pt x="63016" y="210979"/>
                  </a:lnTo>
                  <a:cubicBezTo>
                    <a:pt x="72056" y="223545"/>
                    <a:pt x="83305" y="234358"/>
                    <a:pt x="96214" y="242888"/>
                  </a:cubicBezTo>
                  <a:lnTo>
                    <a:pt x="94121" y="244888"/>
                  </a:lnTo>
                  <a:lnTo>
                    <a:pt x="92979" y="244126"/>
                  </a:lnTo>
                  <a:close/>
                  <a:moveTo>
                    <a:pt x="41709" y="162782"/>
                  </a:moveTo>
                  <a:cubicBezTo>
                    <a:pt x="40556" y="155730"/>
                    <a:pt x="40015" y="148592"/>
                    <a:pt x="40092" y="141446"/>
                  </a:cubicBezTo>
                  <a:cubicBezTo>
                    <a:pt x="40208" y="148545"/>
                    <a:pt x="40940" y="155620"/>
                    <a:pt x="42280" y="162592"/>
                  </a:cubicBezTo>
                  <a:lnTo>
                    <a:pt x="43516" y="169164"/>
                  </a:lnTo>
                  <a:lnTo>
                    <a:pt x="42280" y="166211"/>
                  </a:lnTo>
                  <a:lnTo>
                    <a:pt x="41709" y="162782"/>
                  </a:lnTo>
                  <a:close/>
                  <a:moveTo>
                    <a:pt x="41709" y="122587"/>
                  </a:moveTo>
                  <a:lnTo>
                    <a:pt x="14504" y="111728"/>
                  </a:lnTo>
                  <a:cubicBezTo>
                    <a:pt x="9427" y="109670"/>
                    <a:pt x="6433" y="104384"/>
                    <a:pt x="7275" y="98965"/>
                  </a:cubicBezTo>
                  <a:cubicBezTo>
                    <a:pt x="7782" y="103217"/>
                    <a:pt x="10548" y="106862"/>
                    <a:pt x="14504" y="108490"/>
                  </a:cubicBezTo>
                  <a:lnTo>
                    <a:pt x="43041" y="119825"/>
                  </a:lnTo>
                  <a:lnTo>
                    <a:pt x="42090" y="122873"/>
                  </a:lnTo>
                  <a:close/>
                  <a:moveTo>
                    <a:pt x="91648" y="42386"/>
                  </a:moveTo>
                  <a:lnTo>
                    <a:pt x="80328" y="14954"/>
                  </a:lnTo>
                  <a:cubicBezTo>
                    <a:pt x="79443" y="12952"/>
                    <a:pt x="79146" y="10738"/>
                    <a:pt x="79472" y="8573"/>
                  </a:cubicBezTo>
                  <a:cubicBezTo>
                    <a:pt x="79625" y="9560"/>
                    <a:pt x="79913" y="10521"/>
                    <a:pt x="80328" y="11430"/>
                  </a:cubicBezTo>
                  <a:lnTo>
                    <a:pt x="94121" y="43815"/>
                  </a:lnTo>
                  <a:lnTo>
                    <a:pt x="91743" y="41910"/>
                  </a:lnTo>
                  <a:close/>
                  <a:moveTo>
                    <a:pt x="144155" y="97822"/>
                  </a:moveTo>
                  <a:cubicBezTo>
                    <a:pt x="169030" y="87170"/>
                    <a:pt x="197818" y="98727"/>
                    <a:pt x="208457" y="123635"/>
                  </a:cubicBezTo>
                  <a:cubicBezTo>
                    <a:pt x="210843" y="129146"/>
                    <a:pt x="212166" y="135061"/>
                    <a:pt x="212357" y="141065"/>
                  </a:cubicBezTo>
                  <a:cubicBezTo>
                    <a:pt x="212655" y="133875"/>
                    <a:pt x="211321" y="126710"/>
                    <a:pt x="208457" y="120110"/>
                  </a:cubicBezTo>
                  <a:cubicBezTo>
                    <a:pt x="197794" y="95211"/>
                    <a:pt x="168993" y="83683"/>
                    <a:pt x="144128" y="94360"/>
                  </a:cubicBezTo>
                  <a:cubicBezTo>
                    <a:pt x="125547" y="102339"/>
                    <a:pt x="113769" y="120928"/>
                    <a:pt x="114477" y="141161"/>
                  </a:cubicBezTo>
                  <a:cubicBezTo>
                    <a:pt x="115064" y="122052"/>
                    <a:pt x="126684" y="105026"/>
                    <a:pt x="144250" y="97536"/>
                  </a:cubicBezTo>
                  <a:close/>
                </a:path>
              </a:pathLst>
            </a:custGeom>
            <a:solidFill>
              <a:schemeClr val="bg1">
                <a:lumMod val="95000"/>
                <a:alpha val="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28" name="Freeform 27">
              <a:extLst>
                <a:ext uri="{FF2B5EF4-FFF2-40B4-BE49-F238E27FC236}">
                  <a16:creationId xmlns="" xmlns:a16="http://schemas.microsoft.com/office/drawing/2014/main" id="{63751FE0-0563-DC44-A60E-912218BA98FF}"/>
                </a:ext>
              </a:extLst>
            </p:cNvPr>
            <p:cNvSpPr/>
            <p:nvPr/>
          </p:nvSpPr>
          <p:spPr>
            <a:xfrm>
              <a:off x="4505069" y="3166685"/>
              <a:ext cx="454114" cy="454728"/>
            </a:xfrm>
            <a:custGeom>
              <a:avLst/>
              <a:gdLst>
                <a:gd name="connsiteX0" fmla="*/ 269099 w 399510"/>
                <a:gd name="connsiteY0" fmla="*/ 19431 h 400050"/>
                <a:gd name="connsiteX1" fmla="*/ 276423 w 399510"/>
                <a:gd name="connsiteY1" fmla="*/ 22384 h 400050"/>
                <a:gd name="connsiteX2" fmla="*/ 268623 w 399510"/>
                <a:gd name="connsiteY2" fmla="*/ 45815 h 400050"/>
                <a:gd name="connsiteX3" fmla="*/ 278135 w 399510"/>
                <a:gd name="connsiteY3" fmla="*/ 50197 h 400050"/>
                <a:gd name="connsiteX4" fmla="*/ 291357 w 399510"/>
                <a:gd name="connsiteY4" fmla="*/ 29337 h 400050"/>
                <a:gd name="connsiteX5" fmla="*/ 298206 w 399510"/>
                <a:gd name="connsiteY5" fmla="*/ 33147 h 400050"/>
                <a:gd name="connsiteX6" fmla="*/ 287267 w 399510"/>
                <a:gd name="connsiteY6" fmla="*/ 55912 h 400050"/>
                <a:gd name="connsiteX7" fmla="*/ 297730 w 399510"/>
                <a:gd name="connsiteY7" fmla="*/ 62675 h 400050"/>
                <a:gd name="connsiteX8" fmla="*/ 313711 w 399510"/>
                <a:gd name="connsiteY8" fmla="*/ 43625 h 400050"/>
                <a:gd name="connsiteX9" fmla="*/ 319989 w 399510"/>
                <a:gd name="connsiteY9" fmla="*/ 48292 h 400050"/>
                <a:gd name="connsiteX10" fmla="*/ 306386 w 399510"/>
                <a:gd name="connsiteY10" fmla="*/ 68961 h 400050"/>
                <a:gd name="connsiteX11" fmla="*/ 314186 w 399510"/>
                <a:gd name="connsiteY11" fmla="*/ 75629 h 400050"/>
                <a:gd name="connsiteX12" fmla="*/ 331974 w 399510"/>
                <a:gd name="connsiteY12" fmla="*/ 58579 h 400050"/>
                <a:gd name="connsiteX13" fmla="*/ 337681 w 399510"/>
                <a:gd name="connsiteY13" fmla="*/ 64008 h 400050"/>
                <a:gd name="connsiteX14" fmla="*/ 321606 w 399510"/>
                <a:gd name="connsiteY14" fmla="*/ 83058 h 400050"/>
                <a:gd name="connsiteX15" fmla="*/ 329976 w 399510"/>
                <a:gd name="connsiteY15" fmla="*/ 92583 h 400050"/>
                <a:gd name="connsiteX16" fmla="*/ 350998 w 399510"/>
                <a:gd name="connsiteY16" fmla="*/ 78010 h 400050"/>
                <a:gd name="connsiteX17" fmla="*/ 355849 w 399510"/>
                <a:gd name="connsiteY17" fmla="*/ 84201 h 400050"/>
                <a:gd name="connsiteX18" fmla="*/ 337396 w 399510"/>
                <a:gd name="connsiteY18" fmla="*/ 100584 h 400050"/>
                <a:gd name="connsiteX19" fmla="*/ 343198 w 399510"/>
                <a:gd name="connsiteY19" fmla="*/ 109061 h 400050"/>
                <a:gd name="connsiteX20" fmla="*/ 365076 w 399510"/>
                <a:gd name="connsiteY20" fmla="*/ 97536 h 400050"/>
                <a:gd name="connsiteX21" fmla="*/ 369166 w 399510"/>
                <a:gd name="connsiteY21" fmla="*/ 104299 h 400050"/>
                <a:gd name="connsiteX22" fmla="*/ 348715 w 399510"/>
                <a:gd name="connsiteY22" fmla="*/ 118301 h 400050"/>
                <a:gd name="connsiteX23" fmla="*/ 354423 w 399510"/>
                <a:gd name="connsiteY23" fmla="*/ 129350 h 400050"/>
                <a:gd name="connsiteX24" fmla="*/ 377727 w 399510"/>
                <a:gd name="connsiteY24" fmla="*/ 121063 h 400050"/>
                <a:gd name="connsiteX25" fmla="*/ 380771 w 399510"/>
                <a:gd name="connsiteY25" fmla="*/ 128207 h 400050"/>
                <a:gd name="connsiteX26" fmla="*/ 358608 w 399510"/>
                <a:gd name="connsiteY26" fmla="*/ 139351 h 400050"/>
                <a:gd name="connsiteX27" fmla="*/ 362032 w 399510"/>
                <a:gd name="connsiteY27" fmla="*/ 148876 h 400050"/>
                <a:gd name="connsiteX28" fmla="*/ 386193 w 399510"/>
                <a:gd name="connsiteY28" fmla="*/ 143447 h 400050"/>
                <a:gd name="connsiteX29" fmla="*/ 388381 w 399510"/>
                <a:gd name="connsiteY29" fmla="*/ 150971 h 400050"/>
                <a:gd name="connsiteX30" fmla="*/ 365076 w 399510"/>
                <a:gd name="connsiteY30" fmla="*/ 159258 h 400050"/>
                <a:gd name="connsiteX31" fmla="*/ 367644 w 399510"/>
                <a:gd name="connsiteY31" fmla="*/ 171450 h 400050"/>
                <a:gd name="connsiteX32" fmla="*/ 392376 w 399510"/>
                <a:gd name="connsiteY32" fmla="*/ 169450 h 400050"/>
                <a:gd name="connsiteX33" fmla="*/ 393422 w 399510"/>
                <a:gd name="connsiteY33" fmla="*/ 177165 h 400050"/>
                <a:gd name="connsiteX34" fmla="*/ 369262 w 399510"/>
                <a:gd name="connsiteY34" fmla="*/ 182118 h 400050"/>
                <a:gd name="connsiteX35" fmla="*/ 370022 w 399510"/>
                <a:gd name="connsiteY35" fmla="*/ 192310 h 400050"/>
                <a:gd name="connsiteX36" fmla="*/ 394754 w 399510"/>
                <a:gd name="connsiteY36" fmla="*/ 193358 h 400050"/>
                <a:gd name="connsiteX37" fmla="*/ 394754 w 399510"/>
                <a:gd name="connsiteY37" fmla="*/ 201263 h 400050"/>
                <a:gd name="connsiteX38" fmla="*/ 370118 w 399510"/>
                <a:gd name="connsiteY38" fmla="*/ 203168 h 400050"/>
                <a:gd name="connsiteX39" fmla="*/ 369452 w 399510"/>
                <a:gd name="connsiteY39" fmla="*/ 215646 h 400050"/>
                <a:gd name="connsiteX40" fmla="*/ 393803 w 399510"/>
                <a:gd name="connsiteY40" fmla="*/ 220028 h 400050"/>
                <a:gd name="connsiteX41" fmla="*/ 392852 w 399510"/>
                <a:gd name="connsiteY41" fmla="*/ 227838 h 400050"/>
                <a:gd name="connsiteX42" fmla="*/ 368120 w 399510"/>
                <a:gd name="connsiteY42" fmla="*/ 226409 h 400050"/>
                <a:gd name="connsiteX43" fmla="*/ 366313 w 399510"/>
                <a:gd name="connsiteY43" fmla="*/ 236411 h 400050"/>
                <a:gd name="connsiteX44" fmla="*/ 389903 w 399510"/>
                <a:gd name="connsiteY44" fmla="*/ 243840 h 400050"/>
                <a:gd name="connsiteX45" fmla="*/ 388000 w 399510"/>
                <a:gd name="connsiteY45" fmla="*/ 251460 h 400050"/>
                <a:gd name="connsiteX46" fmla="*/ 363649 w 399510"/>
                <a:gd name="connsiteY46" fmla="*/ 246888 h 400050"/>
                <a:gd name="connsiteX47" fmla="*/ 359844 w 399510"/>
                <a:gd name="connsiteY47" fmla="*/ 258794 h 400050"/>
                <a:gd name="connsiteX48" fmla="*/ 382198 w 399510"/>
                <a:gd name="connsiteY48" fmla="*/ 269367 h 400050"/>
                <a:gd name="connsiteX49" fmla="*/ 379344 w 399510"/>
                <a:gd name="connsiteY49" fmla="*/ 276606 h 400050"/>
                <a:gd name="connsiteX50" fmla="*/ 355849 w 399510"/>
                <a:gd name="connsiteY50" fmla="*/ 268796 h 400050"/>
                <a:gd name="connsiteX51" fmla="*/ 351474 w 399510"/>
                <a:gd name="connsiteY51" fmla="*/ 278321 h 400050"/>
                <a:gd name="connsiteX52" fmla="*/ 372401 w 399510"/>
                <a:gd name="connsiteY52" fmla="*/ 291656 h 400050"/>
                <a:gd name="connsiteX53" fmla="*/ 368596 w 399510"/>
                <a:gd name="connsiteY53" fmla="*/ 298514 h 400050"/>
                <a:gd name="connsiteX54" fmla="*/ 346242 w 399510"/>
                <a:gd name="connsiteY54" fmla="*/ 287846 h 400050"/>
                <a:gd name="connsiteX55" fmla="*/ 339488 w 399510"/>
                <a:gd name="connsiteY55" fmla="*/ 298323 h 400050"/>
                <a:gd name="connsiteX56" fmla="*/ 358513 w 399510"/>
                <a:gd name="connsiteY56" fmla="*/ 314325 h 400050"/>
                <a:gd name="connsiteX57" fmla="*/ 353852 w 399510"/>
                <a:gd name="connsiteY57" fmla="*/ 320612 h 400050"/>
                <a:gd name="connsiteX58" fmla="*/ 333211 w 399510"/>
                <a:gd name="connsiteY58" fmla="*/ 306991 h 400050"/>
                <a:gd name="connsiteX59" fmla="*/ 326647 w 399510"/>
                <a:gd name="connsiteY59" fmla="*/ 314801 h 400050"/>
                <a:gd name="connsiteX60" fmla="*/ 343293 w 399510"/>
                <a:gd name="connsiteY60" fmla="*/ 332994 h 400050"/>
                <a:gd name="connsiteX61" fmla="*/ 337871 w 399510"/>
                <a:gd name="connsiteY61" fmla="*/ 338614 h 400050"/>
                <a:gd name="connsiteX62" fmla="*/ 318847 w 399510"/>
                <a:gd name="connsiteY62" fmla="*/ 322517 h 400050"/>
                <a:gd name="connsiteX63" fmla="*/ 309335 w 399510"/>
                <a:gd name="connsiteY63" fmla="*/ 330899 h 400050"/>
                <a:gd name="connsiteX64" fmla="*/ 323603 w 399510"/>
                <a:gd name="connsiteY64" fmla="*/ 351187 h 400050"/>
                <a:gd name="connsiteX65" fmla="*/ 317420 w 399510"/>
                <a:gd name="connsiteY65" fmla="*/ 355949 h 400050"/>
                <a:gd name="connsiteX66" fmla="*/ 300964 w 399510"/>
                <a:gd name="connsiteY66" fmla="*/ 337471 h 400050"/>
                <a:gd name="connsiteX67" fmla="*/ 292594 w 399510"/>
                <a:gd name="connsiteY67" fmla="*/ 343281 h 400050"/>
                <a:gd name="connsiteX68" fmla="*/ 304008 w 399510"/>
                <a:gd name="connsiteY68" fmla="*/ 365189 h 400050"/>
                <a:gd name="connsiteX69" fmla="*/ 297350 w 399510"/>
                <a:gd name="connsiteY69" fmla="*/ 369284 h 400050"/>
                <a:gd name="connsiteX70" fmla="*/ 283272 w 399510"/>
                <a:gd name="connsiteY70" fmla="*/ 348806 h 400050"/>
                <a:gd name="connsiteX71" fmla="*/ 272238 w 399510"/>
                <a:gd name="connsiteY71" fmla="*/ 354521 h 400050"/>
                <a:gd name="connsiteX72" fmla="*/ 280608 w 399510"/>
                <a:gd name="connsiteY72" fmla="*/ 377857 h 400050"/>
                <a:gd name="connsiteX73" fmla="*/ 273379 w 399510"/>
                <a:gd name="connsiteY73" fmla="*/ 380905 h 400050"/>
                <a:gd name="connsiteX74" fmla="*/ 262250 w 399510"/>
                <a:gd name="connsiteY74" fmla="*/ 358807 h 400050"/>
                <a:gd name="connsiteX75" fmla="*/ 252738 w 399510"/>
                <a:gd name="connsiteY75" fmla="*/ 362236 h 400050"/>
                <a:gd name="connsiteX76" fmla="*/ 258160 w 399510"/>
                <a:gd name="connsiteY76" fmla="*/ 386429 h 400050"/>
                <a:gd name="connsiteX77" fmla="*/ 250645 w 399510"/>
                <a:gd name="connsiteY77" fmla="*/ 388620 h 400050"/>
                <a:gd name="connsiteX78" fmla="*/ 242370 w 399510"/>
                <a:gd name="connsiteY78" fmla="*/ 365189 h 400050"/>
                <a:gd name="connsiteX79" fmla="*/ 230194 w 399510"/>
                <a:gd name="connsiteY79" fmla="*/ 367856 h 400050"/>
                <a:gd name="connsiteX80" fmla="*/ 232287 w 399510"/>
                <a:gd name="connsiteY80" fmla="*/ 392525 h 400050"/>
                <a:gd name="connsiteX81" fmla="*/ 224487 w 399510"/>
                <a:gd name="connsiteY81" fmla="*/ 393668 h 400050"/>
                <a:gd name="connsiteX82" fmla="*/ 219540 w 399510"/>
                <a:gd name="connsiteY82" fmla="*/ 369380 h 400050"/>
                <a:gd name="connsiteX83" fmla="*/ 209362 w 399510"/>
                <a:gd name="connsiteY83" fmla="*/ 370237 h 400050"/>
                <a:gd name="connsiteX84" fmla="*/ 208316 w 399510"/>
                <a:gd name="connsiteY84" fmla="*/ 394811 h 400050"/>
                <a:gd name="connsiteX85" fmla="*/ 200516 w 399510"/>
                <a:gd name="connsiteY85" fmla="*/ 394811 h 400050"/>
                <a:gd name="connsiteX86" fmla="*/ 198804 w 399510"/>
                <a:gd name="connsiteY86" fmla="*/ 370237 h 400050"/>
                <a:gd name="connsiteX87" fmla="*/ 186438 w 399510"/>
                <a:gd name="connsiteY87" fmla="*/ 369570 h 400050"/>
                <a:gd name="connsiteX88" fmla="*/ 181967 w 399510"/>
                <a:gd name="connsiteY88" fmla="*/ 393954 h 400050"/>
                <a:gd name="connsiteX89" fmla="*/ 174167 w 399510"/>
                <a:gd name="connsiteY89" fmla="*/ 393002 h 400050"/>
                <a:gd name="connsiteX90" fmla="*/ 175689 w 399510"/>
                <a:gd name="connsiteY90" fmla="*/ 368332 h 400050"/>
                <a:gd name="connsiteX91" fmla="*/ 165606 w 399510"/>
                <a:gd name="connsiteY91" fmla="*/ 366427 h 400050"/>
                <a:gd name="connsiteX92" fmla="*/ 158187 w 399510"/>
                <a:gd name="connsiteY92" fmla="*/ 390049 h 400050"/>
                <a:gd name="connsiteX93" fmla="*/ 150577 w 399510"/>
                <a:gd name="connsiteY93" fmla="*/ 388239 h 400050"/>
                <a:gd name="connsiteX94" fmla="*/ 155143 w 399510"/>
                <a:gd name="connsiteY94" fmla="*/ 363855 h 400050"/>
                <a:gd name="connsiteX95" fmla="*/ 143348 w 399510"/>
                <a:gd name="connsiteY95" fmla="*/ 360045 h 400050"/>
                <a:gd name="connsiteX96" fmla="*/ 132219 w 399510"/>
                <a:gd name="connsiteY96" fmla="*/ 382524 h 400050"/>
                <a:gd name="connsiteX97" fmla="*/ 124990 w 399510"/>
                <a:gd name="connsiteY97" fmla="*/ 379571 h 400050"/>
                <a:gd name="connsiteX98" fmla="*/ 132790 w 399510"/>
                <a:gd name="connsiteY98" fmla="*/ 356044 h 400050"/>
                <a:gd name="connsiteX99" fmla="*/ 123277 w 399510"/>
                <a:gd name="connsiteY99" fmla="*/ 351663 h 400050"/>
                <a:gd name="connsiteX100" fmla="*/ 110056 w 399510"/>
                <a:gd name="connsiteY100" fmla="*/ 372618 h 400050"/>
                <a:gd name="connsiteX101" fmla="*/ 103207 w 399510"/>
                <a:gd name="connsiteY101" fmla="*/ 368808 h 400050"/>
                <a:gd name="connsiteX102" fmla="*/ 113765 w 399510"/>
                <a:gd name="connsiteY102" fmla="*/ 346424 h 400050"/>
                <a:gd name="connsiteX103" fmla="*/ 103397 w 399510"/>
                <a:gd name="connsiteY103" fmla="*/ 339757 h 400050"/>
                <a:gd name="connsiteX104" fmla="*/ 87417 w 399510"/>
                <a:gd name="connsiteY104" fmla="*/ 358807 h 400050"/>
                <a:gd name="connsiteX105" fmla="*/ 81139 w 399510"/>
                <a:gd name="connsiteY105" fmla="*/ 354044 h 400050"/>
                <a:gd name="connsiteX106" fmla="*/ 94741 w 399510"/>
                <a:gd name="connsiteY106" fmla="*/ 333470 h 400050"/>
                <a:gd name="connsiteX107" fmla="*/ 86941 w 399510"/>
                <a:gd name="connsiteY107" fmla="*/ 326803 h 400050"/>
                <a:gd name="connsiteX108" fmla="*/ 68773 w 399510"/>
                <a:gd name="connsiteY108" fmla="*/ 343567 h 400050"/>
                <a:gd name="connsiteX109" fmla="*/ 63066 w 399510"/>
                <a:gd name="connsiteY109" fmla="*/ 338138 h 400050"/>
                <a:gd name="connsiteX110" fmla="*/ 79141 w 399510"/>
                <a:gd name="connsiteY110" fmla="*/ 319088 h 400050"/>
                <a:gd name="connsiteX111" fmla="*/ 70770 w 399510"/>
                <a:gd name="connsiteY111" fmla="*/ 309563 h 400050"/>
                <a:gd name="connsiteX112" fmla="*/ 50510 w 399510"/>
                <a:gd name="connsiteY112" fmla="*/ 323660 h 400050"/>
                <a:gd name="connsiteX113" fmla="*/ 45658 w 399510"/>
                <a:gd name="connsiteY113" fmla="*/ 317468 h 400050"/>
                <a:gd name="connsiteX114" fmla="*/ 64112 w 399510"/>
                <a:gd name="connsiteY114" fmla="*/ 301085 h 400050"/>
                <a:gd name="connsiteX115" fmla="*/ 58310 w 399510"/>
                <a:gd name="connsiteY115" fmla="*/ 292608 h 400050"/>
                <a:gd name="connsiteX116" fmla="*/ 37097 w 399510"/>
                <a:gd name="connsiteY116" fmla="*/ 304419 h 400050"/>
                <a:gd name="connsiteX117" fmla="*/ 33007 w 399510"/>
                <a:gd name="connsiteY117" fmla="*/ 297656 h 400050"/>
                <a:gd name="connsiteX118" fmla="*/ 53458 w 399510"/>
                <a:gd name="connsiteY118" fmla="*/ 283655 h 400050"/>
                <a:gd name="connsiteX119" fmla="*/ 47751 w 399510"/>
                <a:gd name="connsiteY119" fmla="*/ 272510 h 400050"/>
                <a:gd name="connsiteX120" fmla="*/ 24446 w 399510"/>
                <a:gd name="connsiteY120" fmla="*/ 280892 h 400050"/>
                <a:gd name="connsiteX121" fmla="*/ 21402 w 399510"/>
                <a:gd name="connsiteY121" fmla="*/ 273653 h 400050"/>
                <a:gd name="connsiteX122" fmla="*/ 43566 w 399510"/>
                <a:gd name="connsiteY122" fmla="*/ 262604 h 400050"/>
                <a:gd name="connsiteX123" fmla="*/ 40141 w 399510"/>
                <a:gd name="connsiteY123" fmla="*/ 253079 h 400050"/>
                <a:gd name="connsiteX124" fmla="*/ 15980 w 399510"/>
                <a:gd name="connsiteY124" fmla="*/ 258509 h 400050"/>
                <a:gd name="connsiteX125" fmla="*/ 13793 w 399510"/>
                <a:gd name="connsiteY125" fmla="*/ 250889 h 400050"/>
                <a:gd name="connsiteX126" fmla="*/ 37097 w 399510"/>
                <a:gd name="connsiteY126" fmla="*/ 242602 h 400050"/>
                <a:gd name="connsiteX127" fmla="*/ 34529 w 399510"/>
                <a:gd name="connsiteY127" fmla="*/ 230505 h 400050"/>
                <a:gd name="connsiteX128" fmla="*/ 9797 w 399510"/>
                <a:gd name="connsiteY128" fmla="*/ 232505 h 400050"/>
                <a:gd name="connsiteX129" fmla="*/ 8751 w 399510"/>
                <a:gd name="connsiteY129" fmla="*/ 224790 h 400050"/>
                <a:gd name="connsiteX130" fmla="*/ 32912 w 399510"/>
                <a:gd name="connsiteY130" fmla="*/ 219742 h 400050"/>
                <a:gd name="connsiteX131" fmla="*/ 32056 w 399510"/>
                <a:gd name="connsiteY131" fmla="*/ 209550 h 400050"/>
                <a:gd name="connsiteX132" fmla="*/ 7134 w 399510"/>
                <a:gd name="connsiteY132" fmla="*/ 208312 h 400050"/>
                <a:gd name="connsiteX133" fmla="*/ 7134 w 399510"/>
                <a:gd name="connsiteY133" fmla="*/ 200501 h 400050"/>
                <a:gd name="connsiteX134" fmla="*/ 31771 w 399510"/>
                <a:gd name="connsiteY134" fmla="*/ 198596 h 400050"/>
                <a:gd name="connsiteX135" fmla="*/ 32436 w 399510"/>
                <a:gd name="connsiteY135" fmla="*/ 186119 h 400050"/>
                <a:gd name="connsiteX136" fmla="*/ 8085 w 399510"/>
                <a:gd name="connsiteY136" fmla="*/ 181737 h 400050"/>
                <a:gd name="connsiteX137" fmla="*/ 9037 w 399510"/>
                <a:gd name="connsiteY137" fmla="*/ 173927 h 400050"/>
                <a:gd name="connsiteX138" fmla="*/ 33673 w 399510"/>
                <a:gd name="connsiteY138" fmla="*/ 175355 h 400050"/>
                <a:gd name="connsiteX139" fmla="*/ 35575 w 399510"/>
                <a:gd name="connsiteY139" fmla="*/ 165354 h 400050"/>
                <a:gd name="connsiteX140" fmla="*/ 11985 w 399510"/>
                <a:gd name="connsiteY140" fmla="*/ 157924 h 400050"/>
                <a:gd name="connsiteX141" fmla="*/ 13888 w 399510"/>
                <a:gd name="connsiteY141" fmla="*/ 150305 h 400050"/>
                <a:gd name="connsiteX142" fmla="*/ 38144 w 399510"/>
                <a:gd name="connsiteY142" fmla="*/ 154781 h 400050"/>
                <a:gd name="connsiteX143" fmla="*/ 42044 w 399510"/>
                <a:gd name="connsiteY143" fmla="*/ 142970 h 400050"/>
                <a:gd name="connsiteX144" fmla="*/ 19500 w 399510"/>
                <a:gd name="connsiteY144" fmla="*/ 132112 h 400050"/>
                <a:gd name="connsiteX145" fmla="*/ 22354 w 399510"/>
                <a:gd name="connsiteY145" fmla="*/ 124777 h 400050"/>
                <a:gd name="connsiteX146" fmla="*/ 45849 w 399510"/>
                <a:gd name="connsiteY146" fmla="*/ 132588 h 400050"/>
                <a:gd name="connsiteX147" fmla="*/ 50224 w 399510"/>
                <a:gd name="connsiteY147" fmla="*/ 123063 h 400050"/>
                <a:gd name="connsiteX148" fmla="*/ 29297 w 399510"/>
                <a:gd name="connsiteY148" fmla="*/ 109823 h 400050"/>
                <a:gd name="connsiteX149" fmla="*/ 33102 w 399510"/>
                <a:gd name="connsiteY149" fmla="*/ 102965 h 400050"/>
                <a:gd name="connsiteX150" fmla="*/ 55456 w 399510"/>
                <a:gd name="connsiteY150" fmla="*/ 113633 h 400050"/>
                <a:gd name="connsiteX151" fmla="*/ 62209 w 399510"/>
                <a:gd name="connsiteY151" fmla="*/ 103156 h 400050"/>
                <a:gd name="connsiteX152" fmla="*/ 43185 w 399510"/>
                <a:gd name="connsiteY152" fmla="*/ 87154 h 400050"/>
                <a:gd name="connsiteX153" fmla="*/ 47846 w 399510"/>
                <a:gd name="connsiteY153" fmla="*/ 80867 h 400050"/>
                <a:gd name="connsiteX154" fmla="*/ 68487 w 399510"/>
                <a:gd name="connsiteY154" fmla="*/ 94488 h 400050"/>
                <a:gd name="connsiteX155" fmla="*/ 75051 w 399510"/>
                <a:gd name="connsiteY155" fmla="*/ 86677 h 400050"/>
                <a:gd name="connsiteX156" fmla="*/ 58405 w 399510"/>
                <a:gd name="connsiteY156" fmla="*/ 68485 h 400050"/>
                <a:gd name="connsiteX157" fmla="*/ 63826 w 399510"/>
                <a:gd name="connsiteY157" fmla="*/ 62865 h 400050"/>
                <a:gd name="connsiteX158" fmla="*/ 82851 w 399510"/>
                <a:gd name="connsiteY158" fmla="*/ 78867 h 400050"/>
                <a:gd name="connsiteX159" fmla="*/ 92363 w 399510"/>
                <a:gd name="connsiteY159" fmla="*/ 70580 h 400050"/>
                <a:gd name="connsiteX160" fmla="*/ 78285 w 399510"/>
                <a:gd name="connsiteY160" fmla="*/ 50197 h 400050"/>
                <a:gd name="connsiteX161" fmla="*/ 84468 w 399510"/>
                <a:gd name="connsiteY161" fmla="*/ 45339 h 400050"/>
                <a:gd name="connsiteX162" fmla="*/ 100924 w 399510"/>
                <a:gd name="connsiteY162" fmla="*/ 64389 h 400050"/>
                <a:gd name="connsiteX163" fmla="*/ 109295 w 399510"/>
                <a:gd name="connsiteY163" fmla="*/ 58579 h 400050"/>
                <a:gd name="connsiteX164" fmla="*/ 97499 w 399510"/>
                <a:gd name="connsiteY164" fmla="*/ 36862 h 400050"/>
                <a:gd name="connsiteX165" fmla="*/ 104158 w 399510"/>
                <a:gd name="connsiteY165" fmla="*/ 32861 h 400050"/>
                <a:gd name="connsiteX166" fmla="*/ 118236 w 399510"/>
                <a:gd name="connsiteY166" fmla="*/ 53245 h 400050"/>
                <a:gd name="connsiteX167" fmla="*/ 129270 w 399510"/>
                <a:gd name="connsiteY167" fmla="*/ 47625 h 400050"/>
                <a:gd name="connsiteX168" fmla="*/ 120899 w 399510"/>
                <a:gd name="connsiteY168" fmla="*/ 24289 h 400050"/>
                <a:gd name="connsiteX169" fmla="*/ 128129 w 399510"/>
                <a:gd name="connsiteY169" fmla="*/ 21146 h 400050"/>
                <a:gd name="connsiteX170" fmla="*/ 139258 w 399510"/>
                <a:gd name="connsiteY170" fmla="*/ 43339 h 400050"/>
                <a:gd name="connsiteX171" fmla="*/ 148770 w 399510"/>
                <a:gd name="connsiteY171" fmla="*/ 39910 h 400050"/>
                <a:gd name="connsiteX172" fmla="*/ 143348 w 399510"/>
                <a:gd name="connsiteY172" fmla="*/ 15716 h 400050"/>
                <a:gd name="connsiteX173" fmla="*/ 150863 w 399510"/>
                <a:gd name="connsiteY173" fmla="*/ 13526 h 400050"/>
                <a:gd name="connsiteX174" fmla="*/ 159233 w 399510"/>
                <a:gd name="connsiteY174" fmla="*/ 36862 h 400050"/>
                <a:gd name="connsiteX175" fmla="*/ 171409 w 399510"/>
                <a:gd name="connsiteY175" fmla="*/ 34290 h 400050"/>
                <a:gd name="connsiteX176" fmla="*/ 169316 w 399510"/>
                <a:gd name="connsiteY176" fmla="*/ 9620 h 400050"/>
                <a:gd name="connsiteX177" fmla="*/ 177116 w 399510"/>
                <a:gd name="connsiteY177" fmla="*/ 8477 h 400050"/>
                <a:gd name="connsiteX178" fmla="*/ 182063 w 399510"/>
                <a:gd name="connsiteY178" fmla="*/ 32766 h 400050"/>
                <a:gd name="connsiteX179" fmla="*/ 192240 w 399510"/>
                <a:gd name="connsiteY179" fmla="*/ 31909 h 400050"/>
                <a:gd name="connsiteX180" fmla="*/ 193287 w 399510"/>
                <a:gd name="connsiteY180" fmla="*/ 7144 h 400050"/>
                <a:gd name="connsiteX181" fmla="*/ 201087 w 399510"/>
                <a:gd name="connsiteY181" fmla="*/ 7144 h 400050"/>
                <a:gd name="connsiteX182" fmla="*/ 203084 w 399510"/>
                <a:gd name="connsiteY182" fmla="*/ 31813 h 400050"/>
                <a:gd name="connsiteX183" fmla="*/ 215450 w 399510"/>
                <a:gd name="connsiteY183" fmla="*/ 32385 h 400050"/>
                <a:gd name="connsiteX184" fmla="*/ 219921 w 399510"/>
                <a:gd name="connsiteY184" fmla="*/ 8287 h 400050"/>
                <a:gd name="connsiteX185" fmla="*/ 227721 w 399510"/>
                <a:gd name="connsiteY185" fmla="*/ 9144 h 400050"/>
                <a:gd name="connsiteX186" fmla="*/ 226199 w 399510"/>
                <a:gd name="connsiteY186" fmla="*/ 33909 h 400050"/>
                <a:gd name="connsiteX187" fmla="*/ 236282 w 399510"/>
                <a:gd name="connsiteY187" fmla="*/ 35719 h 400050"/>
                <a:gd name="connsiteX188" fmla="*/ 243701 w 399510"/>
                <a:gd name="connsiteY188" fmla="*/ 12097 h 400050"/>
                <a:gd name="connsiteX189" fmla="*/ 251216 w 399510"/>
                <a:gd name="connsiteY189" fmla="*/ 14002 h 400050"/>
                <a:gd name="connsiteX190" fmla="*/ 246365 w 399510"/>
                <a:gd name="connsiteY190" fmla="*/ 38005 h 400050"/>
                <a:gd name="connsiteX191" fmla="*/ 258160 w 399510"/>
                <a:gd name="connsiteY191" fmla="*/ 41815 h 400050"/>
                <a:gd name="connsiteX192" fmla="*/ 268718 w 399510"/>
                <a:gd name="connsiteY192" fmla="*/ 19431 h 400050"/>
                <a:gd name="connsiteX193" fmla="*/ 200801 w 399510"/>
                <a:gd name="connsiteY193" fmla="*/ 170212 h 400050"/>
                <a:gd name="connsiteX194" fmla="*/ 170077 w 399510"/>
                <a:gd name="connsiteY194" fmla="*/ 200787 h 400050"/>
                <a:gd name="connsiteX195" fmla="*/ 200611 w 399510"/>
                <a:gd name="connsiteY195" fmla="*/ 231552 h 400050"/>
                <a:gd name="connsiteX196" fmla="*/ 231335 w 399510"/>
                <a:gd name="connsiteY196" fmla="*/ 200977 h 400050"/>
                <a:gd name="connsiteX197" fmla="*/ 231336 w 399510"/>
                <a:gd name="connsiteY197" fmla="*/ 200882 h 400050"/>
                <a:gd name="connsiteX198" fmla="*/ 200801 w 399510"/>
                <a:gd name="connsiteY198" fmla="*/ 170212 h 400050"/>
                <a:gd name="connsiteX199" fmla="*/ 222014 w 399510"/>
                <a:gd name="connsiteY199" fmla="*/ 147637 h 400050"/>
                <a:gd name="connsiteX200" fmla="*/ 244938 w 399510"/>
                <a:gd name="connsiteY200" fmla="*/ 164402 h 400050"/>
                <a:gd name="connsiteX201" fmla="*/ 310096 w 399510"/>
                <a:gd name="connsiteY201" fmla="*/ 136493 h 400050"/>
                <a:gd name="connsiteX202" fmla="*/ 165987 w 399510"/>
                <a:gd name="connsiteY202" fmla="*/ 78772 h 400050"/>
                <a:gd name="connsiteX203" fmla="*/ 193858 w 399510"/>
                <a:gd name="connsiteY203" fmla="*/ 144018 h 400050"/>
                <a:gd name="connsiteX204" fmla="*/ 222394 w 399510"/>
                <a:gd name="connsiteY204" fmla="*/ 147733 h 400050"/>
                <a:gd name="connsiteX205" fmla="*/ 257589 w 399510"/>
                <a:gd name="connsiteY205" fmla="*/ 194024 h 400050"/>
                <a:gd name="connsiteX206" fmla="*/ 236852 w 399510"/>
                <a:gd name="connsiteY206" fmla="*/ 245269 h 400050"/>
                <a:gd name="connsiteX207" fmla="*/ 265389 w 399510"/>
                <a:gd name="connsiteY207" fmla="*/ 310420 h 400050"/>
                <a:gd name="connsiteX208" fmla="*/ 322462 w 399510"/>
                <a:gd name="connsiteY208" fmla="*/ 166211 h 400050"/>
                <a:gd name="connsiteX209" fmla="*/ 257304 w 399510"/>
                <a:gd name="connsiteY209" fmla="*/ 194120 h 400050"/>
                <a:gd name="connsiteX210" fmla="*/ 207650 w 399510"/>
                <a:gd name="connsiteY210" fmla="*/ 257842 h 400050"/>
                <a:gd name="connsiteX211" fmla="*/ 179114 w 399510"/>
                <a:gd name="connsiteY211" fmla="*/ 254127 h 400050"/>
                <a:gd name="connsiteX212" fmla="*/ 156094 w 399510"/>
                <a:gd name="connsiteY212" fmla="*/ 237268 h 400050"/>
                <a:gd name="connsiteX213" fmla="*/ 91412 w 399510"/>
                <a:gd name="connsiteY213" fmla="*/ 265462 h 400050"/>
                <a:gd name="connsiteX214" fmla="*/ 235521 w 399510"/>
                <a:gd name="connsiteY214" fmla="*/ 323183 h 400050"/>
                <a:gd name="connsiteX215" fmla="*/ 207650 w 399510"/>
                <a:gd name="connsiteY215" fmla="*/ 258032 h 400050"/>
                <a:gd name="connsiteX216" fmla="*/ 143919 w 399510"/>
                <a:gd name="connsiteY216" fmla="*/ 208312 h 400050"/>
                <a:gd name="connsiteX217" fmla="*/ 164370 w 399510"/>
                <a:gd name="connsiteY217" fmla="*/ 157162 h 400050"/>
                <a:gd name="connsiteX218" fmla="*/ 136499 w 399510"/>
                <a:gd name="connsiteY218" fmla="*/ 91916 h 400050"/>
                <a:gd name="connsiteX219" fmla="*/ 78761 w 399510"/>
                <a:gd name="connsiteY219" fmla="*/ 23622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399510" h="400050">
                  <a:moveTo>
                    <a:pt x="269099" y="19431"/>
                  </a:moveTo>
                  <a:lnTo>
                    <a:pt x="276423" y="22384"/>
                  </a:lnTo>
                  <a:lnTo>
                    <a:pt x="268623" y="45815"/>
                  </a:lnTo>
                  <a:lnTo>
                    <a:pt x="278135" y="50197"/>
                  </a:lnTo>
                  <a:lnTo>
                    <a:pt x="291357" y="29337"/>
                  </a:lnTo>
                  <a:lnTo>
                    <a:pt x="298206" y="33147"/>
                  </a:lnTo>
                  <a:lnTo>
                    <a:pt x="287267" y="55912"/>
                  </a:lnTo>
                  <a:cubicBezTo>
                    <a:pt x="290881" y="58103"/>
                    <a:pt x="294401" y="60293"/>
                    <a:pt x="297730" y="62675"/>
                  </a:cubicBezTo>
                  <a:lnTo>
                    <a:pt x="313711" y="43625"/>
                  </a:lnTo>
                  <a:lnTo>
                    <a:pt x="319989" y="48292"/>
                  </a:lnTo>
                  <a:lnTo>
                    <a:pt x="306386" y="68961"/>
                  </a:lnTo>
                  <a:cubicBezTo>
                    <a:pt x="309050" y="71152"/>
                    <a:pt x="311713" y="73343"/>
                    <a:pt x="314186" y="75629"/>
                  </a:cubicBezTo>
                  <a:lnTo>
                    <a:pt x="331974" y="58579"/>
                  </a:lnTo>
                  <a:lnTo>
                    <a:pt x="337681" y="64008"/>
                  </a:lnTo>
                  <a:lnTo>
                    <a:pt x="321606" y="83058"/>
                  </a:lnTo>
                  <a:cubicBezTo>
                    <a:pt x="324459" y="86011"/>
                    <a:pt x="327313" y="89059"/>
                    <a:pt x="329976" y="92583"/>
                  </a:cubicBezTo>
                  <a:lnTo>
                    <a:pt x="350998" y="78010"/>
                  </a:lnTo>
                  <a:lnTo>
                    <a:pt x="355849" y="84201"/>
                  </a:lnTo>
                  <a:lnTo>
                    <a:pt x="337396" y="100584"/>
                  </a:lnTo>
                  <a:cubicBezTo>
                    <a:pt x="339393" y="103346"/>
                    <a:pt x="341296" y="106204"/>
                    <a:pt x="343198" y="109061"/>
                  </a:cubicBezTo>
                  <a:lnTo>
                    <a:pt x="365076" y="97536"/>
                  </a:lnTo>
                  <a:lnTo>
                    <a:pt x="369166" y="104299"/>
                  </a:lnTo>
                  <a:lnTo>
                    <a:pt x="348715" y="118301"/>
                  </a:lnTo>
                  <a:cubicBezTo>
                    <a:pt x="350713" y="121920"/>
                    <a:pt x="352615" y="125635"/>
                    <a:pt x="354423" y="129350"/>
                  </a:cubicBezTo>
                  <a:lnTo>
                    <a:pt x="377727" y="121063"/>
                  </a:lnTo>
                  <a:lnTo>
                    <a:pt x="380771" y="128207"/>
                  </a:lnTo>
                  <a:lnTo>
                    <a:pt x="358608" y="139351"/>
                  </a:lnTo>
                  <a:cubicBezTo>
                    <a:pt x="359844" y="142494"/>
                    <a:pt x="360986" y="145733"/>
                    <a:pt x="362032" y="148876"/>
                  </a:cubicBezTo>
                  <a:lnTo>
                    <a:pt x="386193" y="143447"/>
                  </a:lnTo>
                  <a:lnTo>
                    <a:pt x="388381" y="150971"/>
                  </a:lnTo>
                  <a:lnTo>
                    <a:pt x="365076" y="159258"/>
                  </a:lnTo>
                  <a:cubicBezTo>
                    <a:pt x="366122" y="163259"/>
                    <a:pt x="366979" y="167354"/>
                    <a:pt x="367644" y="171450"/>
                  </a:cubicBezTo>
                  <a:lnTo>
                    <a:pt x="392376" y="169450"/>
                  </a:lnTo>
                  <a:lnTo>
                    <a:pt x="393422" y="177165"/>
                  </a:lnTo>
                  <a:lnTo>
                    <a:pt x="369262" y="182118"/>
                  </a:lnTo>
                  <a:cubicBezTo>
                    <a:pt x="369262" y="185547"/>
                    <a:pt x="369927" y="188976"/>
                    <a:pt x="370022" y="192310"/>
                  </a:cubicBezTo>
                  <a:lnTo>
                    <a:pt x="394754" y="193358"/>
                  </a:lnTo>
                  <a:lnTo>
                    <a:pt x="394754" y="201263"/>
                  </a:lnTo>
                  <a:lnTo>
                    <a:pt x="370118" y="203168"/>
                  </a:lnTo>
                  <a:cubicBezTo>
                    <a:pt x="370118" y="207359"/>
                    <a:pt x="370118" y="211455"/>
                    <a:pt x="369452" y="215646"/>
                  </a:cubicBezTo>
                  <a:lnTo>
                    <a:pt x="393803" y="220028"/>
                  </a:lnTo>
                  <a:lnTo>
                    <a:pt x="392852" y="227838"/>
                  </a:lnTo>
                  <a:lnTo>
                    <a:pt x="368120" y="226409"/>
                  </a:lnTo>
                  <a:cubicBezTo>
                    <a:pt x="367644" y="229743"/>
                    <a:pt x="367074" y="233077"/>
                    <a:pt x="366313" y="236411"/>
                  </a:cubicBezTo>
                  <a:lnTo>
                    <a:pt x="389903" y="243840"/>
                  </a:lnTo>
                  <a:lnTo>
                    <a:pt x="388000" y="251460"/>
                  </a:lnTo>
                  <a:lnTo>
                    <a:pt x="363649" y="246888"/>
                  </a:lnTo>
                  <a:cubicBezTo>
                    <a:pt x="362603" y="250889"/>
                    <a:pt x="361271" y="254889"/>
                    <a:pt x="359844" y="258794"/>
                  </a:cubicBezTo>
                  <a:lnTo>
                    <a:pt x="382198" y="269367"/>
                  </a:lnTo>
                  <a:lnTo>
                    <a:pt x="379344" y="276606"/>
                  </a:lnTo>
                  <a:lnTo>
                    <a:pt x="355849" y="268796"/>
                  </a:lnTo>
                  <a:cubicBezTo>
                    <a:pt x="354423" y="271939"/>
                    <a:pt x="352996" y="275082"/>
                    <a:pt x="351474" y="278321"/>
                  </a:cubicBezTo>
                  <a:lnTo>
                    <a:pt x="372401" y="291656"/>
                  </a:lnTo>
                  <a:lnTo>
                    <a:pt x="368596" y="298514"/>
                  </a:lnTo>
                  <a:lnTo>
                    <a:pt x="346242" y="287846"/>
                  </a:lnTo>
                  <a:cubicBezTo>
                    <a:pt x="344149" y="291465"/>
                    <a:pt x="341866" y="294894"/>
                    <a:pt x="339488" y="298323"/>
                  </a:cubicBezTo>
                  <a:lnTo>
                    <a:pt x="358513" y="314325"/>
                  </a:lnTo>
                  <a:lnTo>
                    <a:pt x="353852" y="320612"/>
                  </a:lnTo>
                  <a:lnTo>
                    <a:pt x="333211" y="306991"/>
                  </a:lnTo>
                  <a:cubicBezTo>
                    <a:pt x="331118" y="309658"/>
                    <a:pt x="328930" y="312230"/>
                    <a:pt x="326647" y="314801"/>
                  </a:cubicBezTo>
                  <a:lnTo>
                    <a:pt x="343293" y="332994"/>
                  </a:lnTo>
                  <a:lnTo>
                    <a:pt x="337871" y="338614"/>
                  </a:lnTo>
                  <a:lnTo>
                    <a:pt x="318847" y="322517"/>
                  </a:lnTo>
                  <a:cubicBezTo>
                    <a:pt x="315803" y="325469"/>
                    <a:pt x="312759" y="328232"/>
                    <a:pt x="309335" y="330899"/>
                  </a:cubicBezTo>
                  <a:lnTo>
                    <a:pt x="323603" y="351187"/>
                  </a:lnTo>
                  <a:lnTo>
                    <a:pt x="317420" y="355949"/>
                  </a:lnTo>
                  <a:lnTo>
                    <a:pt x="300964" y="337471"/>
                  </a:lnTo>
                  <a:cubicBezTo>
                    <a:pt x="298206" y="339471"/>
                    <a:pt x="295447" y="341471"/>
                    <a:pt x="292594" y="343281"/>
                  </a:cubicBezTo>
                  <a:lnTo>
                    <a:pt x="304008" y="365189"/>
                  </a:lnTo>
                  <a:lnTo>
                    <a:pt x="297350" y="369284"/>
                  </a:lnTo>
                  <a:lnTo>
                    <a:pt x="283272" y="348806"/>
                  </a:lnTo>
                  <a:cubicBezTo>
                    <a:pt x="279657" y="350901"/>
                    <a:pt x="275947" y="352806"/>
                    <a:pt x="272238" y="354521"/>
                  </a:cubicBezTo>
                  <a:lnTo>
                    <a:pt x="280608" y="377857"/>
                  </a:lnTo>
                  <a:lnTo>
                    <a:pt x="273379" y="380905"/>
                  </a:lnTo>
                  <a:lnTo>
                    <a:pt x="262250" y="358807"/>
                  </a:lnTo>
                  <a:cubicBezTo>
                    <a:pt x="259111" y="360045"/>
                    <a:pt x="255877" y="361188"/>
                    <a:pt x="252738" y="362236"/>
                  </a:cubicBezTo>
                  <a:lnTo>
                    <a:pt x="258160" y="386429"/>
                  </a:lnTo>
                  <a:lnTo>
                    <a:pt x="250645" y="388620"/>
                  </a:lnTo>
                  <a:lnTo>
                    <a:pt x="242370" y="365189"/>
                  </a:lnTo>
                  <a:cubicBezTo>
                    <a:pt x="238374" y="366236"/>
                    <a:pt x="234284" y="367093"/>
                    <a:pt x="230194" y="367856"/>
                  </a:cubicBezTo>
                  <a:lnTo>
                    <a:pt x="232287" y="392525"/>
                  </a:lnTo>
                  <a:lnTo>
                    <a:pt x="224487" y="393668"/>
                  </a:lnTo>
                  <a:lnTo>
                    <a:pt x="219540" y="369380"/>
                  </a:lnTo>
                  <a:cubicBezTo>
                    <a:pt x="216116" y="369380"/>
                    <a:pt x="212787" y="370046"/>
                    <a:pt x="209362" y="370237"/>
                  </a:cubicBezTo>
                  <a:lnTo>
                    <a:pt x="208316" y="394811"/>
                  </a:lnTo>
                  <a:lnTo>
                    <a:pt x="200516" y="394811"/>
                  </a:lnTo>
                  <a:lnTo>
                    <a:pt x="198804" y="370237"/>
                  </a:lnTo>
                  <a:cubicBezTo>
                    <a:pt x="194714" y="370237"/>
                    <a:pt x="190528" y="370237"/>
                    <a:pt x="186438" y="369570"/>
                  </a:cubicBezTo>
                  <a:lnTo>
                    <a:pt x="181967" y="393954"/>
                  </a:lnTo>
                  <a:lnTo>
                    <a:pt x="174167" y="393002"/>
                  </a:lnTo>
                  <a:lnTo>
                    <a:pt x="175689" y="368332"/>
                  </a:lnTo>
                  <a:cubicBezTo>
                    <a:pt x="172360" y="367760"/>
                    <a:pt x="168936" y="367189"/>
                    <a:pt x="165606" y="366427"/>
                  </a:cubicBezTo>
                  <a:lnTo>
                    <a:pt x="158187" y="390049"/>
                  </a:lnTo>
                  <a:lnTo>
                    <a:pt x="150577" y="388239"/>
                  </a:lnTo>
                  <a:lnTo>
                    <a:pt x="155143" y="363855"/>
                  </a:lnTo>
                  <a:cubicBezTo>
                    <a:pt x="151148" y="362712"/>
                    <a:pt x="147248" y="361474"/>
                    <a:pt x="143348" y="360045"/>
                  </a:cubicBezTo>
                  <a:lnTo>
                    <a:pt x="132219" y="382524"/>
                  </a:lnTo>
                  <a:lnTo>
                    <a:pt x="124990" y="379571"/>
                  </a:lnTo>
                  <a:lnTo>
                    <a:pt x="132790" y="356044"/>
                  </a:lnTo>
                  <a:cubicBezTo>
                    <a:pt x="129651" y="354711"/>
                    <a:pt x="126607" y="353282"/>
                    <a:pt x="123277" y="351663"/>
                  </a:cubicBezTo>
                  <a:lnTo>
                    <a:pt x="110056" y="372618"/>
                  </a:lnTo>
                  <a:lnTo>
                    <a:pt x="103207" y="368808"/>
                  </a:lnTo>
                  <a:lnTo>
                    <a:pt x="113765" y="346424"/>
                  </a:lnTo>
                  <a:cubicBezTo>
                    <a:pt x="110246" y="344329"/>
                    <a:pt x="106726" y="342043"/>
                    <a:pt x="103397" y="339757"/>
                  </a:cubicBezTo>
                  <a:lnTo>
                    <a:pt x="87417" y="358807"/>
                  </a:lnTo>
                  <a:lnTo>
                    <a:pt x="81139" y="354044"/>
                  </a:lnTo>
                  <a:lnTo>
                    <a:pt x="94741" y="333470"/>
                  </a:lnTo>
                  <a:cubicBezTo>
                    <a:pt x="92078" y="331280"/>
                    <a:pt x="89414" y="329089"/>
                    <a:pt x="86941" y="326803"/>
                  </a:cubicBezTo>
                  <a:lnTo>
                    <a:pt x="68773" y="343567"/>
                  </a:lnTo>
                  <a:lnTo>
                    <a:pt x="63066" y="338138"/>
                  </a:lnTo>
                  <a:lnTo>
                    <a:pt x="79141" y="319088"/>
                  </a:lnTo>
                  <a:cubicBezTo>
                    <a:pt x="76287" y="316135"/>
                    <a:pt x="73434" y="312992"/>
                    <a:pt x="70770" y="309563"/>
                  </a:cubicBezTo>
                  <a:lnTo>
                    <a:pt x="50510" y="323660"/>
                  </a:lnTo>
                  <a:lnTo>
                    <a:pt x="45658" y="317468"/>
                  </a:lnTo>
                  <a:lnTo>
                    <a:pt x="64112" y="301085"/>
                  </a:lnTo>
                  <a:cubicBezTo>
                    <a:pt x="62114" y="298323"/>
                    <a:pt x="60212" y="295466"/>
                    <a:pt x="58310" y="292608"/>
                  </a:cubicBezTo>
                  <a:lnTo>
                    <a:pt x="37097" y="304419"/>
                  </a:lnTo>
                  <a:lnTo>
                    <a:pt x="33007" y="297656"/>
                  </a:lnTo>
                  <a:lnTo>
                    <a:pt x="53458" y="283655"/>
                  </a:lnTo>
                  <a:cubicBezTo>
                    <a:pt x="51492" y="280035"/>
                    <a:pt x="49590" y="276320"/>
                    <a:pt x="47751" y="272510"/>
                  </a:cubicBezTo>
                  <a:lnTo>
                    <a:pt x="24446" y="280892"/>
                  </a:lnTo>
                  <a:lnTo>
                    <a:pt x="21402" y="273653"/>
                  </a:lnTo>
                  <a:lnTo>
                    <a:pt x="43566" y="262604"/>
                  </a:lnTo>
                  <a:cubicBezTo>
                    <a:pt x="42329" y="259366"/>
                    <a:pt x="41188" y="256223"/>
                    <a:pt x="40141" y="253079"/>
                  </a:cubicBezTo>
                  <a:lnTo>
                    <a:pt x="15980" y="258509"/>
                  </a:lnTo>
                  <a:lnTo>
                    <a:pt x="13793" y="250889"/>
                  </a:lnTo>
                  <a:lnTo>
                    <a:pt x="37097" y="242602"/>
                  </a:lnTo>
                  <a:cubicBezTo>
                    <a:pt x="36051" y="238601"/>
                    <a:pt x="35195" y="234601"/>
                    <a:pt x="34529" y="230505"/>
                  </a:cubicBezTo>
                  <a:lnTo>
                    <a:pt x="9797" y="232505"/>
                  </a:lnTo>
                  <a:lnTo>
                    <a:pt x="8751" y="224790"/>
                  </a:lnTo>
                  <a:lnTo>
                    <a:pt x="32912" y="219742"/>
                  </a:lnTo>
                  <a:cubicBezTo>
                    <a:pt x="32912" y="216408"/>
                    <a:pt x="32246" y="212979"/>
                    <a:pt x="32056" y="209550"/>
                  </a:cubicBezTo>
                  <a:lnTo>
                    <a:pt x="7134" y="208312"/>
                  </a:lnTo>
                  <a:lnTo>
                    <a:pt x="7134" y="200501"/>
                  </a:lnTo>
                  <a:lnTo>
                    <a:pt x="31771" y="198596"/>
                  </a:lnTo>
                  <a:cubicBezTo>
                    <a:pt x="31771" y="194405"/>
                    <a:pt x="31771" y="190310"/>
                    <a:pt x="32436" y="186119"/>
                  </a:cubicBezTo>
                  <a:lnTo>
                    <a:pt x="8085" y="181737"/>
                  </a:lnTo>
                  <a:lnTo>
                    <a:pt x="9037" y="173927"/>
                  </a:lnTo>
                  <a:lnTo>
                    <a:pt x="33673" y="175355"/>
                  </a:lnTo>
                  <a:cubicBezTo>
                    <a:pt x="34244" y="172022"/>
                    <a:pt x="34814" y="168688"/>
                    <a:pt x="35575" y="165354"/>
                  </a:cubicBezTo>
                  <a:lnTo>
                    <a:pt x="11985" y="157924"/>
                  </a:lnTo>
                  <a:lnTo>
                    <a:pt x="13888" y="150305"/>
                  </a:lnTo>
                  <a:lnTo>
                    <a:pt x="38144" y="154781"/>
                  </a:lnTo>
                  <a:cubicBezTo>
                    <a:pt x="39285" y="150876"/>
                    <a:pt x="40617" y="146876"/>
                    <a:pt x="42044" y="142970"/>
                  </a:cubicBezTo>
                  <a:lnTo>
                    <a:pt x="19500" y="132112"/>
                  </a:lnTo>
                  <a:lnTo>
                    <a:pt x="22354" y="124777"/>
                  </a:lnTo>
                  <a:lnTo>
                    <a:pt x="45849" y="132588"/>
                  </a:lnTo>
                  <a:cubicBezTo>
                    <a:pt x="47180" y="129445"/>
                    <a:pt x="48702" y="126397"/>
                    <a:pt x="50224" y="123063"/>
                  </a:cubicBezTo>
                  <a:lnTo>
                    <a:pt x="29297" y="109823"/>
                  </a:lnTo>
                  <a:lnTo>
                    <a:pt x="33102" y="102965"/>
                  </a:lnTo>
                  <a:lnTo>
                    <a:pt x="55456" y="113633"/>
                  </a:lnTo>
                  <a:cubicBezTo>
                    <a:pt x="57549" y="110014"/>
                    <a:pt x="59831" y="106585"/>
                    <a:pt x="62209" y="103156"/>
                  </a:cubicBezTo>
                  <a:lnTo>
                    <a:pt x="43185" y="87154"/>
                  </a:lnTo>
                  <a:lnTo>
                    <a:pt x="47846" y="80867"/>
                  </a:lnTo>
                  <a:lnTo>
                    <a:pt x="68487" y="94488"/>
                  </a:lnTo>
                  <a:cubicBezTo>
                    <a:pt x="70580" y="91821"/>
                    <a:pt x="72768" y="89249"/>
                    <a:pt x="75051" y="86677"/>
                  </a:cubicBezTo>
                  <a:lnTo>
                    <a:pt x="58405" y="68485"/>
                  </a:lnTo>
                  <a:lnTo>
                    <a:pt x="63826" y="62865"/>
                  </a:lnTo>
                  <a:lnTo>
                    <a:pt x="82851" y="78867"/>
                  </a:lnTo>
                  <a:cubicBezTo>
                    <a:pt x="85895" y="76010"/>
                    <a:pt x="88939" y="73247"/>
                    <a:pt x="92363" y="70580"/>
                  </a:cubicBezTo>
                  <a:lnTo>
                    <a:pt x="78285" y="50197"/>
                  </a:lnTo>
                  <a:lnTo>
                    <a:pt x="84468" y="45339"/>
                  </a:lnTo>
                  <a:lnTo>
                    <a:pt x="100924" y="64389"/>
                  </a:lnTo>
                  <a:cubicBezTo>
                    <a:pt x="103682" y="62294"/>
                    <a:pt x="106441" y="60389"/>
                    <a:pt x="109295" y="58579"/>
                  </a:cubicBezTo>
                  <a:lnTo>
                    <a:pt x="97499" y="36862"/>
                  </a:lnTo>
                  <a:lnTo>
                    <a:pt x="104158" y="32861"/>
                  </a:lnTo>
                  <a:lnTo>
                    <a:pt x="118236" y="53245"/>
                  </a:lnTo>
                  <a:cubicBezTo>
                    <a:pt x="121851" y="51245"/>
                    <a:pt x="125560" y="49340"/>
                    <a:pt x="129270" y="47625"/>
                  </a:cubicBezTo>
                  <a:lnTo>
                    <a:pt x="120899" y="24289"/>
                  </a:lnTo>
                  <a:lnTo>
                    <a:pt x="128129" y="21146"/>
                  </a:lnTo>
                  <a:lnTo>
                    <a:pt x="139258" y="43339"/>
                  </a:lnTo>
                  <a:cubicBezTo>
                    <a:pt x="142397" y="42101"/>
                    <a:pt x="145631" y="40958"/>
                    <a:pt x="148770" y="39910"/>
                  </a:cubicBezTo>
                  <a:lnTo>
                    <a:pt x="143348" y="15716"/>
                  </a:lnTo>
                  <a:lnTo>
                    <a:pt x="150863" y="13526"/>
                  </a:lnTo>
                  <a:lnTo>
                    <a:pt x="159233" y="36862"/>
                  </a:lnTo>
                  <a:cubicBezTo>
                    <a:pt x="163228" y="35909"/>
                    <a:pt x="167319" y="35052"/>
                    <a:pt x="171409" y="34290"/>
                  </a:cubicBezTo>
                  <a:lnTo>
                    <a:pt x="169316" y="9620"/>
                  </a:lnTo>
                  <a:lnTo>
                    <a:pt x="177116" y="8477"/>
                  </a:lnTo>
                  <a:lnTo>
                    <a:pt x="182063" y="32766"/>
                  </a:lnTo>
                  <a:cubicBezTo>
                    <a:pt x="185487" y="32766"/>
                    <a:pt x="188816" y="32099"/>
                    <a:pt x="192240" y="31909"/>
                  </a:cubicBezTo>
                  <a:lnTo>
                    <a:pt x="193287" y="7144"/>
                  </a:lnTo>
                  <a:lnTo>
                    <a:pt x="201087" y="7144"/>
                  </a:lnTo>
                  <a:lnTo>
                    <a:pt x="203084" y="31813"/>
                  </a:lnTo>
                  <a:cubicBezTo>
                    <a:pt x="207175" y="31813"/>
                    <a:pt x="211360" y="31813"/>
                    <a:pt x="215450" y="32385"/>
                  </a:cubicBezTo>
                  <a:lnTo>
                    <a:pt x="219921" y="8287"/>
                  </a:lnTo>
                  <a:lnTo>
                    <a:pt x="227721" y="9144"/>
                  </a:lnTo>
                  <a:lnTo>
                    <a:pt x="226199" y="33909"/>
                  </a:lnTo>
                  <a:cubicBezTo>
                    <a:pt x="229528" y="33909"/>
                    <a:pt x="232952" y="35052"/>
                    <a:pt x="236282" y="35719"/>
                  </a:cubicBezTo>
                  <a:lnTo>
                    <a:pt x="243701" y="12097"/>
                  </a:lnTo>
                  <a:lnTo>
                    <a:pt x="251216" y="14002"/>
                  </a:lnTo>
                  <a:lnTo>
                    <a:pt x="246365" y="38005"/>
                  </a:lnTo>
                  <a:cubicBezTo>
                    <a:pt x="250360" y="39148"/>
                    <a:pt x="254260" y="40386"/>
                    <a:pt x="258160" y="41815"/>
                  </a:cubicBezTo>
                  <a:lnTo>
                    <a:pt x="268718" y="19431"/>
                  </a:lnTo>
                  <a:close/>
                  <a:moveTo>
                    <a:pt x="200801" y="170212"/>
                  </a:moveTo>
                  <a:cubicBezTo>
                    <a:pt x="183886" y="170159"/>
                    <a:pt x="170130" y="183848"/>
                    <a:pt x="170077" y="200787"/>
                  </a:cubicBezTo>
                  <a:cubicBezTo>
                    <a:pt x="170025" y="217726"/>
                    <a:pt x="183695" y="231500"/>
                    <a:pt x="200611" y="231552"/>
                  </a:cubicBezTo>
                  <a:cubicBezTo>
                    <a:pt x="217527" y="231605"/>
                    <a:pt x="231283" y="217916"/>
                    <a:pt x="231335" y="200977"/>
                  </a:cubicBezTo>
                  <a:cubicBezTo>
                    <a:pt x="231336" y="200946"/>
                    <a:pt x="231336" y="200914"/>
                    <a:pt x="231336" y="200882"/>
                  </a:cubicBezTo>
                  <a:cubicBezTo>
                    <a:pt x="231336" y="183981"/>
                    <a:pt x="217680" y="170264"/>
                    <a:pt x="200801" y="170212"/>
                  </a:cubicBezTo>
                  <a:close/>
                  <a:moveTo>
                    <a:pt x="222014" y="147637"/>
                  </a:moveTo>
                  <a:cubicBezTo>
                    <a:pt x="230943" y="151203"/>
                    <a:pt x="238828" y="156969"/>
                    <a:pt x="244938" y="164402"/>
                  </a:cubicBezTo>
                  <a:lnTo>
                    <a:pt x="310096" y="136493"/>
                  </a:lnTo>
                  <a:cubicBezTo>
                    <a:pt x="280758" y="86675"/>
                    <a:pt x="221543" y="62957"/>
                    <a:pt x="165987" y="78772"/>
                  </a:cubicBezTo>
                  <a:lnTo>
                    <a:pt x="193858" y="144018"/>
                  </a:lnTo>
                  <a:cubicBezTo>
                    <a:pt x="203530" y="142795"/>
                    <a:pt x="213355" y="144074"/>
                    <a:pt x="222394" y="147733"/>
                  </a:cubicBezTo>
                  <a:close/>
                  <a:moveTo>
                    <a:pt x="257589" y="194024"/>
                  </a:moveTo>
                  <a:cubicBezTo>
                    <a:pt x="259938" y="213540"/>
                    <a:pt x="252106" y="232895"/>
                    <a:pt x="236852" y="245269"/>
                  </a:cubicBezTo>
                  <a:lnTo>
                    <a:pt x="265389" y="310420"/>
                  </a:lnTo>
                  <a:cubicBezTo>
                    <a:pt x="314935" y="280927"/>
                    <a:pt x="338381" y="221683"/>
                    <a:pt x="322462" y="166211"/>
                  </a:cubicBezTo>
                  <a:lnTo>
                    <a:pt x="257304" y="194120"/>
                  </a:lnTo>
                  <a:close/>
                  <a:moveTo>
                    <a:pt x="207650" y="257842"/>
                  </a:moveTo>
                  <a:cubicBezTo>
                    <a:pt x="197977" y="259027"/>
                    <a:pt x="188162" y="257749"/>
                    <a:pt x="179114" y="254127"/>
                  </a:cubicBezTo>
                  <a:cubicBezTo>
                    <a:pt x="170139" y="250548"/>
                    <a:pt x="162219" y="244748"/>
                    <a:pt x="156094" y="237268"/>
                  </a:cubicBezTo>
                  <a:lnTo>
                    <a:pt x="91412" y="265462"/>
                  </a:lnTo>
                  <a:cubicBezTo>
                    <a:pt x="120704" y="315334"/>
                    <a:pt x="179961" y="339069"/>
                    <a:pt x="235521" y="323183"/>
                  </a:cubicBezTo>
                  <a:lnTo>
                    <a:pt x="207650" y="258032"/>
                  </a:lnTo>
                  <a:close/>
                  <a:moveTo>
                    <a:pt x="143919" y="208312"/>
                  </a:moveTo>
                  <a:cubicBezTo>
                    <a:pt x="141537" y="188880"/>
                    <a:pt x="149254" y="169579"/>
                    <a:pt x="164370" y="157162"/>
                  </a:cubicBezTo>
                  <a:lnTo>
                    <a:pt x="136499" y="91916"/>
                  </a:lnTo>
                  <a:cubicBezTo>
                    <a:pt x="86712" y="121265"/>
                    <a:pt x="62984" y="180567"/>
                    <a:pt x="78761" y="236220"/>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29" name="Freeform 28">
              <a:extLst>
                <a:ext uri="{FF2B5EF4-FFF2-40B4-BE49-F238E27FC236}">
                  <a16:creationId xmlns="" xmlns:a16="http://schemas.microsoft.com/office/drawing/2014/main" id="{9160B34D-158D-3041-A7CE-31F328B1AC1F}"/>
                </a:ext>
              </a:extLst>
            </p:cNvPr>
            <p:cNvSpPr/>
            <p:nvPr/>
          </p:nvSpPr>
          <p:spPr>
            <a:xfrm>
              <a:off x="4505069" y="3174048"/>
              <a:ext cx="454114" cy="443901"/>
            </a:xfrm>
            <a:custGeom>
              <a:avLst/>
              <a:gdLst>
                <a:gd name="connsiteX0" fmla="*/ 275947 w 399510"/>
                <a:gd name="connsiteY0" fmla="*/ 15716 h 390525"/>
                <a:gd name="connsiteX1" fmla="*/ 275947 w 399510"/>
                <a:gd name="connsiteY1" fmla="*/ 15716 h 390525"/>
                <a:gd name="connsiteX2" fmla="*/ 267672 w 399510"/>
                <a:gd name="connsiteY2" fmla="*/ 40577 h 390525"/>
                <a:gd name="connsiteX3" fmla="*/ 267672 w 399510"/>
                <a:gd name="connsiteY3" fmla="*/ 40577 h 390525"/>
                <a:gd name="connsiteX4" fmla="*/ 275947 w 399510"/>
                <a:gd name="connsiteY4" fmla="*/ 15716 h 390525"/>
                <a:gd name="connsiteX5" fmla="*/ 297350 w 399510"/>
                <a:gd name="connsiteY5" fmla="*/ 26289 h 390525"/>
                <a:gd name="connsiteX6" fmla="*/ 297920 w 399510"/>
                <a:gd name="connsiteY6" fmla="*/ 26289 h 390525"/>
                <a:gd name="connsiteX7" fmla="*/ 286696 w 399510"/>
                <a:gd name="connsiteY7" fmla="*/ 49911 h 390525"/>
                <a:gd name="connsiteX8" fmla="*/ 286125 w 399510"/>
                <a:gd name="connsiteY8" fmla="*/ 49911 h 390525"/>
                <a:gd name="connsiteX9" fmla="*/ 297350 w 399510"/>
                <a:gd name="connsiteY9" fmla="*/ 26289 h 390525"/>
                <a:gd name="connsiteX10" fmla="*/ 319323 w 399510"/>
                <a:gd name="connsiteY10" fmla="*/ 41053 h 390525"/>
                <a:gd name="connsiteX11" fmla="*/ 319989 w 399510"/>
                <a:gd name="connsiteY11" fmla="*/ 41053 h 390525"/>
                <a:gd name="connsiteX12" fmla="*/ 305720 w 399510"/>
                <a:gd name="connsiteY12" fmla="*/ 62770 h 390525"/>
                <a:gd name="connsiteX13" fmla="*/ 305055 w 399510"/>
                <a:gd name="connsiteY13" fmla="*/ 62198 h 390525"/>
                <a:gd name="connsiteX14" fmla="*/ 319323 w 399510"/>
                <a:gd name="connsiteY14" fmla="*/ 40577 h 390525"/>
                <a:gd name="connsiteX15" fmla="*/ 337301 w 399510"/>
                <a:gd name="connsiteY15" fmla="*/ 56769 h 390525"/>
                <a:gd name="connsiteX16" fmla="*/ 338062 w 399510"/>
                <a:gd name="connsiteY16" fmla="*/ 57531 h 390525"/>
                <a:gd name="connsiteX17" fmla="*/ 321225 w 399510"/>
                <a:gd name="connsiteY17" fmla="*/ 77153 h 390525"/>
                <a:gd name="connsiteX18" fmla="*/ 320559 w 399510"/>
                <a:gd name="connsiteY18" fmla="*/ 76391 h 390525"/>
                <a:gd name="connsiteX19" fmla="*/ 337301 w 399510"/>
                <a:gd name="connsiteY19" fmla="*/ 56769 h 390525"/>
                <a:gd name="connsiteX20" fmla="*/ 354708 w 399510"/>
                <a:gd name="connsiteY20" fmla="*/ 76676 h 390525"/>
                <a:gd name="connsiteX21" fmla="*/ 335684 w 399510"/>
                <a:gd name="connsiteY21" fmla="*/ 93726 h 390525"/>
                <a:gd name="connsiteX22" fmla="*/ 336350 w 399510"/>
                <a:gd name="connsiteY22" fmla="*/ 94774 h 390525"/>
                <a:gd name="connsiteX23" fmla="*/ 355374 w 399510"/>
                <a:gd name="connsiteY23" fmla="*/ 77724 h 390525"/>
                <a:gd name="connsiteX24" fmla="*/ 354613 w 399510"/>
                <a:gd name="connsiteY24" fmla="*/ 76676 h 390525"/>
                <a:gd name="connsiteX25" fmla="*/ 368025 w 399510"/>
                <a:gd name="connsiteY25" fmla="*/ 96679 h 390525"/>
                <a:gd name="connsiteX26" fmla="*/ 368786 w 399510"/>
                <a:gd name="connsiteY26" fmla="*/ 97822 h 390525"/>
                <a:gd name="connsiteX27" fmla="*/ 348145 w 399510"/>
                <a:gd name="connsiteY27" fmla="*/ 112014 h 390525"/>
                <a:gd name="connsiteX28" fmla="*/ 347003 w 399510"/>
                <a:gd name="connsiteY28" fmla="*/ 110966 h 390525"/>
                <a:gd name="connsiteX29" fmla="*/ 368025 w 399510"/>
                <a:gd name="connsiteY29" fmla="*/ 96679 h 390525"/>
                <a:gd name="connsiteX30" fmla="*/ 379535 w 399510"/>
                <a:gd name="connsiteY30" fmla="*/ 120396 h 390525"/>
                <a:gd name="connsiteX31" fmla="*/ 380105 w 399510"/>
                <a:gd name="connsiteY31" fmla="*/ 121730 h 390525"/>
                <a:gd name="connsiteX32" fmla="*/ 357847 w 399510"/>
                <a:gd name="connsiteY32" fmla="*/ 132969 h 390525"/>
                <a:gd name="connsiteX33" fmla="*/ 356991 w 399510"/>
                <a:gd name="connsiteY33" fmla="*/ 131731 h 390525"/>
                <a:gd name="connsiteX34" fmla="*/ 379535 w 399510"/>
                <a:gd name="connsiteY34" fmla="*/ 120396 h 390525"/>
                <a:gd name="connsiteX35" fmla="*/ 387335 w 399510"/>
                <a:gd name="connsiteY35" fmla="*/ 143161 h 390525"/>
                <a:gd name="connsiteX36" fmla="*/ 387335 w 399510"/>
                <a:gd name="connsiteY36" fmla="*/ 144590 h 390525"/>
                <a:gd name="connsiteX37" fmla="*/ 363840 w 399510"/>
                <a:gd name="connsiteY37" fmla="*/ 152972 h 390525"/>
                <a:gd name="connsiteX38" fmla="*/ 363840 w 399510"/>
                <a:gd name="connsiteY38" fmla="*/ 151447 h 390525"/>
                <a:gd name="connsiteX39" fmla="*/ 387430 w 399510"/>
                <a:gd name="connsiteY39" fmla="*/ 143161 h 390525"/>
                <a:gd name="connsiteX40" fmla="*/ 392566 w 399510"/>
                <a:gd name="connsiteY40" fmla="*/ 169164 h 390525"/>
                <a:gd name="connsiteX41" fmla="*/ 392566 w 399510"/>
                <a:gd name="connsiteY41" fmla="*/ 170783 h 390525"/>
                <a:gd name="connsiteX42" fmla="*/ 368310 w 399510"/>
                <a:gd name="connsiteY42" fmla="*/ 175832 h 390525"/>
                <a:gd name="connsiteX43" fmla="*/ 368310 w 399510"/>
                <a:gd name="connsiteY43" fmla="*/ 174212 h 390525"/>
                <a:gd name="connsiteX44" fmla="*/ 392566 w 399510"/>
                <a:gd name="connsiteY44" fmla="*/ 169164 h 390525"/>
                <a:gd name="connsiteX45" fmla="*/ 394183 w 399510"/>
                <a:gd name="connsiteY45" fmla="*/ 193262 h 390525"/>
                <a:gd name="connsiteX46" fmla="*/ 394183 w 399510"/>
                <a:gd name="connsiteY46" fmla="*/ 194882 h 390525"/>
                <a:gd name="connsiteX47" fmla="*/ 369547 w 399510"/>
                <a:gd name="connsiteY47" fmla="*/ 196787 h 390525"/>
                <a:gd name="connsiteX48" fmla="*/ 368976 w 399510"/>
                <a:gd name="connsiteY48" fmla="*/ 207645 h 390525"/>
                <a:gd name="connsiteX49" fmla="*/ 368976 w 399510"/>
                <a:gd name="connsiteY49" fmla="*/ 209264 h 390525"/>
                <a:gd name="connsiteX50" fmla="*/ 368976 w 399510"/>
                <a:gd name="connsiteY50" fmla="*/ 210884 h 390525"/>
                <a:gd name="connsiteX51" fmla="*/ 368976 w 399510"/>
                <a:gd name="connsiteY51" fmla="*/ 207645 h 390525"/>
                <a:gd name="connsiteX52" fmla="*/ 369642 w 399510"/>
                <a:gd name="connsiteY52" fmla="*/ 195167 h 390525"/>
                <a:gd name="connsiteX53" fmla="*/ 394183 w 399510"/>
                <a:gd name="connsiteY53" fmla="*/ 193262 h 390525"/>
                <a:gd name="connsiteX54" fmla="*/ 393137 w 399510"/>
                <a:gd name="connsiteY54" fmla="*/ 213646 h 390525"/>
                <a:gd name="connsiteX55" fmla="*/ 393137 w 399510"/>
                <a:gd name="connsiteY55" fmla="*/ 213646 h 390525"/>
                <a:gd name="connsiteX56" fmla="*/ 392186 w 399510"/>
                <a:gd name="connsiteY56" fmla="*/ 221456 h 390525"/>
                <a:gd name="connsiteX57" fmla="*/ 367454 w 399510"/>
                <a:gd name="connsiteY57" fmla="*/ 220028 h 390525"/>
                <a:gd name="connsiteX58" fmla="*/ 365932 w 399510"/>
                <a:gd name="connsiteY58" fmla="*/ 228505 h 390525"/>
                <a:gd name="connsiteX59" fmla="*/ 365932 w 399510"/>
                <a:gd name="connsiteY59" fmla="*/ 230124 h 390525"/>
                <a:gd name="connsiteX60" fmla="*/ 365361 w 399510"/>
                <a:gd name="connsiteY60" fmla="*/ 231553 h 390525"/>
                <a:gd name="connsiteX61" fmla="*/ 367740 w 399510"/>
                <a:gd name="connsiteY61" fmla="*/ 218313 h 390525"/>
                <a:gd name="connsiteX62" fmla="*/ 392471 w 399510"/>
                <a:gd name="connsiteY62" fmla="*/ 219837 h 390525"/>
                <a:gd name="connsiteX63" fmla="*/ 393232 w 399510"/>
                <a:gd name="connsiteY63" fmla="*/ 213646 h 390525"/>
                <a:gd name="connsiteX64" fmla="*/ 389047 w 399510"/>
                <a:gd name="connsiteY64" fmla="*/ 237363 h 390525"/>
                <a:gd name="connsiteX65" fmla="*/ 389047 w 399510"/>
                <a:gd name="connsiteY65" fmla="*/ 237363 h 390525"/>
                <a:gd name="connsiteX66" fmla="*/ 387144 w 399510"/>
                <a:gd name="connsiteY66" fmla="*/ 244983 h 390525"/>
                <a:gd name="connsiteX67" fmla="*/ 362793 w 399510"/>
                <a:gd name="connsiteY67" fmla="*/ 240411 h 390525"/>
                <a:gd name="connsiteX68" fmla="*/ 359559 w 399510"/>
                <a:gd name="connsiteY68" fmla="*/ 250889 h 390525"/>
                <a:gd name="connsiteX69" fmla="*/ 358988 w 399510"/>
                <a:gd name="connsiteY69" fmla="*/ 252317 h 390525"/>
                <a:gd name="connsiteX70" fmla="*/ 358037 w 399510"/>
                <a:gd name="connsiteY70" fmla="*/ 253460 h 390525"/>
                <a:gd name="connsiteX71" fmla="*/ 362793 w 399510"/>
                <a:gd name="connsiteY71" fmla="*/ 238792 h 390525"/>
                <a:gd name="connsiteX72" fmla="*/ 387144 w 399510"/>
                <a:gd name="connsiteY72" fmla="*/ 243364 h 390525"/>
                <a:gd name="connsiteX73" fmla="*/ 388666 w 399510"/>
                <a:gd name="connsiteY73" fmla="*/ 237268 h 390525"/>
                <a:gd name="connsiteX74" fmla="*/ 381247 w 399510"/>
                <a:gd name="connsiteY74" fmla="*/ 262700 h 390525"/>
                <a:gd name="connsiteX75" fmla="*/ 381247 w 399510"/>
                <a:gd name="connsiteY75" fmla="*/ 262700 h 390525"/>
                <a:gd name="connsiteX76" fmla="*/ 378393 w 399510"/>
                <a:gd name="connsiteY76" fmla="*/ 269939 h 390525"/>
                <a:gd name="connsiteX77" fmla="*/ 354898 w 399510"/>
                <a:gd name="connsiteY77" fmla="*/ 262128 h 390525"/>
                <a:gd name="connsiteX78" fmla="*/ 351188 w 399510"/>
                <a:gd name="connsiteY78" fmla="*/ 270129 h 390525"/>
                <a:gd name="connsiteX79" fmla="*/ 350523 w 399510"/>
                <a:gd name="connsiteY79" fmla="*/ 271463 h 390525"/>
                <a:gd name="connsiteX80" fmla="*/ 349381 w 399510"/>
                <a:gd name="connsiteY80" fmla="*/ 272320 h 390525"/>
                <a:gd name="connsiteX81" fmla="*/ 354898 w 399510"/>
                <a:gd name="connsiteY81" fmla="*/ 260509 h 390525"/>
                <a:gd name="connsiteX82" fmla="*/ 379535 w 399510"/>
                <a:gd name="connsiteY82" fmla="*/ 268510 h 390525"/>
                <a:gd name="connsiteX83" fmla="*/ 381913 w 399510"/>
                <a:gd name="connsiteY83" fmla="*/ 262604 h 390525"/>
                <a:gd name="connsiteX84" fmla="*/ 371259 w 399510"/>
                <a:gd name="connsiteY84" fmla="*/ 284512 h 390525"/>
                <a:gd name="connsiteX85" fmla="*/ 371925 w 399510"/>
                <a:gd name="connsiteY85" fmla="*/ 284988 h 390525"/>
                <a:gd name="connsiteX86" fmla="*/ 368120 w 399510"/>
                <a:gd name="connsiteY86" fmla="*/ 291846 h 390525"/>
                <a:gd name="connsiteX87" fmla="*/ 345766 w 399510"/>
                <a:gd name="connsiteY87" fmla="*/ 281178 h 390525"/>
                <a:gd name="connsiteX88" fmla="*/ 339774 w 399510"/>
                <a:gd name="connsiteY88" fmla="*/ 290703 h 390525"/>
                <a:gd name="connsiteX89" fmla="*/ 339013 w 399510"/>
                <a:gd name="connsiteY89" fmla="*/ 291751 h 390525"/>
                <a:gd name="connsiteX90" fmla="*/ 337681 w 399510"/>
                <a:gd name="connsiteY90" fmla="*/ 291751 h 390525"/>
                <a:gd name="connsiteX91" fmla="*/ 345766 w 399510"/>
                <a:gd name="connsiteY91" fmla="*/ 279178 h 390525"/>
                <a:gd name="connsiteX92" fmla="*/ 368120 w 399510"/>
                <a:gd name="connsiteY92" fmla="*/ 289846 h 390525"/>
                <a:gd name="connsiteX93" fmla="*/ 371259 w 399510"/>
                <a:gd name="connsiteY93" fmla="*/ 284131 h 390525"/>
                <a:gd name="connsiteX94" fmla="*/ 357466 w 399510"/>
                <a:gd name="connsiteY94" fmla="*/ 306610 h 390525"/>
                <a:gd name="connsiteX95" fmla="*/ 358132 w 399510"/>
                <a:gd name="connsiteY95" fmla="*/ 307277 h 390525"/>
                <a:gd name="connsiteX96" fmla="*/ 353471 w 399510"/>
                <a:gd name="connsiteY96" fmla="*/ 313563 h 390525"/>
                <a:gd name="connsiteX97" fmla="*/ 332830 w 399510"/>
                <a:gd name="connsiteY97" fmla="*/ 299942 h 390525"/>
                <a:gd name="connsiteX98" fmla="*/ 326932 w 399510"/>
                <a:gd name="connsiteY98" fmla="*/ 306896 h 390525"/>
                <a:gd name="connsiteX99" fmla="*/ 326172 w 399510"/>
                <a:gd name="connsiteY99" fmla="*/ 307753 h 390525"/>
                <a:gd name="connsiteX100" fmla="*/ 324745 w 399510"/>
                <a:gd name="connsiteY100" fmla="*/ 307753 h 390525"/>
                <a:gd name="connsiteX101" fmla="*/ 332830 w 399510"/>
                <a:gd name="connsiteY101" fmla="*/ 298228 h 390525"/>
                <a:gd name="connsiteX102" fmla="*/ 353471 w 399510"/>
                <a:gd name="connsiteY102" fmla="*/ 311753 h 390525"/>
                <a:gd name="connsiteX103" fmla="*/ 357466 w 399510"/>
                <a:gd name="connsiteY103" fmla="*/ 306515 h 390525"/>
                <a:gd name="connsiteX104" fmla="*/ 342152 w 399510"/>
                <a:gd name="connsiteY104" fmla="*/ 325660 h 390525"/>
                <a:gd name="connsiteX105" fmla="*/ 342913 w 399510"/>
                <a:gd name="connsiteY105" fmla="*/ 326517 h 390525"/>
                <a:gd name="connsiteX106" fmla="*/ 337491 w 399510"/>
                <a:gd name="connsiteY106" fmla="*/ 332137 h 390525"/>
                <a:gd name="connsiteX107" fmla="*/ 318467 w 399510"/>
                <a:gd name="connsiteY107" fmla="*/ 316040 h 390525"/>
                <a:gd name="connsiteX108" fmla="*/ 309906 w 399510"/>
                <a:gd name="connsiteY108" fmla="*/ 323850 h 390525"/>
                <a:gd name="connsiteX109" fmla="*/ 309145 w 399510"/>
                <a:gd name="connsiteY109" fmla="*/ 324422 h 390525"/>
                <a:gd name="connsiteX110" fmla="*/ 307718 w 399510"/>
                <a:gd name="connsiteY110" fmla="*/ 323945 h 390525"/>
                <a:gd name="connsiteX111" fmla="*/ 318467 w 399510"/>
                <a:gd name="connsiteY111" fmla="*/ 314420 h 390525"/>
                <a:gd name="connsiteX112" fmla="*/ 337491 w 399510"/>
                <a:gd name="connsiteY112" fmla="*/ 330518 h 390525"/>
                <a:gd name="connsiteX113" fmla="*/ 342152 w 399510"/>
                <a:gd name="connsiteY113" fmla="*/ 325660 h 390525"/>
                <a:gd name="connsiteX114" fmla="*/ 323128 w 399510"/>
                <a:gd name="connsiteY114" fmla="*/ 343662 h 390525"/>
                <a:gd name="connsiteX115" fmla="*/ 317706 w 399510"/>
                <a:gd name="connsiteY115" fmla="*/ 347948 h 390525"/>
                <a:gd name="connsiteX116" fmla="*/ 301250 w 399510"/>
                <a:gd name="connsiteY116" fmla="*/ 329470 h 390525"/>
                <a:gd name="connsiteX117" fmla="*/ 291738 w 399510"/>
                <a:gd name="connsiteY117" fmla="*/ 336042 h 390525"/>
                <a:gd name="connsiteX118" fmla="*/ 293069 w 399510"/>
                <a:gd name="connsiteY118" fmla="*/ 336899 h 390525"/>
                <a:gd name="connsiteX119" fmla="*/ 293640 w 399510"/>
                <a:gd name="connsiteY119" fmla="*/ 336899 h 390525"/>
                <a:gd name="connsiteX120" fmla="*/ 301440 w 399510"/>
                <a:gd name="connsiteY120" fmla="*/ 331470 h 390525"/>
                <a:gd name="connsiteX121" fmla="*/ 317896 w 399510"/>
                <a:gd name="connsiteY121" fmla="*/ 349949 h 390525"/>
                <a:gd name="connsiteX122" fmla="*/ 324079 w 399510"/>
                <a:gd name="connsiteY122" fmla="*/ 345186 h 390525"/>
                <a:gd name="connsiteX123" fmla="*/ 323318 w 399510"/>
                <a:gd name="connsiteY123" fmla="*/ 344043 h 390525"/>
                <a:gd name="connsiteX124" fmla="*/ 304103 w 399510"/>
                <a:gd name="connsiteY124" fmla="*/ 357569 h 390525"/>
                <a:gd name="connsiteX125" fmla="*/ 304769 w 399510"/>
                <a:gd name="connsiteY125" fmla="*/ 358902 h 390525"/>
                <a:gd name="connsiteX126" fmla="*/ 298111 w 399510"/>
                <a:gd name="connsiteY126" fmla="*/ 362903 h 390525"/>
                <a:gd name="connsiteX127" fmla="*/ 284033 w 399510"/>
                <a:gd name="connsiteY127" fmla="*/ 342424 h 390525"/>
                <a:gd name="connsiteX128" fmla="*/ 273474 w 399510"/>
                <a:gd name="connsiteY128" fmla="*/ 347948 h 390525"/>
                <a:gd name="connsiteX129" fmla="*/ 272999 w 399510"/>
                <a:gd name="connsiteY129" fmla="*/ 347948 h 390525"/>
                <a:gd name="connsiteX130" fmla="*/ 271952 w 399510"/>
                <a:gd name="connsiteY130" fmla="*/ 346710 h 390525"/>
                <a:gd name="connsiteX131" fmla="*/ 284033 w 399510"/>
                <a:gd name="connsiteY131" fmla="*/ 340614 h 390525"/>
                <a:gd name="connsiteX132" fmla="*/ 298111 w 399510"/>
                <a:gd name="connsiteY132" fmla="*/ 361093 h 390525"/>
                <a:gd name="connsiteX133" fmla="*/ 304103 w 399510"/>
                <a:gd name="connsiteY133" fmla="*/ 357378 h 390525"/>
                <a:gd name="connsiteX134" fmla="*/ 280894 w 399510"/>
                <a:gd name="connsiteY134" fmla="*/ 370046 h 390525"/>
                <a:gd name="connsiteX135" fmla="*/ 274140 w 399510"/>
                <a:gd name="connsiteY135" fmla="*/ 372904 h 390525"/>
                <a:gd name="connsiteX136" fmla="*/ 263011 w 399510"/>
                <a:gd name="connsiteY136" fmla="*/ 350806 h 390525"/>
                <a:gd name="connsiteX137" fmla="*/ 253499 w 399510"/>
                <a:gd name="connsiteY137" fmla="*/ 354235 h 390525"/>
                <a:gd name="connsiteX138" fmla="*/ 252833 w 399510"/>
                <a:gd name="connsiteY138" fmla="*/ 354235 h 390525"/>
                <a:gd name="connsiteX139" fmla="*/ 253499 w 399510"/>
                <a:gd name="connsiteY139" fmla="*/ 355664 h 390525"/>
                <a:gd name="connsiteX140" fmla="*/ 253499 w 399510"/>
                <a:gd name="connsiteY140" fmla="*/ 355664 h 390525"/>
                <a:gd name="connsiteX141" fmla="*/ 263011 w 399510"/>
                <a:gd name="connsiteY141" fmla="*/ 352330 h 390525"/>
                <a:gd name="connsiteX142" fmla="*/ 274140 w 399510"/>
                <a:gd name="connsiteY142" fmla="*/ 374428 h 390525"/>
                <a:gd name="connsiteX143" fmla="*/ 281369 w 399510"/>
                <a:gd name="connsiteY143" fmla="*/ 371380 h 390525"/>
                <a:gd name="connsiteX144" fmla="*/ 281369 w 399510"/>
                <a:gd name="connsiteY144" fmla="*/ 369951 h 390525"/>
                <a:gd name="connsiteX145" fmla="*/ 258445 w 399510"/>
                <a:gd name="connsiteY145" fmla="*/ 378524 h 390525"/>
                <a:gd name="connsiteX146" fmla="*/ 258445 w 399510"/>
                <a:gd name="connsiteY146" fmla="*/ 380048 h 390525"/>
                <a:gd name="connsiteX147" fmla="*/ 250930 w 399510"/>
                <a:gd name="connsiteY147" fmla="*/ 382143 h 390525"/>
                <a:gd name="connsiteX148" fmla="*/ 242655 w 399510"/>
                <a:gd name="connsiteY148" fmla="*/ 358807 h 390525"/>
                <a:gd name="connsiteX149" fmla="*/ 230670 w 399510"/>
                <a:gd name="connsiteY149" fmla="*/ 361474 h 390525"/>
                <a:gd name="connsiteX150" fmla="*/ 230670 w 399510"/>
                <a:gd name="connsiteY150" fmla="*/ 359855 h 390525"/>
                <a:gd name="connsiteX151" fmla="*/ 242845 w 399510"/>
                <a:gd name="connsiteY151" fmla="*/ 357188 h 390525"/>
                <a:gd name="connsiteX152" fmla="*/ 251121 w 399510"/>
                <a:gd name="connsiteY152" fmla="*/ 380524 h 390525"/>
                <a:gd name="connsiteX153" fmla="*/ 258255 w 399510"/>
                <a:gd name="connsiteY153" fmla="*/ 378524 h 390525"/>
                <a:gd name="connsiteX154" fmla="*/ 232762 w 399510"/>
                <a:gd name="connsiteY154" fmla="*/ 384524 h 390525"/>
                <a:gd name="connsiteX155" fmla="*/ 225153 w 399510"/>
                <a:gd name="connsiteY155" fmla="*/ 385667 h 390525"/>
                <a:gd name="connsiteX156" fmla="*/ 220206 w 399510"/>
                <a:gd name="connsiteY156" fmla="*/ 361379 h 390525"/>
                <a:gd name="connsiteX157" fmla="*/ 210028 w 399510"/>
                <a:gd name="connsiteY157" fmla="*/ 362236 h 390525"/>
                <a:gd name="connsiteX158" fmla="*/ 208316 w 399510"/>
                <a:gd name="connsiteY158" fmla="*/ 386715 h 390525"/>
                <a:gd name="connsiteX159" fmla="*/ 200516 w 399510"/>
                <a:gd name="connsiteY159" fmla="*/ 386715 h 390525"/>
                <a:gd name="connsiteX160" fmla="*/ 198804 w 399510"/>
                <a:gd name="connsiteY160" fmla="*/ 362236 h 390525"/>
                <a:gd name="connsiteX161" fmla="*/ 186438 w 399510"/>
                <a:gd name="connsiteY161" fmla="*/ 361569 h 390525"/>
                <a:gd name="connsiteX162" fmla="*/ 181967 w 399510"/>
                <a:gd name="connsiteY162" fmla="*/ 385953 h 390525"/>
                <a:gd name="connsiteX163" fmla="*/ 174358 w 399510"/>
                <a:gd name="connsiteY163" fmla="*/ 385001 h 390525"/>
                <a:gd name="connsiteX164" fmla="*/ 174358 w 399510"/>
                <a:gd name="connsiteY164" fmla="*/ 386620 h 390525"/>
                <a:gd name="connsiteX165" fmla="*/ 182158 w 399510"/>
                <a:gd name="connsiteY165" fmla="*/ 387572 h 390525"/>
                <a:gd name="connsiteX166" fmla="*/ 186628 w 399510"/>
                <a:gd name="connsiteY166" fmla="*/ 363188 h 390525"/>
                <a:gd name="connsiteX167" fmla="*/ 198994 w 399510"/>
                <a:gd name="connsiteY167" fmla="*/ 363855 h 390525"/>
                <a:gd name="connsiteX168" fmla="*/ 200992 w 399510"/>
                <a:gd name="connsiteY168" fmla="*/ 388525 h 390525"/>
                <a:gd name="connsiteX169" fmla="*/ 208792 w 399510"/>
                <a:gd name="connsiteY169" fmla="*/ 388525 h 390525"/>
                <a:gd name="connsiteX170" fmla="*/ 209267 w 399510"/>
                <a:gd name="connsiteY170" fmla="*/ 363760 h 390525"/>
                <a:gd name="connsiteX171" fmla="*/ 219445 w 399510"/>
                <a:gd name="connsiteY171" fmla="*/ 362903 h 390525"/>
                <a:gd name="connsiteX172" fmla="*/ 224392 w 399510"/>
                <a:gd name="connsiteY172" fmla="*/ 387191 h 390525"/>
                <a:gd name="connsiteX173" fmla="*/ 232191 w 399510"/>
                <a:gd name="connsiteY173" fmla="*/ 386048 h 390525"/>
                <a:gd name="connsiteX174" fmla="*/ 232191 w 399510"/>
                <a:gd name="connsiteY174" fmla="*/ 384429 h 390525"/>
                <a:gd name="connsiteX175" fmla="*/ 175689 w 399510"/>
                <a:gd name="connsiteY175" fmla="*/ 362141 h 390525"/>
                <a:gd name="connsiteX176" fmla="*/ 165702 w 399510"/>
                <a:gd name="connsiteY176" fmla="*/ 360236 h 390525"/>
                <a:gd name="connsiteX177" fmla="*/ 158282 w 399510"/>
                <a:gd name="connsiteY177" fmla="*/ 383858 h 390525"/>
                <a:gd name="connsiteX178" fmla="*/ 150672 w 399510"/>
                <a:gd name="connsiteY178" fmla="*/ 382048 h 390525"/>
                <a:gd name="connsiteX179" fmla="*/ 150672 w 399510"/>
                <a:gd name="connsiteY179" fmla="*/ 380429 h 390525"/>
                <a:gd name="connsiteX180" fmla="*/ 150672 w 399510"/>
                <a:gd name="connsiteY180" fmla="*/ 380429 h 390525"/>
                <a:gd name="connsiteX181" fmla="*/ 157616 w 399510"/>
                <a:gd name="connsiteY181" fmla="*/ 382143 h 390525"/>
                <a:gd name="connsiteX182" fmla="*/ 165036 w 399510"/>
                <a:gd name="connsiteY182" fmla="*/ 358521 h 390525"/>
                <a:gd name="connsiteX183" fmla="*/ 175119 w 399510"/>
                <a:gd name="connsiteY183" fmla="*/ 360426 h 390525"/>
                <a:gd name="connsiteX184" fmla="*/ 175119 w 399510"/>
                <a:gd name="connsiteY184" fmla="*/ 362045 h 390525"/>
                <a:gd name="connsiteX185" fmla="*/ 154953 w 399510"/>
                <a:gd name="connsiteY185" fmla="*/ 357569 h 390525"/>
                <a:gd name="connsiteX186" fmla="*/ 154953 w 399510"/>
                <a:gd name="connsiteY186" fmla="*/ 357569 h 390525"/>
                <a:gd name="connsiteX187" fmla="*/ 155524 w 399510"/>
                <a:gd name="connsiteY187" fmla="*/ 356140 h 390525"/>
                <a:gd name="connsiteX188" fmla="*/ 143158 w 399510"/>
                <a:gd name="connsiteY188" fmla="*/ 352044 h 390525"/>
                <a:gd name="connsiteX189" fmla="*/ 132219 w 399510"/>
                <a:gd name="connsiteY189" fmla="*/ 374428 h 390525"/>
                <a:gd name="connsiteX190" fmla="*/ 125465 w 399510"/>
                <a:gd name="connsiteY190" fmla="*/ 371666 h 390525"/>
                <a:gd name="connsiteX191" fmla="*/ 124990 w 399510"/>
                <a:gd name="connsiteY191" fmla="*/ 373094 h 390525"/>
                <a:gd name="connsiteX192" fmla="*/ 132219 w 399510"/>
                <a:gd name="connsiteY192" fmla="*/ 376047 h 390525"/>
                <a:gd name="connsiteX193" fmla="*/ 142872 w 399510"/>
                <a:gd name="connsiteY193" fmla="*/ 353663 h 390525"/>
                <a:gd name="connsiteX194" fmla="*/ 154382 w 399510"/>
                <a:gd name="connsiteY194" fmla="*/ 357378 h 390525"/>
                <a:gd name="connsiteX195" fmla="*/ 132219 w 399510"/>
                <a:gd name="connsiteY195" fmla="*/ 349377 h 390525"/>
                <a:gd name="connsiteX196" fmla="*/ 123468 w 399510"/>
                <a:gd name="connsiteY196" fmla="*/ 345186 h 390525"/>
                <a:gd name="connsiteX197" fmla="*/ 110246 w 399510"/>
                <a:gd name="connsiteY197" fmla="*/ 366141 h 390525"/>
                <a:gd name="connsiteX198" fmla="*/ 103397 w 399510"/>
                <a:gd name="connsiteY198" fmla="*/ 362331 h 390525"/>
                <a:gd name="connsiteX199" fmla="*/ 103968 w 399510"/>
                <a:gd name="connsiteY199" fmla="*/ 361093 h 390525"/>
                <a:gd name="connsiteX200" fmla="*/ 110246 w 399510"/>
                <a:gd name="connsiteY200" fmla="*/ 364522 h 390525"/>
                <a:gd name="connsiteX201" fmla="*/ 123468 w 399510"/>
                <a:gd name="connsiteY201" fmla="*/ 343567 h 390525"/>
                <a:gd name="connsiteX202" fmla="*/ 133646 w 399510"/>
                <a:gd name="connsiteY202" fmla="*/ 348329 h 390525"/>
                <a:gd name="connsiteX203" fmla="*/ 132694 w 399510"/>
                <a:gd name="connsiteY203" fmla="*/ 349568 h 390525"/>
                <a:gd name="connsiteX204" fmla="*/ 132694 w 399510"/>
                <a:gd name="connsiteY204" fmla="*/ 349568 h 390525"/>
                <a:gd name="connsiteX205" fmla="*/ 113195 w 399510"/>
                <a:gd name="connsiteY205" fmla="*/ 339852 h 390525"/>
                <a:gd name="connsiteX206" fmla="*/ 113860 w 399510"/>
                <a:gd name="connsiteY206" fmla="*/ 339852 h 390525"/>
                <a:gd name="connsiteX207" fmla="*/ 115002 w 399510"/>
                <a:gd name="connsiteY207" fmla="*/ 338995 h 390525"/>
                <a:gd name="connsiteX208" fmla="*/ 103397 w 399510"/>
                <a:gd name="connsiteY208" fmla="*/ 331375 h 390525"/>
                <a:gd name="connsiteX209" fmla="*/ 87417 w 399510"/>
                <a:gd name="connsiteY209" fmla="*/ 350425 h 390525"/>
                <a:gd name="connsiteX210" fmla="*/ 81804 w 399510"/>
                <a:gd name="connsiteY210" fmla="*/ 346234 h 390525"/>
                <a:gd name="connsiteX211" fmla="*/ 81139 w 399510"/>
                <a:gd name="connsiteY211" fmla="*/ 347282 h 390525"/>
                <a:gd name="connsiteX212" fmla="*/ 87417 w 399510"/>
                <a:gd name="connsiteY212" fmla="*/ 352044 h 390525"/>
                <a:gd name="connsiteX213" fmla="*/ 103397 w 399510"/>
                <a:gd name="connsiteY213" fmla="*/ 332994 h 390525"/>
                <a:gd name="connsiteX214" fmla="*/ 112909 w 399510"/>
                <a:gd name="connsiteY214" fmla="*/ 339376 h 390525"/>
                <a:gd name="connsiteX215" fmla="*/ 94170 w 399510"/>
                <a:gd name="connsiteY215" fmla="*/ 326422 h 390525"/>
                <a:gd name="connsiteX216" fmla="*/ 87131 w 399510"/>
                <a:gd name="connsiteY216" fmla="*/ 320326 h 390525"/>
                <a:gd name="connsiteX217" fmla="*/ 68963 w 399510"/>
                <a:gd name="connsiteY217" fmla="*/ 337090 h 390525"/>
                <a:gd name="connsiteX218" fmla="*/ 63256 w 399510"/>
                <a:gd name="connsiteY218" fmla="*/ 331661 h 390525"/>
                <a:gd name="connsiteX219" fmla="*/ 64017 w 399510"/>
                <a:gd name="connsiteY219" fmla="*/ 330708 h 390525"/>
                <a:gd name="connsiteX220" fmla="*/ 64873 w 399510"/>
                <a:gd name="connsiteY220" fmla="*/ 331470 h 390525"/>
                <a:gd name="connsiteX221" fmla="*/ 68963 w 399510"/>
                <a:gd name="connsiteY221" fmla="*/ 335471 h 390525"/>
                <a:gd name="connsiteX222" fmla="*/ 87131 w 399510"/>
                <a:gd name="connsiteY222" fmla="*/ 318707 h 390525"/>
                <a:gd name="connsiteX223" fmla="*/ 96643 w 399510"/>
                <a:gd name="connsiteY223" fmla="*/ 326327 h 390525"/>
                <a:gd name="connsiteX224" fmla="*/ 95217 w 399510"/>
                <a:gd name="connsiteY224" fmla="*/ 326993 h 390525"/>
                <a:gd name="connsiteX225" fmla="*/ 94456 w 399510"/>
                <a:gd name="connsiteY225" fmla="*/ 326422 h 390525"/>
                <a:gd name="connsiteX226" fmla="*/ 78570 w 399510"/>
                <a:gd name="connsiteY226" fmla="*/ 312039 h 390525"/>
                <a:gd name="connsiteX227" fmla="*/ 70961 w 399510"/>
                <a:gd name="connsiteY227" fmla="*/ 303562 h 390525"/>
                <a:gd name="connsiteX228" fmla="*/ 50700 w 399510"/>
                <a:gd name="connsiteY228" fmla="*/ 317659 h 390525"/>
                <a:gd name="connsiteX229" fmla="*/ 45849 w 399510"/>
                <a:gd name="connsiteY229" fmla="*/ 311468 h 390525"/>
                <a:gd name="connsiteX230" fmla="*/ 46610 w 399510"/>
                <a:gd name="connsiteY230" fmla="*/ 310801 h 390525"/>
                <a:gd name="connsiteX231" fmla="*/ 50700 w 399510"/>
                <a:gd name="connsiteY231" fmla="*/ 316040 h 390525"/>
                <a:gd name="connsiteX232" fmla="*/ 70961 w 399510"/>
                <a:gd name="connsiteY232" fmla="*/ 301943 h 390525"/>
                <a:gd name="connsiteX233" fmla="*/ 80473 w 399510"/>
                <a:gd name="connsiteY233" fmla="*/ 312706 h 390525"/>
                <a:gd name="connsiteX234" fmla="*/ 79046 w 399510"/>
                <a:gd name="connsiteY234" fmla="*/ 312706 h 390525"/>
                <a:gd name="connsiteX235" fmla="*/ 78285 w 399510"/>
                <a:gd name="connsiteY235" fmla="*/ 311849 h 390525"/>
                <a:gd name="connsiteX236" fmla="*/ 63636 w 399510"/>
                <a:gd name="connsiteY236" fmla="*/ 294037 h 390525"/>
                <a:gd name="connsiteX237" fmla="*/ 58500 w 399510"/>
                <a:gd name="connsiteY237" fmla="*/ 286607 h 390525"/>
                <a:gd name="connsiteX238" fmla="*/ 37097 w 399510"/>
                <a:gd name="connsiteY238" fmla="*/ 297942 h 390525"/>
                <a:gd name="connsiteX239" fmla="*/ 33007 w 399510"/>
                <a:gd name="connsiteY239" fmla="*/ 291179 h 390525"/>
                <a:gd name="connsiteX240" fmla="*/ 33768 w 399510"/>
                <a:gd name="connsiteY240" fmla="*/ 290703 h 390525"/>
                <a:gd name="connsiteX241" fmla="*/ 37097 w 399510"/>
                <a:gd name="connsiteY241" fmla="*/ 296228 h 390525"/>
                <a:gd name="connsiteX242" fmla="*/ 58975 w 399510"/>
                <a:gd name="connsiteY242" fmla="*/ 284798 h 390525"/>
                <a:gd name="connsiteX243" fmla="*/ 66205 w 399510"/>
                <a:gd name="connsiteY243" fmla="*/ 295275 h 390525"/>
                <a:gd name="connsiteX244" fmla="*/ 64968 w 399510"/>
                <a:gd name="connsiteY244" fmla="*/ 295275 h 390525"/>
                <a:gd name="connsiteX245" fmla="*/ 64112 w 399510"/>
                <a:gd name="connsiteY245" fmla="*/ 294132 h 390525"/>
                <a:gd name="connsiteX246" fmla="*/ 52317 w 399510"/>
                <a:gd name="connsiteY246" fmla="*/ 276130 h 390525"/>
                <a:gd name="connsiteX247" fmla="*/ 47275 w 399510"/>
                <a:gd name="connsiteY247" fmla="*/ 266605 h 390525"/>
                <a:gd name="connsiteX248" fmla="*/ 23971 w 399510"/>
                <a:gd name="connsiteY248" fmla="*/ 274987 h 390525"/>
                <a:gd name="connsiteX249" fmla="*/ 20927 w 399510"/>
                <a:gd name="connsiteY249" fmla="*/ 267748 h 390525"/>
                <a:gd name="connsiteX250" fmla="*/ 21497 w 399510"/>
                <a:gd name="connsiteY250" fmla="*/ 267748 h 390525"/>
                <a:gd name="connsiteX251" fmla="*/ 22068 w 399510"/>
                <a:gd name="connsiteY251" fmla="*/ 269177 h 390525"/>
                <a:gd name="connsiteX252" fmla="*/ 23971 w 399510"/>
                <a:gd name="connsiteY252" fmla="*/ 273653 h 390525"/>
                <a:gd name="connsiteX253" fmla="*/ 47275 w 399510"/>
                <a:gd name="connsiteY253" fmla="*/ 265271 h 390525"/>
                <a:gd name="connsiteX254" fmla="*/ 54219 w 399510"/>
                <a:gd name="connsiteY254" fmla="*/ 278702 h 390525"/>
                <a:gd name="connsiteX255" fmla="*/ 52983 w 399510"/>
                <a:gd name="connsiteY255" fmla="*/ 278035 h 390525"/>
                <a:gd name="connsiteX256" fmla="*/ 52317 w 399510"/>
                <a:gd name="connsiteY256" fmla="*/ 276797 h 390525"/>
                <a:gd name="connsiteX257" fmla="*/ 42805 w 399510"/>
                <a:gd name="connsiteY257" fmla="*/ 254889 h 390525"/>
                <a:gd name="connsiteX258" fmla="*/ 39951 w 399510"/>
                <a:gd name="connsiteY258" fmla="*/ 246697 h 390525"/>
                <a:gd name="connsiteX259" fmla="*/ 15695 w 399510"/>
                <a:gd name="connsiteY259" fmla="*/ 252127 h 390525"/>
                <a:gd name="connsiteX260" fmla="*/ 13602 w 399510"/>
                <a:gd name="connsiteY260" fmla="*/ 244507 h 390525"/>
                <a:gd name="connsiteX261" fmla="*/ 13602 w 399510"/>
                <a:gd name="connsiteY261" fmla="*/ 244507 h 390525"/>
                <a:gd name="connsiteX262" fmla="*/ 13602 w 399510"/>
                <a:gd name="connsiteY262" fmla="*/ 246031 h 390525"/>
                <a:gd name="connsiteX263" fmla="*/ 14839 w 399510"/>
                <a:gd name="connsiteY263" fmla="*/ 250508 h 390525"/>
                <a:gd name="connsiteX264" fmla="*/ 39095 w 399510"/>
                <a:gd name="connsiteY264" fmla="*/ 245174 h 390525"/>
                <a:gd name="connsiteX265" fmla="*/ 42519 w 399510"/>
                <a:gd name="connsiteY265" fmla="*/ 254699 h 390525"/>
                <a:gd name="connsiteX266" fmla="*/ 43471 w 399510"/>
                <a:gd name="connsiteY266" fmla="*/ 257461 h 390525"/>
                <a:gd name="connsiteX267" fmla="*/ 42519 w 399510"/>
                <a:gd name="connsiteY267" fmla="*/ 256318 h 390525"/>
                <a:gd name="connsiteX268" fmla="*/ 41949 w 399510"/>
                <a:gd name="connsiteY268" fmla="*/ 254889 h 390525"/>
                <a:gd name="connsiteX269" fmla="*/ 36527 w 399510"/>
                <a:gd name="connsiteY269" fmla="*/ 234791 h 390525"/>
                <a:gd name="connsiteX270" fmla="*/ 34339 w 399510"/>
                <a:gd name="connsiteY270" fmla="*/ 224123 h 390525"/>
                <a:gd name="connsiteX271" fmla="*/ 9607 w 399510"/>
                <a:gd name="connsiteY271" fmla="*/ 226124 h 390525"/>
                <a:gd name="connsiteX272" fmla="*/ 8561 w 399510"/>
                <a:gd name="connsiteY272" fmla="*/ 218408 h 390525"/>
                <a:gd name="connsiteX273" fmla="*/ 8561 w 399510"/>
                <a:gd name="connsiteY273" fmla="*/ 218408 h 390525"/>
                <a:gd name="connsiteX274" fmla="*/ 9417 w 399510"/>
                <a:gd name="connsiteY274" fmla="*/ 224600 h 390525"/>
                <a:gd name="connsiteX275" fmla="*/ 34149 w 399510"/>
                <a:gd name="connsiteY275" fmla="*/ 222599 h 390525"/>
                <a:gd name="connsiteX276" fmla="*/ 37478 w 399510"/>
                <a:gd name="connsiteY276" fmla="*/ 237744 h 390525"/>
                <a:gd name="connsiteX277" fmla="*/ 37097 w 399510"/>
                <a:gd name="connsiteY277" fmla="*/ 236125 h 390525"/>
                <a:gd name="connsiteX278" fmla="*/ 37097 w 399510"/>
                <a:gd name="connsiteY278" fmla="*/ 234601 h 390525"/>
                <a:gd name="connsiteX279" fmla="*/ 32436 w 399510"/>
                <a:gd name="connsiteY279" fmla="*/ 211360 h 390525"/>
                <a:gd name="connsiteX280" fmla="*/ 31771 w 399510"/>
                <a:gd name="connsiteY280" fmla="*/ 202787 h 390525"/>
                <a:gd name="connsiteX281" fmla="*/ 7134 w 399510"/>
                <a:gd name="connsiteY281" fmla="*/ 201835 h 390525"/>
                <a:gd name="connsiteX282" fmla="*/ 7134 w 399510"/>
                <a:gd name="connsiteY282" fmla="*/ 194024 h 390525"/>
                <a:gd name="connsiteX283" fmla="*/ 7134 w 399510"/>
                <a:gd name="connsiteY283" fmla="*/ 194024 h 390525"/>
                <a:gd name="connsiteX284" fmla="*/ 7134 w 399510"/>
                <a:gd name="connsiteY284" fmla="*/ 200216 h 390525"/>
                <a:gd name="connsiteX285" fmla="*/ 31771 w 399510"/>
                <a:gd name="connsiteY285" fmla="*/ 201263 h 390525"/>
                <a:gd name="connsiteX286" fmla="*/ 32627 w 399510"/>
                <a:gd name="connsiteY286" fmla="*/ 211455 h 390525"/>
                <a:gd name="connsiteX287" fmla="*/ 32627 w 399510"/>
                <a:gd name="connsiteY287" fmla="*/ 214598 h 390525"/>
                <a:gd name="connsiteX288" fmla="*/ 32627 w 399510"/>
                <a:gd name="connsiteY288" fmla="*/ 213170 h 390525"/>
                <a:gd name="connsiteX289" fmla="*/ 32627 w 399510"/>
                <a:gd name="connsiteY289" fmla="*/ 211455 h 390525"/>
                <a:gd name="connsiteX290" fmla="*/ 32436 w 399510"/>
                <a:gd name="connsiteY290" fmla="*/ 179546 h 390525"/>
                <a:gd name="connsiteX291" fmla="*/ 7990 w 399510"/>
                <a:gd name="connsiteY291" fmla="*/ 175165 h 390525"/>
                <a:gd name="connsiteX292" fmla="*/ 7990 w 399510"/>
                <a:gd name="connsiteY292" fmla="*/ 173546 h 390525"/>
                <a:gd name="connsiteX293" fmla="*/ 32436 w 399510"/>
                <a:gd name="connsiteY293" fmla="*/ 177927 h 390525"/>
                <a:gd name="connsiteX294" fmla="*/ 32436 w 399510"/>
                <a:gd name="connsiteY294" fmla="*/ 179546 h 390525"/>
                <a:gd name="connsiteX295" fmla="*/ 35766 w 399510"/>
                <a:gd name="connsiteY295" fmla="*/ 158782 h 390525"/>
                <a:gd name="connsiteX296" fmla="*/ 11890 w 399510"/>
                <a:gd name="connsiteY296" fmla="*/ 151352 h 390525"/>
                <a:gd name="connsiteX297" fmla="*/ 11890 w 399510"/>
                <a:gd name="connsiteY297" fmla="*/ 149828 h 390525"/>
                <a:gd name="connsiteX298" fmla="*/ 35766 w 399510"/>
                <a:gd name="connsiteY298" fmla="*/ 157258 h 390525"/>
                <a:gd name="connsiteX299" fmla="*/ 35766 w 399510"/>
                <a:gd name="connsiteY299" fmla="*/ 158782 h 390525"/>
                <a:gd name="connsiteX300" fmla="*/ 42424 w 399510"/>
                <a:gd name="connsiteY300" fmla="*/ 136589 h 390525"/>
                <a:gd name="connsiteX301" fmla="*/ 19500 w 399510"/>
                <a:gd name="connsiteY301" fmla="*/ 125635 h 390525"/>
                <a:gd name="connsiteX302" fmla="*/ 19500 w 399510"/>
                <a:gd name="connsiteY302" fmla="*/ 124206 h 390525"/>
                <a:gd name="connsiteX303" fmla="*/ 42805 w 399510"/>
                <a:gd name="connsiteY303" fmla="*/ 135160 h 390525"/>
                <a:gd name="connsiteX304" fmla="*/ 42805 w 399510"/>
                <a:gd name="connsiteY304" fmla="*/ 136493 h 390525"/>
                <a:gd name="connsiteX305" fmla="*/ 50510 w 399510"/>
                <a:gd name="connsiteY305" fmla="*/ 117539 h 390525"/>
                <a:gd name="connsiteX306" fmla="*/ 29393 w 399510"/>
                <a:gd name="connsiteY306" fmla="*/ 104108 h 390525"/>
                <a:gd name="connsiteX307" fmla="*/ 30058 w 399510"/>
                <a:gd name="connsiteY307" fmla="*/ 102870 h 390525"/>
                <a:gd name="connsiteX308" fmla="*/ 51556 w 399510"/>
                <a:gd name="connsiteY308" fmla="*/ 116681 h 390525"/>
                <a:gd name="connsiteX309" fmla="*/ 50510 w 399510"/>
                <a:gd name="connsiteY309" fmla="*/ 117539 h 390525"/>
                <a:gd name="connsiteX310" fmla="*/ 62970 w 399510"/>
                <a:gd name="connsiteY310" fmla="*/ 98489 h 390525"/>
                <a:gd name="connsiteX311" fmla="*/ 43946 w 399510"/>
                <a:gd name="connsiteY311" fmla="*/ 81820 h 390525"/>
                <a:gd name="connsiteX312" fmla="*/ 44612 w 399510"/>
                <a:gd name="connsiteY312" fmla="*/ 80772 h 390525"/>
                <a:gd name="connsiteX313" fmla="*/ 45468 w 399510"/>
                <a:gd name="connsiteY313" fmla="*/ 81534 h 390525"/>
                <a:gd name="connsiteX314" fmla="*/ 64492 w 399510"/>
                <a:gd name="connsiteY314" fmla="*/ 97441 h 390525"/>
                <a:gd name="connsiteX315" fmla="*/ 63731 w 399510"/>
                <a:gd name="connsiteY315" fmla="*/ 98489 h 390525"/>
                <a:gd name="connsiteX316" fmla="*/ 76097 w 399510"/>
                <a:gd name="connsiteY316" fmla="*/ 82106 h 390525"/>
                <a:gd name="connsiteX317" fmla="*/ 76858 w 399510"/>
                <a:gd name="connsiteY317" fmla="*/ 81248 h 390525"/>
                <a:gd name="connsiteX318" fmla="*/ 60212 w 399510"/>
                <a:gd name="connsiteY318" fmla="*/ 63151 h 390525"/>
                <a:gd name="connsiteX319" fmla="*/ 59451 w 399510"/>
                <a:gd name="connsiteY319" fmla="*/ 62389 h 390525"/>
                <a:gd name="connsiteX320" fmla="*/ 58690 w 399510"/>
                <a:gd name="connsiteY320" fmla="*/ 63151 h 390525"/>
                <a:gd name="connsiteX321" fmla="*/ 76097 w 399510"/>
                <a:gd name="connsiteY321" fmla="*/ 82201 h 390525"/>
                <a:gd name="connsiteX322" fmla="*/ 92743 w 399510"/>
                <a:gd name="connsiteY322" fmla="*/ 66199 h 390525"/>
                <a:gd name="connsiteX323" fmla="*/ 78000 w 399510"/>
                <a:gd name="connsiteY323" fmla="*/ 44863 h 390525"/>
                <a:gd name="connsiteX324" fmla="*/ 78761 w 399510"/>
                <a:gd name="connsiteY324" fmla="*/ 44291 h 390525"/>
                <a:gd name="connsiteX325" fmla="*/ 93504 w 399510"/>
                <a:gd name="connsiteY325" fmla="*/ 65723 h 390525"/>
                <a:gd name="connsiteX326" fmla="*/ 92743 w 399510"/>
                <a:gd name="connsiteY326" fmla="*/ 66199 h 390525"/>
                <a:gd name="connsiteX327" fmla="*/ 109675 w 399510"/>
                <a:gd name="connsiteY327" fmla="*/ 54007 h 390525"/>
                <a:gd name="connsiteX328" fmla="*/ 97499 w 399510"/>
                <a:gd name="connsiteY328" fmla="*/ 30385 h 390525"/>
                <a:gd name="connsiteX329" fmla="*/ 98165 w 399510"/>
                <a:gd name="connsiteY329" fmla="*/ 30385 h 390525"/>
                <a:gd name="connsiteX330" fmla="*/ 110151 w 399510"/>
                <a:gd name="connsiteY330" fmla="*/ 53531 h 390525"/>
                <a:gd name="connsiteX331" fmla="*/ 109580 w 399510"/>
                <a:gd name="connsiteY331" fmla="*/ 53531 h 390525"/>
                <a:gd name="connsiteX332" fmla="*/ 129841 w 399510"/>
                <a:gd name="connsiteY332" fmla="*/ 42863 h 390525"/>
                <a:gd name="connsiteX333" fmla="*/ 120995 w 399510"/>
                <a:gd name="connsiteY333" fmla="*/ 18193 h 390525"/>
                <a:gd name="connsiteX334" fmla="*/ 121470 w 399510"/>
                <a:gd name="connsiteY334" fmla="*/ 18193 h 390525"/>
                <a:gd name="connsiteX335" fmla="*/ 122041 w 399510"/>
                <a:gd name="connsiteY335" fmla="*/ 19717 h 390525"/>
                <a:gd name="connsiteX336" fmla="*/ 130412 w 399510"/>
                <a:gd name="connsiteY336" fmla="*/ 42958 h 390525"/>
                <a:gd name="connsiteX337" fmla="*/ 129841 w 399510"/>
                <a:gd name="connsiteY337" fmla="*/ 42958 h 390525"/>
                <a:gd name="connsiteX338" fmla="*/ 148865 w 399510"/>
                <a:gd name="connsiteY338" fmla="*/ 35338 h 390525"/>
                <a:gd name="connsiteX339" fmla="*/ 143158 w 399510"/>
                <a:gd name="connsiteY339" fmla="*/ 9620 h 390525"/>
                <a:gd name="connsiteX340" fmla="*/ 143158 w 399510"/>
                <a:gd name="connsiteY340" fmla="*/ 9620 h 390525"/>
                <a:gd name="connsiteX341" fmla="*/ 148960 w 399510"/>
                <a:gd name="connsiteY341" fmla="*/ 35338 h 390525"/>
                <a:gd name="connsiteX342" fmla="*/ 250645 w 399510"/>
                <a:gd name="connsiteY342" fmla="*/ 7525 h 390525"/>
                <a:gd name="connsiteX343" fmla="*/ 250645 w 399510"/>
                <a:gd name="connsiteY343" fmla="*/ 7525 h 390525"/>
                <a:gd name="connsiteX344" fmla="*/ 246365 w 399510"/>
                <a:gd name="connsiteY344" fmla="*/ 31528 h 390525"/>
                <a:gd name="connsiteX345" fmla="*/ 246365 w 399510"/>
                <a:gd name="connsiteY345" fmla="*/ 33052 h 390525"/>
                <a:gd name="connsiteX346" fmla="*/ 246365 w 399510"/>
                <a:gd name="connsiteY346" fmla="*/ 33052 h 390525"/>
                <a:gd name="connsiteX347" fmla="*/ 251121 w 399510"/>
                <a:gd name="connsiteY347" fmla="*/ 7144 h 390525"/>
                <a:gd name="connsiteX348" fmla="*/ 200801 w 399510"/>
                <a:gd name="connsiteY348" fmla="*/ 163735 h 390525"/>
                <a:gd name="connsiteX349" fmla="*/ 231336 w 399510"/>
                <a:gd name="connsiteY349" fmla="*/ 193548 h 390525"/>
                <a:gd name="connsiteX350" fmla="*/ 231335 w 399510"/>
                <a:gd name="connsiteY350" fmla="*/ 192786 h 390525"/>
                <a:gd name="connsiteX351" fmla="*/ 202460 w 399510"/>
                <a:gd name="connsiteY351" fmla="*/ 160455 h 390525"/>
                <a:gd name="connsiteX352" fmla="*/ 170172 w 399510"/>
                <a:gd name="connsiteY352" fmla="*/ 189369 h 390525"/>
                <a:gd name="connsiteX353" fmla="*/ 170172 w 399510"/>
                <a:gd name="connsiteY353" fmla="*/ 192786 h 390525"/>
                <a:gd name="connsiteX354" fmla="*/ 170172 w 399510"/>
                <a:gd name="connsiteY354" fmla="*/ 193548 h 390525"/>
                <a:gd name="connsiteX355" fmla="*/ 200801 w 399510"/>
                <a:gd name="connsiteY355" fmla="*/ 163735 h 390525"/>
                <a:gd name="connsiteX356" fmla="*/ 309335 w 399510"/>
                <a:gd name="connsiteY356" fmla="*/ 128683 h 390525"/>
                <a:gd name="connsiteX357" fmla="*/ 310096 w 399510"/>
                <a:gd name="connsiteY357" fmla="*/ 130016 h 390525"/>
                <a:gd name="connsiteX358" fmla="*/ 311523 w 399510"/>
                <a:gd name="connsiteY358" fmla="*/ 131064 h 390525"/>
                <a:gd name="connsiteX359" fmla="*/ 310096 w 399510"/>
                <a:gd name="connsiteY359" fmla="*/ 128397 h 390525"/>
                <a:gd name="connsiteX360" fmla="*/ 164750 w 399510"/>
                <a:gd name="connsiteY360" fmla="*/ 71247 h 390525"/>
                <a:gd name="connsiteX361" fmla="*/ 165987 w 399510"/>
                <a:gd name="connsiteY361" fmla="*/ 72485 h 390525"/>
                <a:gd name="connsiteX362" fmla="*/ 166653 w 399510"/>
                <a:gd name="connsiteY362" fmla="*/ 72485 h 390525"/>
                <a:gd name="connsiteX363" fmla="*/ 309335 w 399510"/>
                <a:gd name="connsiteY363" fmla="*/ 129064 h 390525"/>
                <a:gd name="connsiteX364" fmla="*/ 258064 w 399510"/>
                <a:gd name="connsiteY364" fmla="*/ 193548 h 390525"/>
                <a:gd name="connsiteX365" fmla="*/ 237709 w 399510"/>
                <a:gd name="connsiteY365" fmla="*/ 238220 h 390525"/>
                <a:gd name="connsiteX366" fmla="*/ 237138 w 399510"/>
                <a:gd name="connsiteY366" fmla="*/ 238697 h 390525"/>
                <a:gd name="connsiteX367" fmla="*/ 236187 w 399510"/>
                <a:gd name="connsiteY367" fmla="*/ 237839 h 390525"/>
                <a:gd name="connsiteX368" fmla="*/ 253879 w 399510"/>
                <a:gd name="connsiteY368" fmla="*/ 214122 h 390525"/>
                <a:gd name="connsiteX369" fmla="*/ 258064 w 399510"/>
                <a:gd name="connsiteY369" fmla="*/ 193548 h 390525"/>
                <a:gd name="connsiteX370" fmla="*/ 327598 w 399510"/>
                <a:gd name="connsiteY370" fmla="*/ 193548 h 390525"/>
                <a:gd name="connsiteX371" fmla="*/ 322747 w 399510"/>
                <a:gd name="connsiteY371" fmla="*/ 159829 h 390525"/>
                <a:gd name="connsiteX372" fmla="*/ 257589 w 399510"/>
                <a:gd name="connsiteY372" fmla="*/ 187738 h 390525"/>
                <a:gd name="connsiteX373" fmla="*/ 257589 w 399510"/>
                <a:gd name="connsiteY373" fmla="*/ 187738 h 390525"/>
                <a:gd name="connsiteX374" fmla="*/ 257589 w 399510"/>
                <a:gd name="connsiteY374" fmla="*/ 186309 h 390525"/>
                <a:gd name="connsiteX375" fmla="*/ 323128 w 399510"/>
                <a:gd name="connsiteY375" fmla="*/ 157734 h 390525"/>
                <a:gd name="connsiteX376" fmla="*/ 327979 w 399510"/>
                <a:gd name="connsiteY376" fmla="*/ 193167 h 390525"/>
                <a:gd name="connsiteX377" fmla="*/ 207650 w 399510"/>
                <a:gd name="connsiteY377" fmla="*/ 251555 h 390525"/>
                <a:gd name="connsiteX378" fmla="*/ 236187 w 399510"/>
                <a:gd name="connsiteY378" fmla="*/ 318230 h 390525"/>
                <a:gd name="connsiteX379" fmla="*/ 236852 w 399510"/>
                <a:gd name="connsiteY379" fmla="*/ 318230 h 390525"/>
                <a:gd name="connsiteX380" fmla="*/ 207650 w 399510"/>
                <a:gd name="connsiteY380" fmla="*/ 249460 h 390525"/>
                <a:gd name="connsiteX381" fmla="*/ 179114 w 399510"/>
                <a:gd name="connsiteY381" fmla="*/ 245840 h 390525"/>
                <a:gd name="connsiteX382" fmla="*/ 156094 w 399510"/>
                <a:gd name="connsiteY382" fmla="*/ 228981 h 390525"/>
                <a:gd name="connsiteX383" fmla="*/ 89509 w 399510"/>
                <a:gd name="connsiteY383" fmla="*/ 257556 h 390525"/>
                <a:gd name="connsiteX384" fmla="*/ 90936 w 399510"/>
                <a:gd name="connsiteY384" fmla="*/ 258699 h 390525"/>
                <a:gd name="connsiteX385" fmla="*/ 155999 w 399510"/>
                <a:gd name="connsiteY385" fmla="*/ 230696 h 390525"/>
                <a:gd name="connsiteX386" fmla="*/ 179780 w 399510"/>
                <a:gd name="connsiteY386" fmla="*/ 247745 h 390525"/>
                <a:gd name="connsiteX387" fmla="*/ 208316 w 399510"/>
                <a:gd name="connsiteY387" fmla="*/ 251460 h 390525"/>
                <a:gd name="connsiteX388" fmla="*/ 143729 w 399510"/>
                <a:gd name="connsiteY388" fmla="*/ 199930 h 390525"/>
                <a:gd name="connsiteX389" fmla="*/ 143729 w 399510"/>
                <a:gd name="connsiteY389" fmla="*/ 193739 h 390525"/>
                <a:gd name="connsiteX390" fmla="*/ 143729 w 399510"/>
                <a:gd name="connsiteY390" fmla="*/ 199835 h 390525"/>
                <a:gd name="connsiteX391" fmla="*/ 143729 w 399510"/>
                <a:gd name="connsiteY391" fmla="*/ 202978 h 390525"/>
                <a:gd name="connsiteX392" fmla="*/ 143729 w 399510"/>
                <a:gd name="connsiteY392" fmla="*/ 201454 h 390525"/>
                <a:gd name="connsiteX393" fmla="*/ 143729 w 399510"/>
                <a:gd name="connsiteY393" fmla="*/ 199930 h 390525"/>
                <a:gd name="connsiteX394" fmla="*/ 164370 w 399510"/>
                <a:gd name="connsiteY394" fmla="*/ 150400 h 390525"/>
                <a:gd name="connsiteX395" fmla="*/ 136499 w 399510"/>
                <a:gd name="connsiteY395" fmla="*/ 85058 h 390525"/>
                <a:gd name="connsiteX396" fmla="*/ 73909 w 399510"/>
                <a:gd name="connsiteY396" fmla="*/ 193643 h 390525"/>
                <a:gd name="connsiteX397" fmla="*/ 136499 w 399510"/>
                <a:gd name="connsiteY397" fmla="*/ 83439 h 390525"/>
                <a:gd name="connsiteX398" fmla="*/ 165036 w 399510"/>
                <a:gd name="connsiteY398" fmla="*/ 151067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Lst>
              <a:rect l="l" t="t" r="r" b="b"/>
              <a:pathLst>
                <a:path w="399510" h="390525">
                  <a:moveTo>
                    <a:pt x="275947" y="15716"/>
                  </a:moveTo>
                  <a:lnTo>
                    <a:pt x="275947" y="15716"/>
                  </a:lnTo>
                  <a:lnTo>
                    <a:pt x="267672" y="40577"/>
                  </a:lnTo>
                  <a:lnTo>
                    <a:pt x="267672" y="40577"/>
                  </a:lnTo>
                  <a:lnTo>
                    <a:pt x="275947" y="15716"/>
                  </a:lnTo>
                  <a:close/>
                  <a:moveTo>
                    <a:pt x="297350" y="26289"/>
                  </a:moveTo>
                  <a:lnTo>
                    <a:pt x="297920" y="26289"/>
                  </a:lnTo>
                  <a:lnTo>
                    <a:pt x="286696" y="49911"/>
                  </a:lnTo>
                  <a:lnTo>
                    <a:pt x="286125" y="49911"/>
                  </a:lnTo>
                  <a:lnTo>
                    <a:pt x="297350" y="26289"/>
                  </a:lnTo>
                  <a:close/>
                  <a:moveTo>
                    <a:pt x="319323" y="41053"/>
                  </a:moveTo>
                  <a:lnTo>
                    <a:pt x="319989" y="41053"/>
                  </a:lnTo>
                  <a:lnTo>
                    <a:pt x="305720" y="62770"/>
                  </a:lnTo>
                  <a:lnTo>
                    <a:pt x="305055" y="62198"/>
                  </a:lnTo>
                  <a:lnTo>
                    <a:pt x="319323" y="40577"/>
                  </a:lnTo>
                  <a:close/>
                  <a:moveTo>
                    <a:pt x="337301" y="56769"/>
                  </a:moveTo>
                  <a:lnTo>
                    <a:pt x="338062" y="57531"/>
                  </a:lnTo>
                  <a:lnTo>
                    <a:pt x="321225" y="77153"/>
                  </a:lnTo>
                  <a:lnTo>
                    <a:pt x="320559" y="76391"/>
                  </a:lnTo>
                  <a:lnTo>
                    <a:pt x="337301" y="56769"/>
                  </a:lnTo>
                  <a:close/>
                  <a:moveTo>
                    <a:pt x="354708" y="76676"/>
                  </a:moveTo>
                  <a:lnTo>
                    <a:pt x="335684" y="93726"/>
                  </a:lnTo>
                  <a:lnTo>
                    <a:pt x="336350" y="94774"/>
                  </a:lnTo>
                  <a:lnTo>
                    <a:pt x="355374" y="77724"/>
                  </a:lnTo>
                  <a:lnTo>
                    <a:pt x="354613" y="76676"/>
                  </a:lnTo>
                  <a:close/>
                  <a:moveTo>
                    <a:pt x="368025" y="96679"/>
                  </a:moveTo>
                  <a:lnTo>
                    <a:pt x="368786" y="97822"/>
                  </a:lnTo>
                  <a:lnTo>
                    <a:pt x="348145" y="112014"/>
                  </a:lnTo>
                  <a:lnTo>
                    <a:pt x="347003" y="110966"/>
                  </a:lnTo>
                  <a:lnTo>
                    <a:pt x="368025" y="96679"/>
                  </a:lnTo>
                  <a:close/>
                  <a:moveTo>
                    <a:pt x="379535" y="120396"/>
                  </a:moveTo>
                  <a:lnTo>
                    <a:pt x="380105" y="121730"/>
                  </a:lnTo>
                  <a:lnTo>
                    <a:pt x="357847" y="132969"/>
                  </a:lnTo>
                  <a:lnTo>
                    <a:pt x="356991" y="131731"/>
                  </a:lnTo>
                  <a:lnTo>
                    <a:pt x="379535" y="120396"/>
                  </a:lnTo>
                  <a:close/>
                  <a:moveTo>
                    <a:pt x="387335" y="143161"/>
                  </a:moveTo>
                  <a:lnTo>
                    <a:pt x="387335" y="144590"/>
                  </a:lnTo>
                  <a:lnTo>
                    <a:pt x="363840" y="152972"/>
                  </a:lnTo>
                  <a:lnTo>
                    <a:pt x="363840" y="151447"/>
                  </a:lnTo>
                  <a:lnTo>
                    <a:pt x="387430" y="143161"/>
                  </a:lnTo>
                  <a:close/>
                  <a:moveTo>
                    <a:pt x="392566" y="169164"/>
                  </a:moveTo>
                  <a:lnTo>
                    <a:pt x="392566" y="170783"/>
                  </a:lnTo>
                  <a:lnTo>
                    <a:pt x="368310" y="175832"/>
                  </a:lnTo>
                  <a:lnTo>
                    <a:pt x="368310" y="174212"/>
                  </a:lnTo>
                  <a:lnTo>
                    <a:pt x="392566" y="169164"/>
                  </a:lnTo>
                  <a:close/>
                  <a:moveTo>
                    <a:pt x="394183" y="193262"/>
                  </a:moveTo>
                  <a:lnTo>
                    <a:pt x="394183" y="194882"/>
                  </a:lnTo>
                  <a:lnTo>
                    <a:pt x="369547" y="196787"/>
                  </a:lnTo>
                  <a:cubicBezTo>
                    <a:pt x="369547" y="200406"/>
                    <a:pt x="369357" y="204026"/>
                    <a:pt x="368976" y="207645"/>
                  </a:cubicBezTo>
                  <a:lnTo>
                    <a:pt x="368976" y="209264"/>
                  </a:lnTo>
                  <a:lnTo>
                    <a:pt x="368976" y="210884"/>
                  </a:lnTo>
                  <a:lnTo>
                    <a:pt x="368976" y="207645"/>
                  </a:lnTo>
                  <a:cubicBezTo>
                    <a:pt x="368976" y="203454"/>
                    <a:pt x="369547" y="199263"/>
                    <a:pt x="369642" y="195167"/>
                  </a:cubicBezTo>
                  <a:lnTo>
                    <a:pt x="394183" y="193262"/>
                  </a:lnTo>
                  <a:close/>
                  <a:moveTo>
                    <a:pt x="393137" y="213646"/>
                  </a:moveTo>
                  <a:lnTo>
                    <a:pt x="393137" y="213646"/>
                  </a:lnTo>
                  <a:lnTo>
                    <a:pt x="392186" y="221456"/>
                  </a:lnTo>
                  <a:lnTo>
                    <a:pt x="367454" y="220028"/>
                  </a:lnTo>
                  <a:cubicBezTo>
                    <a:pt x="367454" y="222790"/>
                    <a:pt x="366598" y="225647"/>
                    <a:pt x="365932" y="228505"/>
                  </a:cubicBezTo>
                  <a:lnTo>
                    <a:pt x="365932" y="230124"/>
                  </a:lnTo>
                  <a:lnTo>
                    <a:pt x="365361" y="231553"/>
                  </a:lnTo>
                  <a:cubicBezTo>
                    <a:pt x="366122" y="227171"/>
                    <a:pt x="367074" y="222790"/>
                    <a:pt x="367740" y="218313"/>
                  </a:cubicBezTo>
                  <a:lnTo>
                    <a:pt x="392471" y="219837"/>
                  </a:lnTo>
                  <a:lnTo>
                    <a:pt x="393232" y="213646"/>
                  </a:lnTo>
                  <a:close/>
                  <a:moveTo>
                    <a:pt x="389047" y="237363"/>
                  </a:moveTo>
                  <a:lnTo>
                    <a:pt x="389047" y="237363"/>
                  </a:lnTo>
                  <a:lnTo>
                    <a:pt x="387144" y="244983"/>
                  </a:lnTo>
                  <a:lnTo>
                    <a:pt x="362793" y="240411"/>
                  </a:lnTo>
                  <a:cubicBezTo>
                    <a:pt x="361842" y="243935"/>
                    <a:pt x="360701" y="247460"/>
                    <a:pt x="359559" y="250889"/>
                  </a:cubicBezTo>
                  <a:lnTo>
                    <a:pt x="358988" y="252317"/>
                  </a:lnTo>
                  <a:lnTo>
                    <a:pt x="358037" y="253460"/>
                  </a:lnTo>
                  <a:cubicBezTo>
                    <a:pt x="359654" y="248984"/>
                    <a:pt x="361462" y="243935"/>
                    <a:pt x="362793" y="238792"/>
                  </a:cubicBezTo>
                  <a:lnTo>
                    <a:pt x="387144" y="243364"/>
                  </a:lnTo>
                  <a:lnTo>
                    <a:pt x="388666" y="237268"/>
                  </a:lnTo>
                  <a:close/>
                  <a:moveTo>
                    <a:pt x="381247" y="262700"/>
                  </a:moveTo>
                  <a:lnTo>
                    <a:pt x="381247" y="262700"/>
                  </a:lnTo>
                  <a:lnTo>
                    <a:pt x="378393" y="269939"/>
                  </a:lnTo>
                  <a:lnTo>
                    <a:pt x="354898" y="262128"/>
                  </a:lnTo>
                  <a:cubicBezTo>
                    <a:pt x="353693" y="264859"/>
                    <a:pt x="352457" y="267526"/>
                    <a:pt x="351188" y="270129"/>
                  </a:cubicBezTo>
                  <a:lnTo>
                    <a:pt x="350523" y="271463"/>
                  </a:lnTo>
                  <a:lnTo>
                    <a:pt x="349381" y="272320"/>
                  </a:lnTo>
                  <a:cubicBezTo>
                    <a:pt x="351188" y="268415"/>
                    <a:pt x="353186" y="264509"/>
                    <a:pt x="354898" y="260509"/>
                  </a:cubicBezTo>
                  <a:lnTo>
                    <a:pt x="379535" y="268510"/>
                  </a:lnTo>
                  <a:lnTo>
                    <a:pt x="381913" y="262604"/>
                  </a:lnTo>
                  <a:close/>
                  <a:moveTo>
                    <a:pt x="371259" y="284512"/>
                  </a:moveTo>
                  <a:lnTo>
                    <a:pt x="371925" y="284988"/>
                  </a:lnTo>
                  <a:lnTo>
                    <a:pt x="368120" y="291846"/>
                  </a:lnTo>
                  <a:lnTo>
                    <a:pt x="345766" y="281178"/>
                  </a:lnTo>
                  <a:cubicBezTo>
                    <a:pt x="343864" y="284417"/>
                    <a:pt x="341866" y="287592"/>
                    <a:pt x="339774" y="290703"/>
                  </a:cubicBezTo>
                  <a:lnTo>
                    <a:pt x="339013" y="291751"/>
                  </a:lnTo>
                  <a:lnTo>
                    <a:pt x="337681" y="291751"/>
                  </a:lnTo>
                  <a:cubicBezTo>
                    <a:pt x="340440" y="287465"/>
                    <a:pt x="343198" y="283464"/>
                    <a:pt x="345766" y="279178"/>
                  </a:cubicBezTo>
                  <a:lnTo>
                    <a:pt x="368120" y="289846"/>
                  </a:lnTo>
                  <a:lnTo>
                    <a:pt x="371259" y="284131"/>
                  </a:lnTo>
                  <a:close/>
                  <a:moveTo>
                    <a:pt x="357466" y="306610"/>
                  </a:moveTo>
                  <a:lnTo>
                    <a:pt x="358132" y="307277"/>
                  </a:lnTo>
                  <a:lnTo>
                    <a:pt x="353471" y="313563"/>
                  </a:lnTo>
                  <a:lnTo>
                    <a:pt x="332830" y="299942"/>
                  </a:lnTo>
                  <a:cubicBezTo>
                    <a:pt x="330928" y="302324"/>
                    <a:pt x="328930" y="304610"/>
                    <a:pt x="326932" y="306896"/>
                  </a:cubicBezTo>
                  <a:lnTo>
                    <a:pt x="326172" y="307753"/>
                  </a:lnTo>
                  <a:lnTo>
                    <a:pt x="324745" y="307753"/>
                  </a:lnTo>
                  <a:cubicBezTo>
                    <a:pt x="327408" y="304610"/>
                    <a:pt x="330262" y="301562"/>
                    <a:pt x="332830" y="298228"/>
                  </a:cubicBezTo>
                  <a:lnTo>
                    <a:pt x="353471" y="311753"/>
                  </a:lnTo>
                  <a:lnTo>
                    <a:pt x="357466" y="306515"/>
                  </a:lnTo>
                  <a:close/>
                  <a:moveTo>
                    <a:pt x="342152" y="325660"/>
                  </a:moveTo>
                  <a:lnTo>
                    <a:pt x="342913" y="326517"/>
                  </a:lnTo>
                  <a:lnTo>
                    <a:pt x="337491" y="332137"/>
                  </a:lnTo>
                  <a:lnTo>
                    <a:pt x="318467" y="316040"/>
                  </a:lnTo>
                  <a:cubicBezTo>
                    <a:pt x="315708" y="318707"/>
                    <a:pt x="312855" y="321374"/>
                    <a:pt x="309906" y="323850"/>
                  </a:cubicBezTo>
                  <a:lnTo>
                    <a:pt x="309145" y="324422"/>
                  </a:lnTo>
                  <a:lnTo>
                    <a:pt x="307718" y="323945"/>
                  </a:lnTo>
                  <a:cubicBezTo>
                    <a:pt x="311428" y="320897"/>
                    <a:pt x="314947" y="317754"/>
                    <a:pt x="318467" y="314420"/>
                  </a:cubicBezTo>
                  <a:lnTo>
                    <a:pt x="337491" y="330518"/>
                  </a:lnTo>
                  <a:lnTo>
                    <a:pt x="342152" y="325660"/>
                  </a:lnTo>
                  <a:close/>
                  <a:moveTo>
                    <a:pt x="323128" y="343662"/>
                  </a:moveTo>
                  <a:lnTo>
                    <a:pt x="317706" y="347948"/>
                  </a:lnTo>
                  <a:lnTo>
                    <a:pt x="301250" y="329470"/>
                  </a:lnTo>
                  <a:cubicBezTo>
                    <a:pt x="298111" y="331756"/>
                    <a:pt x="294877" y="334042"/>
                    <a:pt x="291738" y="336042"/>
                  </a:cubicBezTo>
                  <a:lnTo>
                    <a:pt x="293069" y="336899"/>
                  </a:lnTo>
                  <a:lnTo>
                    <a:pt x="293640" y="336899"/>
                  </a:lnTo>
                  <a:cubicBezTo>
                    <a:pt x="296303" y="335185"/>
                    <a:pt x="298872" y="333375"/>
                    <a:pt x="301440" y="331470"/>
                  </a:cubicBezTo>
                  <a:lnTo>
                    <a:pt x="317896" y="349949"/>
                  </a:lnTo>
                  <a:lnTo>
                    <a:pt x="324079" y="345186"/>
                  </a:lnTo>
                  <a:lnTo>
                    <a:pt x="323318" y="344043"/>
                  </a:lnTo>
                  <a:close/>
                  <a:moveTo>
                    <a:pt x="304103" y="357569"/>
                  </a:moveTo>
                  <a:lnTo>
                    <a:pt x="304769" y="358902"/>
                  </a:lnTo>
                  <a:lnTo>
                    <a:pt x="298111" y="362903"/>
                  </a:lnTo>
                  <a:lnTo>
                    <a:pt x="284033" y="342424"/>
                  </a:lnTo>
                  <a:cubicBezTo>
                    <a:pt x="280608" y="344424"/>
                    <a:pt x="277089" y="346234"/>
                    <a:pt x="273474" y="347948"/>
                  </a:cubicBezTo>
                  <a:lnTo>
                    <a:pt x="272999" y="347948"/>
                  </a:lnTo>
                  <a:lnTo>
                    <a:pt x="271952" y="346710"/>
                  </a:lnTo>
                  <a:cubicBezTo>
                    <a:pt x="276100" y="344927"/>
                    <a:pt x="280134" y="342891"/>
                    <a:pt x="284033" y="340614"/>
                  </a:cubicBezTo>
                  <a:lnTo>
                    <a:pt x="298111" y="361093"/>
                  </a:lnTo>
                  <a:lnTo>
                    <a:pt x="304103" y="357378"/>
                  </a:lnTo>
                  <a:close/>
                  <a:moveTo>
                    <a:pt x="280894" y="370046"/>
                  </a:moveTo>
                  <a:lnTo>
                    <a:pt x="274140" y="372904"/>
                  </a:lnTo>
                  <a:lnTo>
                    <a:pt x="263011" y="350806"/>
                  </a:lnTo>
                  <a:cubicBezTo>
                    <a:pt x="259872" y="352044"/>
                    <a:pt x="256638" y="353187"/>
                    <a:pt x="253499" y="354235"/>
                  </a:cubicBezTo>
                  <a:lnTo>
                    <a:pt x="252833" y="354235"/>
                  </a:lnTo>
                  <a:lnTo>
                    <a:pt x="253499" y="355664"/>
                  </a:lnTo>
                  <a:lnTo>
                    <a:pt x="253499" y="355664"/>
                  </a:lnTo>
                  <a:lnTo>
                    <a:pt x="263011" y="352330"/>
                  </a:lnTo>
                  <a:lnTo>
                    <a:pt x="274140" y="374428"/>
                  </a:lnTo>
                  <a:lnTo>
                    <a:pt x="281369" y="371380"/>
                  </a:lnTo>
                  <a:lnTo>
                    <a:pt x="281369" y="369951"/>
                  </a:lnTo>
                  <a:close/>
                  <a:moveTo>
                    <a:pt x="258445" y="378524"/>
                  </a:moveTo>
                  <a:lnTo>
                    <a:pt x="258445" y="380048"/>
                  </a:lnTo>
                  <a:lnTo>
                    <a:pt x="250930" y="382143"/>
                  </a:lnTo>
                  <a:lnTo>
                    <a:pt x="242655" y="358807"/>
                  </a:lnTo>
                  <a:cubicBezTo>
                    <a:pt x="238660" y="359855"/>
                    <a:pt x="234665" y="360712"/>
                    <a:pt x="230670" y="361474"/>
                  </a:cubicBezTo>
                  <a:lnTo>
                    <a:pt x="230670" y="359855"/>
                  </a:lnTo>
                  <a:cubicBezTo>
                    <a:pt x="234760" y="359093"/>
                    <a:pt x="238850" y="358235"/>
                    <a:pt x="242845" y="357188"/>
                  </a:cubicBezTo>
                  <a:lnTo>
                    <a:pt x="251121" y="380524"/>
                  </a:lnTo>
                  <a:lnTo>
                    <a:pt x="258255" y="378524"/>
                  </a:lnTo>
                  <a:close/>
                  <a:moveTo>
                    <a:pt x="232762" y="384524"/>
                  </a:moveTo>
                  <a:lnTo>
                    <a:pt x="225153" y="385667"/>
                  </a:lnTo>
                  <a:lnTo>
                    <a:pt x="220206" y="361379"/>
                  </a:lnTo>
                  <a:cubicBezTo>
                    <a:pt x="216782" y="361379"/>
                    <a:pt x="213453" y="362045"/>
                    <a:pt x="210028" y="362236"/>
                  </a:cubicBezTo>
                  <a:lnTo>
                    <a:pt x="208316" y="386715"/>
                  </a:lnTo>
                  <a:lnTo>
                    <a:pt x="200516" y="386715"/>
                  </a:lnTo>
                  <a:lnTo>
                    <a:pt x="198804" y="362236"/>
                  </a:lnTo>
                  <a:cubicBezTo>
                    <a:pt x="194714" y="362236"/>
                    <a:pt x="190528" y="362236"/>
                    <a:pt x="186438" y="361569"/>
                  </a:cubicBezTo>
                  <a:lnTo>
                    <a:pt x="181967" y="385953"/>
                  </a:lnTo>
                  <a:lnTo>
                    <a:pt x="174358" y="385001"/>
                  </a:lnTo>
                  <a:lnTo>
                    <a:pt x="174358" y="386620"/>
                  </a:lnTo>
                  <a:lnTo>
                    <a:pt x="182158" y="387572"/>
                  </a:lnTo>
                  <a:lnTo>
                    <a:pt x="186628" y="363188"/>
                  </a:lnTo>
                  <a:cubicBezTo>
                    <a:pt x="190718" y="363188"/>
                    <a:pt x="194904" y="363760"/>
                    <a:pt x="198994" y="363855"/>
                  </a:cubicBezTo>
                  <a:lnTo>
                    <a:pt x="200992" y="388525"/>
                  </a:lnTo>
                  <a:lnTo>
                    <a:pt x="208792" y="388525"/>
                  </a:lnTo>
                  <a:lnTo>
                    <a:pt x="209267" y="363760"/>
                  </a:lnTo>
                  <a:cubicBezTo>
                    <a:pt x="212692" y="363760"/>
                    <a:pt x="216021" y="363284"/>
                    <a:pt x="219445" y="362903"/>
                  </a:cubicBezTo>
                  <a:lnTo>
                    <a:pt x="224392" y="387191"/>
                  </a:lnTo>
                  <a:lnTo>
                    <a:pt x="232191" y="386048"/>
                  </a:lnTo>
                  <a:lnTo>
                    <a:pt x="232191" y="384429"/>
                  </a:lnTo>
                  <a:close/>
                  <a:moveTo>
                    <a:pt x="175689" y="362141"/>
                  </a:moveTo>
                  <a:cubicBezTo>
                    <a:pt x="172360" y="361569"/>
                    <a:pt x="169031" y="360998"/>
                    <a:pt x="165702" y="360236"/>
                  </a:cubicBezTo>
                  <a:lnTo>
                    <a:pt x="158282" y="383858"/>
                  </a:lnTo>
                  <a:lnTo>
                    <a:pt x="150672" y="382048"/>
                  </a:lnTo>
                  <a:lnTo>
                    <a:pt x="150672" y="380429"/>
                  </a:lnTo>
                  <a:lnTo>
                    <a:pt x="150672" y="380429"/>
                  </a:lnTo>
                  <a:lnTo>
                    <a:pt x="157616" y="382143"/>
                  </a:lnTo>
                  <a:lnTo>
                    <a:pt x="165036" y="358521"/>
                  </a:lnTo>
                  <a:cubicBezTo>
                    <a:pt x="168365" y="359283"/>
                    <a:pt x="171789" y="359855"/>
                    <a:pt x="175119" y="360426"/>
                  </a:cubicBezTo>
                  <a:lnTo>
                    <a:pt x="175119" y="362045"/>
                  </a:lnTo>
                  <a:close/>
                  <a:moveTo>
                    <a:pt x="154953" y="357569"/>
                  </a:moveTo>
                  <a:lnTo>
                    <a:pt x="154953" y="357569"/>
                  </a:lnTo>
                  <a:lnTo>
                    <a:pt x="155524" y="356140"/>
                  </a:lnTo>
                  <a:cubicBezTo>
                    <a:pt x="151814" y="354902"/>
                    <a:pt x="147248" y="353568"/>
                    <a:pt x="143158" y="352044"/>
                  </a:cubicBezTo>
                  <a:lnTo>
                    <a:pt x="132219" y="374428"/>
                  </a:lnTo>
                  <a:lnTo>
                    <a:pt x="125465" y="371666"/>
                  </a:lnTo>
                  <a:lnTo>
                    <a:pt x="124990" y="373094"/>
                  </a:lnTo>
                  <a:lnTo>
                    <a:pt x="132219" y="376047"/>
                  </a:lnTo>
                  <a:lnTo>
                    <a:pt x="142872" y="353663"/>
                  </a:lnTo>
                  <a:cubicBezTo>
                    <a:pt x="146677" y="354997"/>
                    <a:pt x="150482" y="356235"/>
                    <a:pt x="154382" y="357378"/>
                  </a:cubicBezTo>
                  <a:close/>
                  <a:moveTo>
                    <a:pt x="132219" y="349377"/>
                  </a:moveTo>
                  <a:cubicBezTo>
                    <a:pt x="129270" y="348044"/>
                    <a:pt x="126321" y="346710"/>
                    <a:pt x="123468" y="345186"/>
                  </a:cubicBezTo>
                  <a:lnTo>
                    <a:pt x="110246" y="366141"/>
                  </a:lnTo>
                  <a:lnTo>
                    <a:pt x="103397" y="362331"/>
                  </a:lnTo>
                  <a:lnTo>
                    <a:pt x="103968" y="361093"/>
                  </a:lnTo>
                  <a:lnTo>
                    <a:pt x="110246" y="364522"/>
                  </a:lnTo>
                  <a:lnTo>
                    <a:pt x="123468" y="343567"/>
                  </a:lnTo>
                  <a:cubicBezTo>
                    <a:pt x="126797" y="345281"/>
                    <a:pt x="130221" y="346901"/>
                    <a:pt x="133646" y="348329"/>
                  </a:cubicBezTo>
                  <a:lnTo>
                    <a:pt x="132694" y="349568"/>
                  </a:lnTo>
                  <a:lnTo>
                    <a:pt x="132694" y="349568"/>
                  </a:lnTo>
                  <a:close/>
                  <a:moveTo>
                    <a:pt x="113195" y="339852"/>
                  </a:moveTo>
                  <a:lnTo>
                    <a:pt x="113860" y="339852"/>
                  </a:lnTo>
                  <a:lnTo>
                    <a:pt x="115002" y="338995"/>
                  </a:lnTo>
                  <a:cubicBezTo>
                    <a:pt x="111482" y="336709"/>
                    <a:pt x="107202" y="334137"/>
                    <a:pt x="103397" y="331375"/>
                  </a:cubicBezTo>
                  <a:lnTo>
                    <a:pt x="87417" y="350425"/>
                  </a:lnTo>
                  <a:lnTo>
                    <a:pt x="81804" y="346234"/>
                  </a:lnTo>
                  <a:lnTo>
                    <a:pt x="81139" y="347282"/>
                  </a:lnTo>
                  <a:lnTo>
                    <a:pt x="87417" y="352044"/>
                  </a:lnTo>
                  <a:lnTo>
                    <a:pt x="103397" y="332994"/>
                  </a:lnTo>
                  <a:cubicBezTo>
                    <a:pt x="106536" y="335185"/>
                    <a:pt x="109865" y="337280"/>
                    <a:pt x="112909" y="339376"/>
                  </a:cubicBezTo>
                  <a:close/>
                  <a:moveTo>
                    <a:pt x="94170" y="326422"/>
                  </a:moveTo>
                  <a:cubicBezTo>
                    <a:pt x="91792" y="324422"/>
                    <a:pt x="89414" y="322421"/>
                    <a:pt x="87131" y="320326"/>
                  </a:cubicBezTo>
                  <a:lnTo>
                    <a:pt x="68963" y="337090"/>
                  </a:lnTo>
                  <a:lnTo>
                    <a:pt x="63256" y="331661"/>
                  </a:lnTo>
                  <a:lnTo>
                    <a:pt x="64017" y="330708"/>
                  </a:lnTo>
                  <a:lnTo>
                    <a:pt x="64873" y="331470"/>
                  </a:lnTo>
                  <a:lnTo>
                    <a:pt x="68963" y="335471"/>
                  </a:lnTo>
                  <a:lnTo>
                    <a:pt x="87131" y="318707"/>
                  </a:lnTo>
                  <a:cubicBezTo>
                    <a:pt x="90100" y="321490"/>
                    <a:pt x="93280" y="324037"/>
                    <a:pt x="96643" y="326327"/>
                  </a:cubicBezTo>
                  <a:lnTo>
                    <a:pt x="95217" y="326993"/>
                  </a:lnTo>
                  <a:lnTo>
                    <a:pt x="94456" y="326422"/>
                  </a:lnTo>
                  <a:close/>
                  <a:moveTo>
                    <a:pt x="78570" y="312039"/>
                  </a:moveTo>
                  <a:cubicBezTo>
                    <a:pt x="76002" y="309277"/>
                    <a:pt x="73434" y="306419"/>
                    <a:pt x="70961" y="303562"/>
                  </a:cubicBezTo>
                  <a:lnTo>
                    <a:pt x="50700" y="317659"/>
                  </a:lnTo>
                  <a:lnTo>
                    <a:pt x="45849" y="311468"/>
                  </a:lnTo>
                  <a:lnTo>
                    <a:pt x="46610" y="310801"/>
                  </a:lnTo>
                  <a:lnTo>
                    <a:pt x="50700" y="316040"/>
                  </a:lnTo>
                  <a:lnTo>
                    <a:pt x="70961" y="301943"/>
                  </a:lnTo>
                  <a:cubicBezTo>
                    <a:pt x="74100" y="305657"/>
                    <a:pt x="77429" y="309182"/>
                    <a:pt x="80473" y="312706"/>
                  </a:cubicBezTo>
                  <a:lnTo>
                    <a:pt x="79046" y="312706"/>
                  </a:lnTo>
                  <a:lnTo>
                    <a:pt x="78285" y="311849"/>
                  </a:lnTo>
                  <a:close/>
                  <a:moveTo>
                    <a:pt x="63636" y="294037"/>
                  </a:moveTo>
                  <a:cubicBezTo>
                    <a:pt x="61861" y="291687"/>
                    <a:pt x="60148" y="289211"/>
                    <a:pt x="58500" y="286607"/>
                  </a:cubicBezTo>
                  <a:lnTo>
                    <a:pt x="37097" y="297942"/>
                  </a:lnTo>
                  <a:lnTo>
                    <a:pt x="33007" y="291179"/>
                  </a:lnTo>
                  <a:lnTo>
                    <a:pt x="33768" y="290703"/>
                  </a:lnTo>
                  <a:lnTo>
                    <a:pt x="37097" y="296228"/>
                  </a:lnTo>
                  <a:lnTo>
                    <a:pt x="58975" y="284798"/>
                  </a:lnTo>
                  <a:cubicBezTo>
                    <a:pt x="61353" y="288417"/>
                    <a:pt x="63826" y="291751"/>
                    <a:pt x="66205" y="295275"/>
                  </a:cubicBezTo>
                  <a:lnTo>
                    <a:pt x="64968" y="295275"/>
                  </a:lnTo>
                  <a:lnTo>
                    <a:pt x="64112" y="294132"/>
                  </a:lnTo>
                  <a:close/>
                  <a:moveTo>
                    <a:pt x="52317" y="276130"/>
                  </a:moveTo>
                  <a:cubicBezTo>
                    <a:pt x="50510" y="272891"/>
                    <a:pt x="48892" y="269558"/>
                    <a:pt x="47275" y="266605"/>
                  </a:cubicBezTo>
                  <a:lnTo>
                    <a:pt x="23971" y="274987"/>
                  </a:lnTo>
                  <a:lnTo>
                    <a:pt x="20927" y="267748"/>
                  </a:lnTo>
                  <a:lnTo>
                    <a:pt x="21497" y="267748"/>
                  </a:lnTo>
                  <a:lnTo>
                    <a:pt x="22068" y="269177"/>
                  </a:lnTo>
                  <a:lnTo>
                    <a:pt x="23971" y="273653"/>
                  </a:lnTo>
                  <a:lnTo>
                    <a:pt x="47275" y="265271"/>
                  </a:lnTo>
                  <a:cubicBezTo>
                    <a:pt x="49338" y="269874"/>
                    <a:pt x="51656" y="274358"/>
                    <a:pt x="54219" y="278702"/>
                  </a:cubicBezTo>
                  <a:lnTo>
                    <a:pt x="52983" y="278035"/>
                  </a:lnTo>
                  <a:lnTo>
                    <a:pt x="52317" y="276797"/>
                  </a:lnTo>
                  <a:close/>
                  <a:moveTo>
                    <a:pt x="42805" y="254889"/>
                  </a:moveTo>
                  <a:cubicBezTo>
                    <a:pt x="41758" y="252222"/>
                    <a:pt x="40807" y="249460"/>
                    <a:pt x="39951" y="246697"/>
                  </a:cubicBezTo>
                  <a:lnTo>
                    <a:pt x="15695" y="252127"/>
                  </a:lnTo>
                  <a:lnTo>
                    <a:pt x="13602" y="244507"/>
                  </a:lnTo>
                  <a:lnTo>
                    <a:pt x="13602" y="244507"/>
                  </a:lnTo>
                  <a:lnTo>
                    <a:pt x="13602" y="246031"/>
                  </a:lnTo>
                  <a:lnTo>
                    <a:pt x="14839" y="250508"/>
                  </a:lnTo>
                  <a:lnTo>
                    <a:pt x="39095" y="245174"/>
                  </a:lnTo>
                  <a:cubicBezTo>
                    <a:pt x="40141" y="248412"/>
                    <a:pt x="41283" y="251555"/>
                    <a:pt x="42519" y="254699"/>
                  </a:cubicBezTo>
                  <a:lnTo>
                    <a:pt x="43471" y="257461"/>
                  </a:lnTo>
                  <a:lnTo>
                    <a:pt x="42519" y="256318"/>
                  </a:lnTo>
                  <a:lnTo>
                    <a:pt x="41949" y="254889"/>
                  </a:lnTo>
                  <a:close/>
                  <a:moveTo>
                    <a:pt x="36527" y="234791"/>
                  </a:moveTo>
                  <a:cubicBezTo>
                    <a:pt x="35671" y="231267"/>
                    <a:pt x="34910" y="227647"/>
                    <a:pt x="34339" y="224123"/>
                  </a:cubicBezTo>
                  <a:lnTo>
                    <a:pt x="9607" y="226124"/>
                  </a:lnTo>
                  <a:lnTo>
                    <a:pt x="8561" y="218408"/>
                  </a:lnTo>
                  <a:lnTo>
                    <a:pt x="8561" y="218408"/>
                  </a:lnTo>
                  <a:lnTo>
                    <a:pt x="9417" y="224600"/>
                  </a:lnTo>
                  <a:lnTo>
                    <a:pt x="34149" y="222599"/>
                  </a:lnTo>
                  <a:cubicBezTo>
                    <a:pt x="35005" y="227743"/>
                    <a:pt x="36241" y="232696"/>
                    <a:pt x="37478" y="237744"/>
                  </a:cubicBezTo>
                  <a:lnTo>
                    <a:pt x="37097" y="236125"/>
                  </a:lnTo>
                  <a:lnTo>
                    <a:pt x="37097" y="234601"/>
                  </a:lnTo>
                  <a:close/>
                  <a:moveTo>
                    <a:pt x="32436" y="211360"/>
                  </a:moveTo>
                  <a:cubicBezTo>
                    <a:pt x="32436" y="208502"/>
                    <a:pt x="31961" y="205645"/>
                    <a:pt x="31771" y="202787"/>
                  </a:cubicBezTo>
                  <a:lnTo>
                    <a:pt x="7134" y="201835"/>
                  </a:lnTo>
                  <a:lnTo>
                    <a:pt x="7134" y="194024"/>
                  </a:lnTo>
                  <a:lnTo>
                    <a:pt x="7134" y="194024"/>
                  </a:lnTo>
                  <a:lnTo>
                    <a:pt x="7134" y="200216"/>
                  </a:lnTo>
                  <a:lnTo>
                    <a:pt x="31771" y="201263"/>
                  </a:lnTo>
                  <a:cubicBezTo>
                    <a:pt x="31771" y="204692"/>
                    <a:pt x="31771" y="208121"/>
                    <a:pt x="32627" y="211455"/>
                  </a:cubicBezTo>
                  <a:lnTo>
                    <a:pt x="32627" y="214598"/>
                  </a:lnTo>
                  <a:lnTo>
                    <a:pt x="32627" y="213170"/>
                  </a:lnTo>
                  <a:lnTo>
                    <a:pt x="32627" y="211455"/>
                  </a:lnTo>
                  <a:close/>
                  <a:moveTo>
                    <a:pt x="32436" y="179546"/>
                  </a:moveTo>
                  <a:lnTo>
                    <a:pt x="7990" y="175165"/>
                  </a:lnTo>
                  <a:lnTo>
                    <a:pt x="7990" y="173546"/>
                  </a:lnTo>
                  <a:lnTo>
                    <a:pt x="32436" y="177927"/>
                  </a:lnTo>
                  <a:lnTo>
                    <a:pt x="32436" y="179546"/>
                  </a:lnTo>
                  <a:close/>
                  <a:moveTo>
                    <a:pt x="35766" y="158782"/>
                  </a:moveTo>
                  <a:lnTo>
                    <a:pt x="11890" y="151352"/>
                  </a:lnTo>
                  <a:lnTo>
                    <a:pt x="11890" y="149828"/>
                  </a:lnTo>
                  <a:lnTo>
                    <a:pt x="35766" y="157258"/>
                  </a:lnTo>
                  <a:lnTo>
                    <a:pt x="35766" y="158782"/>
                  </a:lnTo>
                  <a:close/>
                  <a:moveTo>
                    <a:pt x="42424" y="136589"/>
                  </a:moveTo>
                  <a:lnTo>
                    <a:pt x="19500" y="125635"/>
                  </a:lnTo>
                  <a:lnTo>
                    <a:pt x="19500" y="124206"/>
                  </a:lnTo>
                  <a:lnTo>
                    <a:pt x="42805" y="135160"/>
                  </a:lnTo>
                  <a:lnTo>
                    <a:pt x="42805" y="136493"/>
                  </a:lnTo>
                  <a:close/>
                  <a:moveTo>
                    <a:pt x="50510" y="117539"/>
                  </a:moveTo>
                  <a:lnTo>
                    <a:pt x="29393" y="104108"/>
                  </a:lnTo>
                  <a:lnTo>
                    <a:pt x="30058" y="102870"/>
                  </a:lnTo>
                  <a:lnTo>
                    <a:pt x="51556" y="116681"/>
                  </a:lnTo>
                  <a:lnTo>
                    <a:pt x="50510" y="117539"/>
                  </a:lnTo>
                  <a:close/>
                  <a:moveTo>
                    <a:pt x="62970" y="98489"/>
                  </a:moveTo>
                  <a:lnTo>
                    <a:pt x="43946" y="81820"/>
                  </a:lnTo>
                  <a:lnTo>
                    <a:pt x="44612" y="80772"/>
                  </a:lnTo>
                  <a:lnTo>
                    <a:pt x="45468" y="81534"/>
                  </a:lnTo>
                  <a:lnTo>
                    <a:pt x="64492" y="97441"/>
                  </a:lnTo>
                  <a:lnTo>
                    <a:pt x="63731" y="98489"/>
                  </a:lnTo>
                  <a:close/>
                  <a:moveTo>
                    <a:pt x="76097" y="82106"/>
                  </a:moveTo>
                  <a:lnTo>
                    <a:pt x="76858" y="81248"/>
                  </a:lnTo>
                  <a:lnTo>
                    <a:pt x="60212" y="63151"/>
                  </a:lnTo>
                  <a:lnTo>
                    <a:pt x="59451" y="62389"/>
                  </a:lnTo>
                  <a:lnTo>
                    <a:pt x="58690" y="63151"/>
                  </a:lnTo>
                  <a:lnTo>
                    <a:pt x="76097" y="82201"/>
                  </a:lnTo>
                  <a:close/>
                  <a:moveTo>
                    <a:pt x="92743" y="66199"/>
                  </a:moveTo>
                  <a:lnTo>
                    <a:pt x="78000" y="44863"/>
                  </a:lnTo>
                  <a:lnTo>
                    <a:pt x="78761" y="44291"/>
                  </a:lnTo>
                  <a:lnTo>
                    <a:pt x="93504" y="65723"/>
                  </a:lnTo>
                  <a:lnTo>
                    <a:pt x="92743" y="66199"/>
                  </a:lnTo>
                  <a:close/>
                  <a:moveTo>
                    <a:pt x="109675" y="54007"/>
                  </a:moveTo>
                  <a:lnTo>
                    <a:pt x="97499" y="30385"/>
                  </a:lnTo>
                  <a:lnTo>
                    <a:pt x="98165" y="30385"/>
                  </a:lnTo>
                  <a:lnTo>
                    <a:pt x="110151" y="53531"/>
                  </a:lnTo>
                  <a:lnTo>
                    <a:pt x="109580" y="53531"/>
                  </a:lnTo>
                  <a:close/>
                  <a:moveTo>
                    <a:pt x="129841" y="42863"/>
                  </a:moveTo>
                  <a:lnTo>
                    <a:pt x="120995" y="18193"/>
                  </a:lnTo>
                  <a:lnTo>
                    <a:pt x="121470" y="18193"/>
                  </a:lnTo>
                  <a:lnTo>
                    <a:pt x="122041" y="19717"/>
                  </a:lnTo>
                  <a:lnTo>
                    <a:pt x="130412" y="42958"/>
                  </a:lnTo>
                  <a:lnTo>
                    <a:pt x="129841" y="42958"/>
                  </a:lnTo>
                  <a:close/>
                  <a:moveTo>
                    <a:pt x="148865" y="35338"/>
                  </a:moveTo>
                  <a:lnTo>
                    <a:pt x="143158" y="9620"/>
                  </a:lnTo>
                  <a:lnTo>
                    <a:pt x="143158" y="9620"/>
                  </a:lnTo>
                  <a:lnTo>
                    <a:pt x="148960" y="35338"/>
                  </a:lnTo>
                  <a:close/>
                  <a:moveTo>
                    <a:pt x="250645" y="7525"/>
                  </a:moveTo>
                  <a:lnTo>
                    <a:pt x="250645" y="7525"/>
                  </a:lnTo>
                  <a:lnTo>
                    <a:pt x="246365" y="31528"/>
                  </a:lnTo>
                  <a:lnTo>
                    <a:pt x="246365" y="33052"/>
                  </a:lnTo>
                  <a:lnTo>
                    <a:pt x="246365" y="33052"/>
                  </a:lnTo>
                  <a:lnTo>
                    <a:pt x="251121" y="7144"/>
                  </a:lnTo>
                  <a:close/>
                  <a:moveTo>
                    <a:pt x="200801" y="163735"/>
                  </a:moveTo>
                  <a:cubicBezTo>
                    <a:pt x="217352" y="163780"/>
                    <a:pt x="230873" y="176982"/>
                    <a:pt x="231336" y="193548"/>
                  </a:cubicBezTo>
                  <a:lnTo>
                    <a:pt x="231335" y="192786"/>
                  </a:lnTo>
                  <a:cubicBezTo>
                    <a:pt x="232278" y="175873"/>
                    <a:pt x="219350" y="161398"/>
                    <a:pt x="202460" y="160455"/>
                  </a:cubicBezTo>
                  <a:cubicBezTo>
                    <a:pt x="185570" y="159511"/>
                    <a:pt x="171115" y="172456"/>
                    <a:pt x="170172" y="189369"/>
                  </a:cubicBezTo>
                  <a:cubicBezTo>
                    <a:pt x="170109" y="190507"/>
                    <a:pt x="170109" y="191648"/>
                    <a:pt x="170172" y="192786"/>
                  </a:cubicBezTo>
                  <a:lnTo>
                    <a:pt x="170172" y="193548"/>
                  </a:lnTo>
                  <a:cubicBezTo>
                    <a:pt x="170636" y="176945"/>
                    <a:pt x="184214" y="163728"/>
                    <a:pt x="200801" y="163735"/>
                  </a:cubicBezTo>
                  <a:close/>
                  <a:moveTo>
                    <a:pt x="309335" y="128683"/>
                  </a:moveTo>
                  <a:lnTo>
                    <a:pt x="310096" y="130016"/>
                  </a:lnTo>
                  <a:lnTo>
                    <a:pt x="311523" y="131064"/>
                  </a:lnTo>
                  <a:lnTo>
                    <a:pt x="310096" y="128397"/>
                  </a:lnTo>
                  <a:cubicBezTo>
                    <a:pt x="280474" y="78219"/>
                    <a:pt x="220555" y="54658"/>
                    <a:pt x="164750" y="71247"/>
                  </a:cubicBezTo>
                  <a:lnTo>
                    <a:pt x="165987" y="72485"/>
                  </a:lnTo>
                  <a:lnTo>
                    <a:pt x="166653" y="72485"/>
                  </a:lnTo>
                  <a:cubicBezTo>
                    <a:pt x="221506" y="57112"/>
                    <a:pt x="279864" y="80253"/>
                    <a:pt x="309335" y="129064"/>
                  </a:cubicBezTo>
                  <a:close/>
                  <a:moveTo>
                    <a:pt x="258064" y="193548"/>
                  </a:moveTo>
                  <a:cubicBezTo>
                    <a:pt x="258231" y="210725"/>
                    <a:pt x="250774" y="227089"/>
                    <a:pt x="237709" y="238220"/>
                  </a:cubicBezTo>
                  <a:lnTo>
                    <a:pt x="237138" y="238697"/>
                  </a:lnTo>
                  <a:lnTo>
                    <a:pt x="236187" y="237839"/>
                  </a:lnTo>
                  <a:cubicBezTo>
                    <a:pt x="244062" y="231627"/>
                    <a:pt x="250164" y="223447"/>
                    <a:pt x="253879" y="214122"/>
                  </a:cubicBezTo>
                  <a:cubicBezTo>
                    <a:pt x="256551" y="207588"/>
                    <a:pt x="257970" y="200608"/>
                    <a:pt x="258064" y="193548"/>
                  </a:cubicBezTo>
                  <a:close/>
                  <a:moveTo>
                    <a:pt x="327598" y="193548"/>
                  </a:moveTo>
                  <a:cubicBezTo>
                    <a:pt x="327527" y="182139"/>
                    <a:pt x="325895" y="170794"/>
                    <a:pt x="322747" y="159829"/>
                  </a:cubicBezTo>
                  <a:lnTo>
                    <a:pt x="257589" y="187738"/>
                  </a:lnTo>
                  <a:lnTo>
                    <a:pt x="257589" y="187738"/>
                  </a:lnTo>
                  <a:lnTo>
                    <a:pt x="257589" y="186309"/>
                  </a:lnTo>
                  <a:lnTo>
                    <a:pt x="323128" y="157734"/>
                  </a:lnTo>
                  <a:cubicBezTo>
                    <a:pt x="326409" y="169256"/>
                    <a:pt x="328042" y="181186"/>
                    <a:pt x="327979" y="193167"/>
                  </a:cubicBezTo>
                  <a:close/>
                  <a:moveTo>
                    <a:pt x="207650" y="251555"/>
                  </a:moveTo>
                  <a:lnTo>
                    <a:pt x="236187" y="318230"/>
                  </a:lnTo>
                  <a:lnTo>
                    <a:pt x="236852" y="318230"/>
                  </a:lnTo>
                  <a:lnTo>
                    <a:pt x="207650" y="249460"/>
                  </a:lnTo>
                  <a:cubicBezTo>
                    <a:pt x="197985" y="250713"/>
                    <a:pt x="188161" y="249467"/>
                    <a:pt x="179114" y="245840"/>
                  </a:cubicBezTo>
                  <a:cubicBezTo>
                    <a:pt x="170139" y="242262"/>
                    <a:pt x="162219" y="236461"/>
                    <a:pt x="156094" y="228981"/>
                  </a:cubicBezTo>
                  <a:lnTo>
                    <a:pt x="89509" y="257556"/>
                  </a:lnTo>
                  <a:lnTo>
                    <a:pt x="90936" y="258699"/>
                  </a:lnTo>
                  <a:lnTo>
                    <a:pt x="155999" y="230696"/>
                  </a:lnTo>
                  <a:cubicBezTo>
                    <a:pt x="162313" y="238351"/>
                    <a:pt x="170508" y="244227"/>
                    <a:pt x="179780" y="247745"/>
                  </a:cubicBezTo>
                  <a:cubicBezTo>
                    <a:pt x="188828" y="251367"/>
                    <a:pt x="198643" y="252645"/>
                    <a:pt x="208316" y="251460"/>
                  </a:cubicBezTo>
                  <a:close/>
                  <a:moveTo>
                    <a:pt x="143729" y="199930"/>
                  </a:moveTo>
                  <a:cubicBezTo>
                    <a:pt x="143729" y="197834"/>
                    <a:pt x="143729" y="195739"/>
                    <a:pt x="143729" y="193739"/>
                  </a:cubicBezTo>
                  <a:cubicBezTo>
                    <a:pt x="143729" y="195739"/>
                    <a:pt x="143729" y="197834"/>
                    <a:pt x="143729" y="199835"/>
                  </a:cubicBezTo>
                  <a:lnTo>
                    <a:pt x="143729" y="202978"/>
                  </a:lnTo>
                  <a:lnTo>
                    <a:pt x="143729" y="201454"/>
                  </a:lnTo>
                  <a:lnTo>
                    <a:pt x="143729" y="199930"/>
                  </a:lnTo>
                  <a:close/>
                  <a:moveTo>
                    <a:pt x="164370" y="150400"/>
                  </a:moveTo>
                  <a:lnTo>
                    <a:pt x="136499" y="85058"/>
                  </a:lnTo>
                  <a:cubicBezTo>
                    <a:pt x="98056" y="107750"/>
                    <a:pt x="74303" y="148959"/>
                    <a:pt x="73909" y="193643"/>
                  </a:cubicBezTo>
                  <a:cubicBezTo>
                    <a:pt x="73713" y="148376"/>
                    <a:pt x="97546" y="106411"/>
                    <a:pt x="136499" y="83439"/>
                  </a:cubicBezTo>
                  <a:lnTo>
                    <a:pt x="165036" y="151067"/>
                  </a:ln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30" name="Freeform 29">
              <a:extLst>
                <a:ext uri="{FF2B5EF4-FFF2-40B4-BE49-F238E27FC236}">
                  <a16:creationId xmlns="" xmlns:a16="http://schemas.microsoft.com/office/drawing/2014/main" id="{FC8A598E-02BB-5144-A325-FA92C98A9CDB}"/>
                </a:ext>
              </a:extLst>
            </p:cNvPr>
            <p:cNvSpPr/>
            <p:nvPr/>
          </p:nvSpPr>
          <p:spPr>
            <a:xfrm>
              <a:off x="4504096" y="3166903"/>
              <a:ext cx="454114" cy="454728"/>
            </a:xfrm>
            <a:custGeom>
              <a:avLst/>
              <a:gdLst>
                <a:gd name="connsiteX0" fmla="*/ 269955 w 399510"/>
                <a:gd name="connsiteY0" fmla="*/ 19241 h 400050"/>
                <a:gd name="connsiteX1" fmla="*/ 277279 w 399510"/>
                <a:gd name="connsiteY1" fmla="*/ 22193 h 400050"/>
                <a:gd name="connsiteX2" fmla="*/ 276328 w 399510"/>
                <a:gd name="connsiteY2" fmla="*/ 23432 h 400050"/>
                <a:gd name="connsiteX3" fmla="*/ 269955 w 399510"/>
                <a:gd name="connsiteY3" fmla="*/ 20860 h 400050"/>
                <a:gd name="connsiteX4" fmla="*/ 259396 w 399510"/>
                <a:gd name="connsiteY4" fmla="*/ 43244 h 400050"/>
                <a:gd name="connsiteX5" fmla="*/ 247030 w 399510"/>
                <a:gd name="connsiteY5" fmla="*/ 39243 h 400050"/>
                <a:gd name="connsiteX6" fmla="*/ 247601 w 399510"/>
                <a:gd name="connsiteY6" fmla="*/ 37814 h 400050"/>
                <a:gd name="connsiteX7" fmla="*/ 259396 w 399510"/>
                <a:gd name="connsiteY7" fmla="*/ 41624 h 400050"/>
                <a:gd name="connsiteX8" fmla="*/ 269955 w 399510"/>
                <a:gd name="connsiteY8" fmla="*/ 19241 h 400050"/>
                <a:gd name="connsiteX9" fmla="*/ 269955 w 399510"/>
                <a:gd name="connsiteY9" fmla="*/ 45720 h 400050"/>
                <a:gd name="connsiteX10" fmla="*/ 269003 w 399510"/>
                <a:gd name="connsiteY10" fmla="*/ 46863 h 400050"/>
                <a:gd name="connsiteX11" fmla="*/ 279181 w 399510"/>
                <a:gd name="connsiteY11" fmla="*/ 51721 h 400050"/>
                <a:gd name="connsiteX12" fmla="*/ 292403 w 399510"/>
                <a:gd name="connsiteY12" fmla="*/ 30766 h 400050"/>
                <a:gd name="connsiteX13" fmla="*/ 298015 w 399510"/>
                <a:gd name="connsiteY13" fmla="*/ 33909 h 400050"/>
                <a:gd name="connsiteX14" fmla="*/ 299252 w 399510"/>
                <a:gd name="connsiteY14" fmla="*/ 32957 h 400050"/>
                <a:gd name="connsiteX15" fmla="*/ 292403 w 399510"/>
                <a:gd name="connsiteY15" fmla="*/ 29147 h 400050"/>
                <a:gd name="connsiteX16" fmla="*/ 278706 w 399510"/>
                <a:gd name="connsiteY16" fmla="*/ 50006 h 400050"/>
                <a:gd name="connsiteX17" fmla="*/ 269194 w 399510"/>
                <a:gd name="connsiteY17" fmla="*/ 45720 h 400050"/>
                <a:gd name="connsiteX18" fmla="*/ 288979 w 399510"/>
                <a:gd name="connsiteY18" fmla="*/ 55245 h 400050"/>
                <a:gd name="connsiteX19" fmla="*/ 299347 w 399510"/>
                <a:gd name="connsiteY19" fmla="*/ 62008 h 400050"/>
                <a:gd name="connsiteX20" fmla="*/ 315328 w 399510"/>
                <a:gd name="connsiteY20" fmla="*/ 42958 h 400050"/>
                <a:gd name="connsiteX21" fmla="*/ 321606 w 399510"/>
                <a:gd name="connsiteY21" fmla="*/ 47625 h 400050"/>
                <a:gd name="connsiteX22" fmla="*/ 320179 w 399510"/>
                <a:gd name="connsiteY22" fmla="*/ 48197 h 400050"/>
                <a:gd name="connsiteX23" fmla="*/ 315328 w 399510"/>
                <a:gd name="connsiteY23" fmla="*/ 44577 h 400050"/>
                <a:gd name="connsiteX24" fmla="*/ 299347 w 399510"/>
                <a:gd name="connsiteY24" fmla="*/ 63627 h 400050"/>
                <a:gd name="connsiteX25" fmla="*/ 287742 w 399510"/>
                <a:gd name="connsiteY25" fmla="*/ 56198 h 400050"/>
                <a:gd name="connsiteX26" fmla="*/ 288979 w 399510"/>
                <a:gd name="connsiteY26" fmla="*/ 55245 h 400050"/>
                <a:gd name="connsiteX27" fmla="*/ 308003 w 399510"/>
                <a:gd name="connsiteY27" fmla="*/ 68485 h 400050"/>
                <a:gd name="connsiteX28" fmla="*/ 306672 w 399510"/>
                <a:gd name="connsiteY28" fmla="*/ 68961 h 400050"/>
                <a:gd name="connsiteX29" fmla="*/ 316184 w 399510"/>
                <a:gd name="connsiteY29" fmla="*/ 76772 h 400050"/>
                <a:gd name="connsiteX30" fmla="*/ 332830 w 399510"/>
                <a:gd name="connsiteY30" fmla="*/ 60008 h 400050"/>
                <a:gd name="connsiteX31" fmla="*/ 336920 w 399510"/>
                <a:gd name="connsiteY31" fmla="*/ 64008 h 400050"/>
                <a:gd name="connsiteX32" fmla="*/ 338537 w 399510"/>
                <a:gd name="connsiteY32" fmla="*/ 64008 h 400050"/>
                <a:gd name="connsiteX33" fmla="*/ 332830 w 399510"/>
                <a:gd name="connsiteY33" fmla="*/ 58579 h 400050"/>
                <a:gd name="connsiteX34" fmla="*/ 315042 w 399510"/>
                <a:gd name="connsiteY34" fmla="*/ 74771 h 400050"/>
                <a:gd name="connsiteX35" fmla="*/ 307242 w 399510"/>
                <a:gd name="connsiteY35" fmla="*/ 68104 h 400050"/>
                <a:gd name="connsiteX36" fmla="*/ 323318 w 399510"/>
                <a:gd name="connsiteY36" fmla="*/ 82677 h 400050"/>
                <a:gd name="connsiteX37" fmla="*/ 331689 w 399510"/>
                <a:gd name="connsiteY37" fmla="*/ 92202 h 400050"/>
                <a:gd name="connsiteX38" fmla="*/ 351854 w 399510"/>
                <a:gd name="connsiteY38" fmla="*/ 77819 h 400050"/>
                <a:gd name="connsiteX39" fmla="*/ 356705 w 399510"/>
                <a:gd name="connsiteY39" fmla="*/ 84011 h 400050"/>
                <a:gd name="connsiteX40" fmla="*/ 355184 w 399510"/>
                <a:gd name="connsiteY40" fmla="*/ 84011 h 400050"/>
                <a:gd name="connsiteX41" fmla="*/ 351854 w 399510"/>
                <a:gd name="connsiteY41" fmla="*/ 79439 h 400050"/>
                <a:gd name="connsiteX42" fmla="*/ 331213 w 399510"/>
                <a:gd name="connsiteY42" fmla="*/ 93821 h 400050"/>
                <a:gd name="connsiteX43" fmla="*/ 321701 w 399510"/>
                <a:gd name="connsiteY43" fmla="*/ 83058 h 400050"/>
                <a:gd name="connsiteX44" fmla="*/ 338347 w 399510"/>
                <a:gd name="connsiteY44" fmla="*/ 100394 h 400050"/>
                <a:gd name="connsiteX45" fmla="*/ 344149 w 399510"/>
                <a:gd name="connsiteY45" fmla="*/ 108871 h 400050"/>
                <a:gd name="connsiteX46" fmla="*/ 366027 w 399510"/>
                <a:gd name="connsiteY46" fmla="*/ 97346 h 400050"/>
                <a:gd name="connsiteX47" fmla="*/ 370118 w 399510"/>
                <a:gd name="connsiteY47" fmla="*/ 104108 h 400050"/>
                <a:gd name="connsiteX48" fmla="*/ 368691 w 399510"/>
                <a:gd name="connsiteY48" fmla="*/ 103442 h 400050"/>
                <a:gd name="connsiteX49" fmla="*/ 366027 w 399510"/>
                <a:gd name="connsiteY49" fmla="*/ 98965 h 400050"/>
                <a:gd name="connsiteX50" fmla="*/ 344149 w 399510"/>
                <a:gd name="connsiteY50" fmla="*/ 110490 h 400050"/>
                <a:gd name="connsiteX51" fmla="*/ 336825 w 399510"/>
                <a:gd name="connsiteY51" fmla="*/ 100013 h 400050"/>
                <a:gd name="connsiteX52" fmla="*/ 338347 w 399510"/>
                <a:gd name="connsiteY52" fmla="*/ 100013 h 400050"/>
                <a:gd name="connsiteX53" fmla="*/ 355374 w 399510"/>
                <a:gd name="connsiteY53" fmla="*/ 128969 h 400050"/>
                <a:gd name="connsiteX54" fmla="*/ 378679 w 399510"/>
                <a:gd name="connsiteY54" fmla="*/ 120682 h 400050"/>
                <a:gd name="connsiteX55" fmla="*/ 381722 w 399510"/>
                <a:gd name="connsiteY55" fmla="*/ 127826 h 400050"/>
                <a:gd name="connsiteX56" fmla="*/ 380581 w 399510"/>
                <a:gd name="connsiteY56" fmla="*/ 126778 h 400050"/>
                <a:gd name="connsiteX57" fmla="*/ 378679 w 399510"/>
                <a:gd name="connsiteY57" fmla="*/ 122301 h 400050"/>
                <a:gd name="connsiteX58" fmla="*/ 355374 w 399510"/>
                <a:gd name="connsiteY58" fmla="*/ 130683 h 400050"/>
                <a:gd name="connsiteX59" fmla="*/ 348335 w 399510"/>
                <a:gd name="connsiteY59" fmla="*/ 117062 h 400050"/>
                <a:gd name="connsiteX60" fmla="*/ 349667 w 399510"/>
                <a:gd name="connsiteY60" fmla="*/ 117920 h 400050"/>
                <a:gd name="connsiteX61" fmla="*/ 355374 w 399510"/>
                <a:gd name="connsiteY61" fmla="*/ 128969 h 400050"/>
                <a:gd name="connsiteX62" fmla="*/ 360130 w 399510"/>
                <a:gd name="connsiteY62" fmla="*/ 140303 h 400050"/>
                <a:gd name="connsiteX63" fmla="*/ 362983 w 399510"/>
                <a:gd name="connsiteY63" fmla="*/ 148590 h 400050"/>
                <a:gd name="connsiteX64" fmla="*/ 387144 w 399510"/>
                <a:gd name="connsiteY64" fmla="*/ 143161 h 400050"/>
                <a:gd name="connsiteX65" fmla="*/ 389332 w 399510"/>
                <a:gd name="connsiteY65" fmla="*/ 150686 h 400050"/>
                <a:gd name="connsiteX66" fmla="*/ 388476 w 399510"/>
                <a:gd name="connsiteY66" fmla="*/ 149352 h 400050"/>
                <a:gd name="connsiteX67" fmla="*/ 387144 w 399510"/>
                <a:gd name="connsiteY67" fmla="*/ 144780 h 400050"/>
                <a:gd name="connsiteX68" fmla="*/ 362983 w 399510"/>
                <a:gd name="connsiteY68" fmla="*/ 150209 h 400050"/>
                <a:gd name="connsiteX69" fmla="*/ 359559 w 399510"/>
                <a:gd name="connsiteY69" fmla="*/ 140684 h 400050"/>
                <a:gd name="connsiteX70" fmla="*/ 358608 w 399510"/>
                <a:gd name="connsiteY70" fmla="*/ 137827 h 400050"/>
                <a:gd name="connsiteX71" fmla="*/ 359559 w 399510"/>
                <a:gd name="connsiteY71" fmla="*/ 139065 h 400050"/>
                <a:gd name="connsiteX72" fmla="*/ 360130 w 399510"/>
                <a:gd name="connsiteY72" fmla="*/ 140399 h 400050"/>
                <a:gd name="connsiteX73" fmla="*/ 366408 w 399510"/>
                <a:gd name="connsiteY73" fmla="*/ 160496 h 400050"/>
                <a:gd name="connsiteX74" fmla="*/ 368596 w 399510"/>
                <a:gd name="connsiteY74" fmla="*/ 171164 h 400050"/>
                <a:gd name="connsiteX75" fmla="*/ 393327 w 399510"/>
                <a:gd name="connsiteY75" fmla="*/ 169164 h 400050"/>
                <a:gd name="connsiteX76" fmla="*/ 394374 w 399510"/>
                <a:gd name="connsiteY76" fmla="*/ 176879 h 400050"/>
                <a:gd name="connsiteX77" fmla="*/ 394374 w 399510"/>
                <a:gd name="connsiteY77" fmla="*/ 175355 h 400050"/>
                <a:gd name="connsiteX78" fmla="*/ 393708 w 399510"/>
                <a:gd name="connsiteY78" fmla="*/ 170783 h 400050"/>
                <a:gd name="connsiteX79" fmla="*/ 368976 w 399510"/>
                <a:gd name="connsiteY79" fmla="*/ 172784 h 400050"/>
                <a:gd name="connsiteX80" fmla="*/ 366408 w 399510"/>
                <a:gd name="connsiteY80" fmla="*/ 160592 h 400050"/>
                <a:gd name="connsiteX81" fmla="*/ 365742 w 399510"/>
                <a:gd name="connsiteY81" fmla="*/ 157544 h 400050"/>
                <a:gd name="connsiteX82" fmla="*/ 366408 w 399510"/>
                <a:gd name="connsiteY82" fmla="*/ 158972 h 400050"/>
                <a:gd name="connsiteX83" fmla="*/ 366408 w 399510"/>
                <a:gd name="connsiteY83" fmla="*/ 160496 h 400050"/>
                <a:gd name="connsiteX84" fmla="*/ 370308 w 399510"/>
                <a:gd name="connsiteY84" fmla="*/ 183452 h 400050"/>
                <a:gd name="connsiteX85" fmla="*/ 370974 w 399510"/>
                <a:gd name="connsiteY85" fmla="*/ 192119 h 400050"/>
                <a:gd name="connsiteX86" fmla="*/ 395705 w 399510"/>
                <a:gd name="connsiteY86" fmla="*/ 193072 h 400050"/>
                <a:gd name="connsiteX87" fmla="*/ 395705 w 399510"/>
                <a:gd name="connsiteY87" fmla="*/ 200978 h 400050"/>
                <a:gd name="connsiteX88" fmla="*/ 395705 w 399510"/>
                <a:gd name="connsiteY88" fmla="*/ 200978 h 400050"/>
                <a:gd name="connsiteX89" fmla="*/ 395705 w 399510"/>
                <a:gd name="connsiteY89" fmla="*/ 194786 h 400050"/>
                <a:gd name="connsiteX90" fmla="*/ 370974 w 399510"/>
                <a:gd name="connsiteY90" fmla="*/ 193739 h 400050"/>
                <a:gd name="connsiteX91" fmla="*/ 370213 w 399510"/>
                <a:gd name="connsiteY91" fmla="*/ 183547 h 400050"/>
                <a:gd name="connsiteX92" fmla="*/ 370213 w 399510"/>
                <a:gd name="connsiteY92" fmla="*/ 180308 h 400050"/>
                <a:gd name="connsiteX93" fmla="*/ 370213 w 399510"/>
                <a:gd name="connsiteY93" fmla="*/ 181832 h 400050"/>
                <a:gd name="connsiteX94" fmla="*/ 370213 w 399510"/>
                <a:gd name="connsiteY94" fmla="*/ 183452 h 400050"/>
                <a:gd name="connsiteX95" fmla="*/ 370308 w 399510"/>
                <a:gd name="connsiteY95" fmla="*/ 215360 h 400050"/>
                <a:gd name="connsiteX96" fmla="*/ 394659 w 399510"/>
                <a:gd name="connsiteY96" fmla="*/ 219742 h 400050"/>
                <a:gd name="connsiteX97" fmla="*/ 394659 w 399510"/>
                <a:gd name="connsiteY97" fmla="*/ 221266 h 400050"/>
                <a:gd name="connsiteX98" fmla="*/ 369832 w 399510"/>
                <a:gd name="connsiteY98" fmla="*/ 217646 h 400050"/>
                <a:gd name="connsiteX99" fmla="*/ 369832 w 399510"/>
                <a:gd name="connsiteY99" fmla="*/ 216027 h 400050"/>
                <a:gd name="connsiteX100" fmla="*/ 366979 w 399510"/>
                <a:gd name="connsiteY100" fmla="*/ 236696 h 400050"/>
                <a:gd name="connsiteX101" fmla="*/ 390569 w 399510"/>
                <a:gd name="connsiteY101" fmla="*/ 244126 h 400050"/>
                <a:gd name="connsiteX102" fmla="*/ 389808 w 399510"/>
                <a:gd name="connsiteY102" fmla="*/ 245555 h 400050"/>
                <a:gd name="connsiteX103" fmla="*/ 366408 w 399510"/>
                <a:gd name="connsiteY103" fmla="*/ 238220 h 400050"/>
                <a:gd name="connsiteX104" fmla="*/ 366979 w 399510"/>
                <a:gd name="connsiteY104" fmla="*/ 236696 h 400050"/>
                <a:gd name="connsiteX105" fmla="*/ 360510 w 399510"/>
                <a:gd name="connsiteY105" fmla="*/ 259080 h 400050"/>
                <a:gd name="connsiteX106" fmla="*/ 382864 w 399510"/>
                <a:gd name="connsiteY106" fmla="*/ 269653 h 400050"/>
                <a:gd name="connsiteX107" fmla="*/ 381817 w 399510"/>
                <a:gd name="connsiteY107" fmla="*/ 270796 h 400050"/>
                <a:gd name="connsiteX108" fmla="*/ 359559 w 399510"/>
                <a:gd name="connsiteY108" fmla="*/ 260223 h 400050"/>
                <a:gd name="connsiteX109" fmla="*/ 360510 w 399510"/>
                <a:gd name="connsiteY109" fmla="*/ 259080 h 400050"/>
                <a:gd name="connsiteX110" fmla="*/ 352140 w 399510"/>
                <a:gd name="connsiteY110" fmla="*/ 278130 h 400050"/>
                <a:gd name="connsiteX111" fmla="*/ 373066 w 399510"/>
                <a:gd name="connsiteY111" fmla="*/ 291465 h 400050"/>
                <a:gd name="connsiteX112" fmla="*/ 371640 w 399510"/>
                <a:gd name="connsiteY112" fmla="*/ 292227 h 400050"/>
                <a:gd name="connsiteX113" fmla="*/ 350998 w 399510"/>
                <a:gd name="connsiteY113" fmla="*/ 279083 h 400050"/>
                <a:gd name="connsiteX114" fmla="*/ 352140 w 399510"/>
                <a:gd name="connsiteY114" fmla="*/ 278130 h 400050"/>
                <a:gd name="connsiteX115" fmla="*/ 340154 w 399510"/>
                <a:gd name="connsiteY115" fmla="*/ 298133 h 400050"/>
                <a:gd name="connsiteX116" fmla="*/ 359179 w 399510"/>
                <a:gd name="connsiteY116" fmla="*/ 314135 h 400050"/>
                <a:gd name="connsiteX117" fmla="*/ 357752 w 399510"/>
                <a:gd name="connsiteY117" fmla="*/ 314135 h 400050"/>
                <a:gd name="connsiteX118" fmla="*/ 338727 w 399510"/>
                <a:gd name="connsiteY118" fmla="*/ 298323 h 400050"/>
                <a:gd name="connsiteX119" fmla="*/ 340059 w 399510"/>
                <a:gd name="connsiteY119" fmla="*/ 298323 h 400050"/>
                <a:gd name="connsiteX120" fmla="*/ 327028 w 399510"/>
                <a:gd name="connsiteY120" fmla="*/ 314515 h 400050"/>
                <a:gd name="connsiteX121" fmla="*/ 343769 w 399510"/>
                <a:gd name="connsiteY121" fmla="*/ 332804 h 400050"/>
                <a:gd name="connsiteX122" fmla="*/ 342342 w 399510"/>
                <a:gd name="connsiteY122" fmla="*/ 332804 h 400050"/>
                <a:gd name="connsiteX123" fmla="*/ 325696 w 399510"/>
                <a:gd name="connsiteY123" fmla="*/ 314706 h 400050"/>
                <a:gd name="connsiteX124" fmla="*/ 310381 w 399510"/>
                <a:gd name="connsiteY124" fmla="*/ 330708 h 400050"/>
                <a:gd name="connsiteX125" fmla="*/ 324459 w 399510"/>
                <a:gd name="connsiteY125" fmla="*/ 350996 h 400050"/>
                <a:gd name="connsiteX126" fmla="*/ 322937 w 399510"/>
                <a:gd name="connsiteY126" fmla="*/ 350425 h 400050"/>
                <a:gd name="connsiteX127" fmla="*/ 308859 w 399510"/>
                <a:gd name="connsiteY127" fmla="*/ 330137 h 400050"/>
                <a:gd name="connsiteX128" fmla="*/ 310381 w 399510"/>
                <a:gd name="connsiteY128" fmla="*/ 330613 h 400050"/>
                <a:gd name="connsiteX129" fmla="*/ 293450 w 399510"/>
                <a:gd name="connsiteY129" fmla="*/ 343186 h 400050"/>
                <a:gd name="connsiteX130" fmla="*/ 304864 w 399510"/>
                <a:gd name="connsiteY130" fmla="*/ 365189 h 400050"/>
                <a:gd name="connsiteX131" fmla="*/ 303628 w 399510"/>
                <a:gd name="connsiteY131" fmla="*/ 364236 h 400050"/>
                <a:gd name="connsiteX132" fmla="*/ 292118 w 399510"/>
                <a:gd name="connsiteY132" fmla="*/ 342329 h 400050"/>
                <a:gd name="connsiteX133" fmla="*/ 293450 w 399510"/>
                <a:gd name="connsiteY133" fmla="*/ 343186 h 400050"/>
                <a:gd name="connsiteX134" fmla="*/ 273094 w 399510"/>
                <a:gd name="connsiteY134" fmla="*/ 354425 h 400050"/>
                <a:gd name="connsiteX135" fmla="*/ 281464 w 399510"/>
                <a:gd name="connsiteY135" fmla="*/ 377762 h 400050"/>
                <a:gd name="connsiteX136" fmla="*/ 280418 w 399510"/>
                <a:gd name="connsiteY136" fmla="*/ 376523 h 400050"/>
                <a:gd name="connsiteX137" fmla="*/ 272047 w 399510"/>
                <a:gd name="connsiteY137" fmla="*/ 353187 h 400050"/>
                <a:gd name="connsiteX138" fmla="*/ 273094 w 399510"/>
                <a:gd name="connsiteY138" fmla="*/ 354425 h 400050"/>
                <a:gd name="connsiteX139" fmla="*/ 253499 w 399510"/>
                <a:gd name="connsiteY139" fmla="*/ 362140 h 400050"/>
                <a:gd name="connsiteX140" fmla="*/ 258921 w 399510"/>
                <a:gd name="connsiteY140" fmla="*/ 386334 h 400050"/>
                <a:gd name="connsiteX141" fmla="*/ 258255 w 399510"/>
                <a:gd name="connsiteY141" fmla="*/ 384905 h 400050"/>
                <a:gd name="connsiteX142" fmla="*/ 252833 w 399510"/>
                <a:gd name="connsiteY142" fmla="*/ 360521 h 400050"/>
                <a:gd name="connsiteX143" fmla="*/ 253499 w 399510"/>
                <a:gd name="connsiteY143" fmla="*/ 361950 h 400050"/>
                <a:gd name="connsiteX144" fmla="*/ 174643 w 399510"/>
                <a:gd name="connsiteY144" fmla="*/ 393097 h 400050"/>
                <a:gd name="connsiteX145" fmla="*/ 176070 w 399510"/>
                <a:gd name="connsiteY145" fmla="*/ 370046 h 400050"/>
                <a:gd name="connsiteX146" fmla="*/ 176070 w 399510"/>
                <a:gd name="connsiteY146" fmla="*/ 370046 h 400050"/>
                <a:gd name="connsiteX147" fmla="*/ 174738 w 399510"/>
                <a:gd name="connsiteY147" fmla="*/ 391478 h 400050"/>
                <a:gd name="connsiteX148" fmla="*/ 174738 w 399510"/>
                <a:gd name="connsiteY148" fmla="*/ 393097 h 400050"/>
                <a:gd name="connsiteX149" fmla="*/ 151053 w 399510"/>
                <a:gd name="connsiteY149" fmla="*/ 388334 h 400050"/>
                <a:gd name="connsiteX150" fmla="*/ 155619 w 399510"/>
                <a:gd name="connsiteY150" fmla="*/ 363950 h 400050"/>
                <a:gd name="connsiteX151" fmla="*/ 156189 w 399510"/>
                <a:gd name="connsiteY151" fmla="*/ 362522 h 400050"/>
                <a:gd name="connsiteX152" fmla="*/ 152099 w 399510"/>
                <a:gd name="connsiteY152" fmla="*/ 386525 h 400050"/>
                <a:gd name="connsiteX153" fmla="*/ 151433 w 399510"/>
                <a:gd name="connsiteY153" fmla="*/ 388144 h 400050"/>
                <a:gd name="connsiteX154" fmla="*/ 125941 w 399510"/>
                <a:gd name="connsiteY154" fmla="*/ 379571 h 400050"/>
                <a:gd name="connsiteX155" fmla="*/ 133741 w 399510"/>
                <a:gd name="connsiteY155" fmla="*/ 356045 h 400050"/>
                <a:gd name="connsiteX156" fmla="*/ 134692 w 399510"/>
                <a:gd name="connsiteY156" fmla="*/ 354806 h 400050"/>
                <a:gd name="connsiteX157" fmla="*/ 126892 w 399510"/>
                <a:gd name="connsiteY157" fmla="*/ 378238 h 400050"/>
                <a:gd name="connsiteX158" fmla="*/ 125941 w 399510"/>
                <a:gd name="connsiteY158" fmla="*/ 379571 h 400050"/>
                <a:gd name="connsiteX159" fmla="*/ 104538 w 399510"/>
                <a:gd name="connsiteY159" fmla="*/ 368618 h 400050"/>
                <a:gd name="connsiteX160" fmla="*/ 115097 w 399510"/>
                <a:gd name="connsiteY160" fmla="*/ 346234 h 400050"/>
                <a:gd name="connsiteX161" fmla="*/ 116334 w 399510"/>
                <a:gd name="connsiteY161" fmla="*/ 345472 h 400050"/>
                <a:gd name="connsiteX162" fmla="*/ 105680 w 399510"/>
                <a:gd name="connsiteY162" fmla="*/ 367665 h 400050"/>
                <a:gd name="connsiteX163" fmla="*/ 104538 w 399510"/>
                <a:gd name="connsiteY163" fmla="*/ 368618 h 400050"/>
                <a:gd name="connsiteX164" fmla="*/ 82470 w 399510"/>
                <a:gd name="connsiteY164" fmla="*/ 353663 h 400050"/>
                <a:gd name="connsiteX165" fmla="*/ 96073 w 399510"/>
                <a:gd name="connsiteY165" fmla="*/ 332994 h 400050"/>
                <a:gd name="connsiteX166" fmla="*/ 97499 w 399510"/>
                <a:gd name="connsiteY166" fmla="*/ 332423 h 400050"/>
                <a:gd name="connsiteX167" fmla="*/ 83897 w 399510"/>
                <a:gd name="connsiteY167" fmla="*/ 353187 h 400050"/>
                <a:gd name="connsiteX168" fmla="*/ 82470 w 399510"/>
                <a:gd name="connsiteY168" fmla="*/ 353663 h 400050"/>
                <a:gd name="connsiteX169" fmla="*/ 64397 w 399510"/>
                <a:gd name="connsiteY169" fmla="*/ 337757 h 400050"/>
                <a:gd name="connsiteX170" fmla="*/ 80473 w 399510"/>
                <a:gd name="connsiteY170" fmla="*/ 318707 h 400050"/>
                <a:gd name="connsiteX171" fmla="*/ 81900 w 399510"/>
                <a:gd name="connsiteY171" fmla="*/ 318707 h 400050"/>
                <a:gd name="connsiteX172" fmla="*/ 65919 w 399510"/>
                <a:gd name="connsiteY172" fmla="*/ 337757 h 400050"/>
                <a:gd name="connsiteX173" fmla="*/ 64397 w 399510"/>
                <a:gd name="connsiteY173" fmla="*/ 337757 h 400050"/>
                <a:gd name="connsiteX174" fmla="*/ 46990 w 399510"/>
                <a:gd name="connsiteY174" fmla="*/ 317564 h 400050"/>
                <a:gd name="connsiteX175" fmla="*/ 65444 w 399510"/>
                <a:gd name="connsiteY175" fmla="*/ 301085 h 400050"/>
                <a:gd name="connsiteX176" fmla="*/ 66870 w 399510"/>
                <a:gd name="connsiteY176" fmla="*/ 301562 h 400050"/>
                <a:gd name="connsiteX177" fmla="*/ 48512 w 399510"/>
                <a:gd name="connsiteY177" fmla="*/ 317849 h 400050"/>
                <a:gd name="connsiteX178" fmla="*/ 46990 w 399510"/>
                <a:gd name="connsiteY178" fmla="*/ 317849 h 400050"/>
                <a:gd name="connsiteX179" fmla="*/ 33673 w 399510"/>
                <a:gd name="connsiteY179" fmla="*/ 297466 h 400050"/>
                <a:gd name="connsiteX180" fmla="*/ 54124 w 399510"/>
                <a:gd name="connsiteY180" fmla="*/ 283464 h 400050"/>
                <a:gd name="connsiteX181" fmla="*/ 55456 w 399510"/>
                <a:gd name="connsiteY181" fmla="*/ 284131 h 400050"/>
                <a:gd name="connsiteX182" fmla="*/ 35100 w 399510"/>
                <a:gd name="connsiteY182" fmla="*/ 298133 h 400050"/>
                <a:gd name="connsiteX183" fmla="*/ 33673 w 399510"/>
                <a:gd name="connsiteY183" fmla="*/ 297466 h 400050"/>
                <a:gd name="connsiteX184" fmla="*/ 22068 w 399510"/>
                <a:gd name="connsiteY184" fmla="*/ 273463 h 400050"/>
                <a:gd name="connsiteX185" fmla="*/ 44231 w 399510"/>
                <a:gd name="connsiteY185" fmla="*/ 262414 h 400050"/>
                <a:gd name="connsiteX186" fmla="*/ 45183 w 399510"/>
                <a:gd name="connsiteY186" fmla="*/ 263557 h 400050"/>
                <a:gd name="connsiteX187" fmla="*/ 23115 w 399510"/>
                <a:gd name="connsiteY187" fmla="*/ 274796 h 400050"/>
                <a:gd name="connsiteX188" fmla="*/ 21973 w 399510"/>
                <a:gd name="connsiteY188" fmla="*/ 273749 h 400050"/>
                <a:gd name="connsiteX189" fmla="*/ 14458 w 399510"/>
                <a:gd name="connsiteY189" fmla="*/ 250603 h 400050"/>
                <a:gd name="connsiteX190" fmla="*/ 37953 w 399510"/>
                <a:gd name="connsiteY190" fmla="*/ 242411 h 400050"/>
                <a:gd name="connsiteX191" fmla="*/ 38619 w 399510"/>
                <a:gd name="connsiteY191" fmla="*/ 243745 h 400050"/>
                <a:gd name="connsiteX192" fmla="*/ 15505 w 399510"/>
                <a:gd name="connsiteY192" fmla="*/ 251936 h 400050"/>
                <a:gd name="connsiteX193" fmla="*/ 14649 w 399510"/>
                <a:gd name="connsiteY193" fmla="*/ 250603 h 400050"/>
                <a:gd name="connsiteX194" fmla="*/ 9417 w 399510"/>
                <a:gd name="connsiteY194" fmla="*/ 224504 h 400050"/>
                <a:gd name="connsiteX195" fmla="*/ 33578 w 399510"/>
                <a:gd name="connsiteY195" fmla="*/ 219456 h 400050"/>
                <a:gd name="connsiteX196" fmla="*/ 33578 w 399510"/>
                <a:gd name="connsiteY196" fmla="*/ 220980 h 400050"/>
                <a:gd name="connsiteX197" fmla="*/ 9512 w 399510"/>
                <a:gd name="connsiteY197" fmla="*/ 226028 h 400050"/>
                <a:gd name="connsiteX198" fmla="*/ 9037 w 399510"/>
                <a:gd name="connsiteY198" fmla="*/ 224504 h 400050"/>
                <a:gd name="connsiteX199" fmla="*/ 7990 w 399510"/>
                <a:gd name="connsiteY199" fmla="*/ 202025 h 400050"/>
                <a:gd name="connsiteX200" fmla="*/ 7990 w 399510"/>
                <a:gd name="connsiteY200" fmla="*/ 200406 h 400050"/>
                <a:gd name="connsiteX201" fmla="*/ 32627 w 399510"/>
                <a:gd name="connsiteY201" fmla="*/ 198501 h 400050"/>
                <a:gd name="connsiteX202" fmla="*/ 32627 w 399510"/>
                <a:gd name="connsiteY202" fmla="*/ 187643 h 400050"/>
                <a:gd name="connsiteX203" fmla="*/ 32627 w 399510"/>
                <a:gd name="connsiteY203" fmla="*/ 186023 h 400050"/>
                <a:gd name="connsiteX204" fmla="*/ 32627 w 399510"/>
                <a:gd name="connsiteY204" fmla="*/ 184404 h 400050"/>
                <a:gd name="connsiteX205" fmla="*/ 31675 w 399510"/>
                <a:gd name="connsiteY205" fmla="*/ 200120 h 400050"/>
                <a:gd name="connsiteX206" fmla="*/ 7134 w 399510"/>
                <a:gd name="connsiteY206" fmla="*/ 202025 h 400050"/>
                <a:gd name="connsiteX207" fmla="*/ 8846 w 399510"/>
                <a:gd name="connsiteY207" fmla="*/ 181642 h 400050"/>
                <a:gd name="connsiteX208" fmla="*/ 9797 w 399510"/>
                <a:gd name="connsiteY208" fmla="*/ 173831 h 400050"/>
                <a:gd name="connsiteX209" fmla="*/ 34529 w 399510"/>
                <a:gd name="connsiteY209" fmla="*/ 175260 h 400050"/>
                <a:gd name="connsiteX210" fmla="*/ 36336 w 399510"/>
                <a:gd name="connsiteY210" fmla="*/ 165259 h 400050"/>
                <a:gd name="connsiteX211" fmla="*/ 37002 w 399510"/>
                <a:gd name="connsiteY211" fmla="*/ 163735 h 400050"/>
                <a:gd name="connsiteX212" fmla="*/ 34529 w 399510"/>
                <a:gd name="connsiteY212" fmla="*/ 176879 h 400050"/>
                <a:gd name="connsiteX213" fmla="*/ 9797 w 399510"/>
                <a:gd name="connsiteY213" fmla="*/ 175451 h 400050"/>
                <a:gd name="connsiteX214" fmla="*/ 9227 w 399510"/>
                <a:gd name="connsiteY214" fmla="*/ 180023 h 400050"/>
                <a:gd name="connsiteX215" fmla="*/ 9227 w 399510"/>
                <a:gd name="connsiteY215" fmla="*/ 181642 h 400050"/>
                <a:gd name="connsiteX216" fmla="*/ 12746 w 399510"/>
                <a:gd name="connsiteY216" fmla="*/ 157829 h 400050"/>
                <a:gd name="connsiteX217" fmla="*/ 14649 w 399510"/>
                <a:gd name="connsiteY217" fmla="*/ 150209 h 400050"/>
                <a:gd name="connsiteX218" fmla="*/ 38905 w 399510"/>
                <a:gd name="connsiteY218" fmla="*/ 154686 h 400050"/>
                <a:gd name="connsiteX219" fmla="*/ 42805 w 399510"/>
                <a:gd name="connsiteY219" fmla="*/ 142875 h 400050"/>
                <a:gd name="connsiteX220" fmla="*/ 43756 w 399510"/>
                <a:gd name="connsiteY220" fmla="*/ 141732 h 400050"/>
                <a:gd name="connsiteX221" fmla="*/ 38905 w 399510"/>
                <a:gd name="connsiteY221" fmla="*/ 156305 h 400050"/>
                <a:gd name="connsiteX222" fmla="*/ 14649 w 399510"/>
                <a:gd name="connsiteY222" fmla="*/ 151829 h 400050"/>
                <a:gd name="connsiteX223" fmla="*/ 13507 w 399510"/>
                <a:gd name="connsiteY223" fmla="*/ 156401 h 400050"/>
                <a:gd name="connsiteX224" fmla="*/ 12746 w 399510"/>
                <a:gd name="connsiteY224" fmla="*/ 157829 h 400050"/>
                <a:gd name="connsiteX225" fmla="*/ 20451 w 399510"/>
                <a:gd name="connsiteY225" fmla="*/ 132302 h 400050"/>
                <a:gd name="connsiteX226" fmla="*/ 23305 w 399510"/>
                <a:gd name="connsiteY226" fmla="*/ 124968 h 400050"/>
                <a:gd name="connsiteX227" fmla="*/ 46800 w 399510"/>
                <a:gd name="connsiteY227" fmla="*/ 132779 h 400050"/>
                <a:gd name="connsiteX228" fmla="*/ 51175 w 399510"/>
                <a:gd name="connsiteY228" fmla="*/ 123254 h 400050"/>
                <a:gd name="connsiteX229" fmla="*/ 52412 w 399510"/>
                <a:gd name="connsiteY229" fmla="*/ 122587 h 400050"/>
                <a:gd name="connsiteX230" fmla="*/ 46800 w 399510"/>
                <a:gd name="connsiteY230" fmla="*/ 134207 h 400050"/>
                <a:gd name="connsiteX231" fmla="*/ 23305 w 399510"/>
                <a:gd name="connsiteY231" fmla="*/ 126397 h 400050"/>
                <a:gd name="connsiteX232" fmla="*/ 21497 w 399510"/>
                <a:gd name="connsiteY232" fmla="*/ 130874 h 400050"/>
                <a:gd name="connsiteX233" fmla="*/ 20451 w 399510"/>
                <a:gd name="connsiteY233" fmla="*/ 132017 h 400050"/>
                <a:gd name="connsiteX234" fmla="*/ 29963 w 399510"/>
                <a:gd name="connsiteY234" fmla="*/ 110299 h 400050"/>
                <a:gd name="connsiteX235" fmla="*/ 33768 w 399510"/>
                <a:gd name="connsiteY235" fmla="*/ 103442 h 400050"/>
                <a:gd name="connsiteX236" fmla="*/ 56122 w 399510"/>
                <a:gd name="connsiteY236" fmla="*/ 114110 h 400050"/>
                <a:gd name="connsiteX237" fmla="*/ 62875 w 399510"/>
                <a:gd name="connsiteY237" fmla="*/ 103632 h 400050"/>
                <a:gd name="connsiteX238" fmla="*/ 64302 w 399510"/>
                <a:gd name="connsiteY238" fmla="*/ 103632 h 400050"/>
                <a:gd name="connsiteX239" fmla="*/ 56122 w 399510"/>
                <a:gd name="connsiteY239" fmla="*/ 116110 h 400050"/>
                <a:gd name="connsiteX240" fmla="*/ 33768 w 399510"/>
                <a:gd name="connsiteY240" fmla="*/ 105442 h 400050"/>
                <a:gd name="connsiteX241" fmla="*/ 31295 w 399510"/>
                <a:gd name="connsiteY241" fmla="*/ 109919 h 400050"/>
                <a:gd name="connsiteX242" fmla="*/ 29963 w 399510"/>
                <a:gd name="connsiteY242" fmla="*/ 110681 h 400050"/>
                <a:gd name="connsiteX243" fmla="*/ 44041 w 399510"/>
                <a:gd name="connsiteY243" fmla="*/ 87630 h 400050"/>
                <a:gd name="connsiteX244" fmla="*/ 48702 w 399510"/>
                <a:gd name="connsiteY244" fmla="*/ 81344 h 400050"/>
                <a:gd name="connsiteX245" fmla="*/ 69344 w 399510"/>
                <a:gd name="connsiteY245" fmla="*/ 94964 h 400050"/>
                <a:gd name="connsiteX246" fmla="*/ 75907 w 399510"/>
                <a:gd name="connsiteY246" fmla="*/ 87154 h 400050"/>
                <a:gd name="connsiteX247" fmla="*/ 77429 w 399510"/>
                <a:gd name="connsiteY247" fmla="*/ 87154 h 400050"/>
                <a:gd name="connsiteX248" fmla="*/ 69344 w 399510"/>
                <a:gd name="connsiteY248" fmla="*/ 96679 h 400050"/>
                <a:gd name="connsiteX249" fmla="*/ 48702 w 399510"/>
                <a:gd name="connsiteY249" fmla="*/ 83058 h 400050"/>
                <a:gd name="connsiteX250" fmla="*/ 45468 w 399510"/>
                <a:gd name="connsiteY250" fmla="*/ 87344 h 400050"/>
                <a:gd name="connsiteX251" fmla="*/ 44041 w 399510"/>
                <a:gd name="connsiteY251" fmla="*/ 87344 h 400050"/>
                <a:gd name="connsiteX252" fmla="*/ 59261 w 399510"/>
                <a:gd name="connsiteY252" fmla="*/ 68580 h 400050"/>
                <a:gd name="connsiteX253" fmla="*/ 64683 w 399510"/>
                <a:gd name="connsiteY253" fmla="*/ 62960 h 400050"/>
                <a:gd name="connsiteX254" fmla="*/ 83707 w 399510"/>
                <a:gd name="connsiteY254" fmla="*/ 78962 h 400050"/>
                <a:gd name="connsiteX255" fmla="*/ 93219 w 399510"/>
                <a:gd name="connsiteY255" fmla="*/ 70676 h 400050"/>
                <a:gd name="connsiteX256" fmla="*/ 94646 w 399510"/>
                <a:gd name="connsiteY256" fmla="*/ 70676 h 400050"/>
                <a:gd name="connsiteX257" fmla="*/ 83992 w 399510"/>
                <a:gd name="connsiteY257" fmla="*/ 80201 h 400050"/>
                <a:gd name="connsiteX258" fmla="*/ 64968 w 399510"/>
                <a:gd name="connsiteY258" fmla="*/ 64103 h 400050"/>
                <a:gd name="connsiteX259" fmla="*/ 61068 w 399510"/>
                <a:gd name="connsiteY259" fmla="*/ 68104 h 400050"/>
                <a:gd name="connsiteX260" fmla="*/ 78285 w 399510"/>
                <a:gd name="connsiteY260" fmla="*/ 50292 h 400050"/>
                <a:gd name="connsiteX261" fmla="*/ 79807 w 399510"/>
                <a:gd name="connsiteY261" fmla="*/ 50292 h 400050"/>
                <a:gd name="connsiteX262" fmla="*/ 84468 w 399510"/>
                <a:gd name="connsiteY262" fmla="*/ 46577 h 400050"/>
                <a:gd name="connsiteX263" fmla="*/ 100924 w 399510"/>
                <a:gd name="connsiteY263" fmla="*/ 65627 h 400050"/>
                <a:gd name="connsiteX264" fmla="*/ 110436 w 399510"/>
                <a:gd name="connsiteY264" fmla="*/ 58960 h 400050"/>
                <a:gd name="connsiteX265" fmla="*/ 109104 w 399510"/>
                <a:gd name="connsiteY265" fmla="*/ 58198 h 400050"/>
                <a:gd name="connsiteX266" fmla="*/ 100734 w 399510"/>
                <a:gd name="connsiteY266" fmla="*/ 64008 h 400050"/>
                <a:gd name="connsiteX267" fmla="*/ 84943 w 399510"/>
                <a:gd name="connsiteY267" fmla="*/ 46196 h 400050"/>
                <a:gd name="connsiteX268" fmla="*/ 78761 w 399510"/>
                <a:gd name="connsiteY268" fmla="*/ 51054 h 400050"/>
                <a:gd name="connsiteX269" fmla="*/ 98356 w 399510"/>
                <a:gd name="connsiteY269" fmla="*/ 36671 h 400050"/>
                <a:gd name="connsiteX270" fmla="*/ 105014 w 399510"/>
                <a:gd name="connsiteY270" fmla="*/ 32671 h 400050"/>
                <a:gd name="connsiteX271" fmla="*/ 119092 w 399510"/>
                <a:gd name="connsiteY271" fmla="*/ 53054 h 400050"/>
                <a:gd name="connsiteX272" fmla="*/ 130126 w 399510"/>
                <a:gd name="connsiteY272" fmla="*/ 47435 h 400050"/>
                <a:gd name="connsiteX273" fmla="*/ 131173 w 399510"/>
                <a:gd name="connsiteY273" fmla="*/ 48578 h 400050"/>
                <a:gd name="connsiteX274" fmla="*/ 119092 w 399510"/>
                <a:gd name="connsiteY274" fmla="*/ 54674 h 400050"/>
                <a:gd name="connsiteX275" fmla="*/ 105014 w 399510"/>
                <a:gd name="connsiteY275" fmla="*/ 34290 h 400050"/>
                <a:gd name="connsiteX276" fmla="*/ 99687 w 399510"/>
                <a:gd name="connsiteY276" fmla="*/ 37529 h 400050"/>
                <a:gd name="connsiteX277" fmla="*/ 98356 w 399510"/>
                <a:gd name="connsiteY277" fmla="*/ 36671 h 400050"/>
                <a:gd name="connsiteX278" fmla="*/ 121755 w 399510"/>
                <a:gd name="connsiteY278" fmla="*/ 24098 h 400050"/>
                <a:gd name="connsiteX279" fmla="*/ 122707 w 399510"/>
                <a:gd name="connsiteY279" fmla="*/ 25241 h 400050"/>
                <a:gd name="connsiteX280" fmla="*/ 128985 w 399510"/>
                <a:gd name="connsiteY280" fmla="*/ 22574 h 400050"/>
                <a:gd name="connsiteX281" fmla="*/ 140114 w 399510"/>
                <a:gd name="connsiteY281" fmla="*/ 44768 h 400050"/>
                <a:gd name="connsiteX282" fmla="*/ 150387 w 399510"/>
                <a:gd name="connsiteY282" fmla="*/ 41148 h 400050"/>
                <a:gd name="connsiteX283" fmla="*/ 149721 w 399510"/>
                <a:gd name="connsiteY283" fmla="*/ 39719 h 400050"/>
                <a:gd name="connsiteX284" fmla="*/ 140209 w 399510"/>
                <a:gd name="connsiteY284" fmla="*/ 43148 h 400050"/>
                <a:gd name="connsiteX285" fmla="*/ 129080 w 399510"/>
                <a:gd name="connsiteY285" fmla="*/ 20955 h 400050"/>
                <a:gd name="connsiteX286" fmla="*/ 121851 w 399510"/>
                <a:gd name="connsiteY286" fmla="*/ 24098 h 400050"/>
                <a:gd name="connsiteX287" fmla="*/ 144299 w 399510"/>
                <a:gd name="connsiteY287" fmla="*/ 15526 h 400050"/>
                <a:gd name="connsiteX288" fmla="*/ 151814 w 399510"/>
                <a:gd name="connsiteY288" fmla="*/ 13335 h 400050"/>
                <a:gd name="connsiteX289" fmla="*/ 160089 w 399510"/>
                <a:gd name="connsiteY289" fmla="*/ 36671 h 400050"/>
                <a:gd name="connsiteX290" fmla="*/ 172075 w 399510"/>
                <a:gd name="connsiteY290" fmla="*/ 34100 h 400050"/>
                <a:gd name="connsiteX291" fmla="*/ 172075 w 399510"/>
                <a:gd name="connsiteY291" fmla="*/ 35719 h 400050"/>
                <a:gd name="connsiteX292" fmla="*/ 159899 w 399510"/>
                <a:gd name="connsiteY292" fmla="*/ 38386 h 400050"/>
                <a:gd name="connsiteX293" fmla="*/ 152099 w 399510"/>
                <a:gd name="connsiteY293" fmla="*/ 14859 h 400050"/>
                <a:gd name="connsiteX294" fmla="*/ 145250 w 399510"/>
                <a:gd name="connsiteY294" fmla="*/ 16859 h 400050"/>
                <a:gd name="connsiteX295" fmla="*/ 144585 w 399510"/>
                <a:gd name="connsiteY295" fmla="*/ 15431 h 400050"/>
                <a:gd name="connsiteX296" fmla="*/ 170363 w 399510"/>
                <a:gd name="connsiteY296" fmla="*/ 11049 h 400050"/>
                <a:gd name="connsiteX297" fmla="*/ 177972 w 399510"/>
                <a:gd name="connsiteY297" fmla="*/ 9906 h 400050"/>
                <a:gd name="connsiteX298" fmla="*/ 182919 w 399510"/>
                <a:gd name="connsiteY298" fmla="*/ 34195 h 400050"/>
                <a:gd name="connsiteX299" fmla="*/ 193097 w 399510"/>
                <a:gd name="connsiteY299" fmla="*/ 33338 h 400050"/>
                <a:gd name="connsiteX300" fmla="*/ 194143 w 399510"/>
                <a:gd name="connsiteY300" fmla="*/ 8573 h 400050"/>
                <a:gd name="connsiteX301" fmla="*/ 201943 w 399510"/>
                <a:gd name="connsiteY301" fmla="*/ 8573 h 400050"/>
                <a:gd name="connsiteX302" fmla="*/ 203940 w 399510"/>
                <a:gd name="connsiteY302" fmla="*/ 33242 h 400050"/>
                <a:gd name="connsiteX303" fmla="*/ 216306 w 399510"/>
                <a:gd name="connsiteY303" fmla="*/ 33814 h 400050"/>
                <a:gd name="connsiteX304" fmla="*/ 220777 w 399510"/>
                <a:gd name="connsiteY304" fmla="*/ 9525 h 400050"/>
                <a:gd name="connsiteX305" fmla="*/ 228387 w 399510"/>
                <a:gd name="connsiteY305" fmla="*/ 10478 h 400050"/>
                <a:gd name="connsiteX306" fmla="*/ 228387 w 399510"/>
                <a:gd name="connsiteY306" fmla="*/ 8763 h 400050"/>
                <a:gd name="connsiteX307" fmla="*/ 220777 w 399510"/>
                <a:gd name="connsiteY307" fmla="*/ 8096 h 400050"/>
                <a:gd name="connsiteX308" fmla="*/ 216306 w 399510"/>
                <a:gd name="connsiteY308" fmla="*/ 32385 h 400050"/>
                <a:gd name="connsiteX309" fmla="*/ 203940 w 399510"/>
                <a:gd name="connsiteY309" fmla="*/ 31813 h 400050"/>
                <a:gd name="connsiteX310" fmla="*/ 201943 w 399510"/>
                <a:gd name="connsiteY310" fmla="*/ 7144 h 400050"/>
                <a:gd name="connsiteX311" fmla="*/ 194143 w 399510"/>
                <a:gd name="connsiteY311" fmla="*/ 7144 h 400050"/>
                <a:gd name="connsiteX312" fmla="*/ 193097 w 399510"/>
                <a:gd name="connsiteY312" fmla="*/ 31909 h 400050"/>
                <a:gd name="connsiteX313" fmla="*/ 182919 w 399510"/>
                <a:gd name="connsiteY313" fmla="*/ 32766 h 400050"/>
                <a:gd name="connsiteX314" fmla="*/ 177972 w 399510"/>
                <a:gd name="connsiteY314" fmla="*/ 8096 h 400050"/>
                <a:gd name="connsiteX315" fmla="*/ 170172 w 399510"/>
                <a:gd name="connsiteY315" fmla="*/ 9239 h 400050"/>
                <a:gd name="connsiteX316" fmla="*/ 170172 w 399510"/>
                <a:gd name="connsiteY316" fmla="*/ 10859 h 400050"/>
                <a:gd name="connsiteX317" fmla="*/ 227435 w 399510"/>
                <a:gd name="connsiteY317" fmla="*/ 33433 h 400050"/>
                <a:gd name="connsiteX318" fmla="*/ 227435 w 399510"/>
                <a:gd name="connsiteY318" fmla="*/ 35052 h 400050"/>
                <a:gd name="connsiteX319" fmla="*/ 237518 w 399510"/>
                <a:gd name="connsiteY319" fmla="*/ 36957 h 400050"/>
                <a:gd name="connsiteX320" fmla="*/ 244938 w 399510"/>
                <a:gd name="connsiteY320" fmla="*/ 13240 h 400050"/>
                <a:gd name="connsiteX321" fmla="*/ 251882 w 399510"/>
                <a:gd name="connsiteY321" fmla="*/ 15050 h 400050"/>
                <a:gd name="connsiteX322" fmla="*/ 252452 w 399510"/>
                <a:gd name="connsiteY322" fmla="*/ 13526 h 400050"/>
                <a:gd name="connsiteX323" fmla="*/ 244938 w 399510"/>
                <a:gd name="connsiteY323" fmla="*/ 11620 h 400050"/>
                <a:gd name="connsiteX324" fmla="*/ 237518 w 399510"/>
                <a:gd name="connsiteY324" fmla="*/ 35243 h 400050"/>
                <a:gd name="connsiteX325" fmla="*/ 227530 w 399510"/>
                <a:gd name="connsiteY325" fmla="*/ 33433 h 400050"/>
                <a:gd name="connsiteX326" fmla="*/ 232477 w 399510"/>
                <a:gd name="connsiteY326" fmla="*/ 201740 h 400050"/>
                <a:gd name="connsiteX327" fmla="*/ 200189 w 399510"/>
                <a:gd name="connsiteY327" fmla="*/ 230654 h 400050"/>
                <a:gd name="connsiteX328" fmla="*/ 171314 w 399510"/>
                <a:gd name="connsiteY328" fmla="*/ 201740 h 400050"/>
                <a:gd name="connsiteX329" fmla="*/ 171314 w 399510"/>
                <a:gd name="connsiteY329" fmla="*/ 202502 h 400050"/>
                <a:gd name="connsiteX330" fmla="*/ 200189 w 399510"/>
                <a:gd name="connsiteY330" fmla="*/ 234833 h 400050"/>
                <a:gd name="connsiteX331" fmla="*/ 232477 w 399510"/>
                <a:gd name="connsiteY331" fmla="*/ 205919 h 400050"/>
                <a:gd name="connsiteX332" fmla="*/ 232477 w 399510"/>
                <a:gd name="connsiteY332" fmla="*/ 202502 h 400050"/>
                <a:gd name="connsiteX333" fmla="*/ 232477 w 399510"/>
                <a:gd name="connsiteY333" fmla="*/ 201740 h 400050"/>
                <a:gd name="connsiteX334" fmla="*/ 222965 w 399510"/>
                <a:gd name="connsiteY334" fmla="*/ 147638 h 400050"/>
                <a:gd name="connsiteX335" fmla="*/ 245889 w 399510"/>
                <a:gd name="connsiteY335" fmla="*/ 164402 h 400050"/>
                <a:gd name="connsiteX336" fmla="*/ 311047 w 399510"/>
                <a:gd name="connsiteY336" fmla="*/ 136493 h 400050"/>
                <a:gd name="connsiteX337" fmla="*/ 312474 w 399510"/>
                <a:gd name="connsiteY337" fmla="*/ 137541 h 400050"/>
                <a:gd name="connsiteX338" fmla="*/ 245889 w 399510"/>
                <a:gd name="connsiteY338" fmla="*/ 166116 h 400050"/>
                <a:gd name="connsiteX339" fmla="*/ 194809 w 399510"/>
                <a:gd name="connsiteY339" fmla="*/ 145637 h 400050"/>
                <a:gd name="connsiteX340" fmla="*/ 165701 w 399510"/>
                <a:gd name="connsiteY340" fmla="*/ 77534 h 400050"/>
                <a:gd name="connsiteX341" fmla="*/ 166938 w 399510"/>
                <a:gd name="connsiteY341" fmla="*/ 78772 h 400050"/>
                <a:gd name="connsiteX342" fmla="*/ 194809 w 399510"/>
                <a:gd name="connsiteY342" fmla="*/ 144018 h 400050"/>
                <a:gd name="connsiteX343" fmla="*/ 223345 w 399510"/>
                <a:gd name="connsiteY343" fmla="*/ 147733 h 400050"/>
                <a:gd name="connsiteX344" fmla="*/ 259016 w 399510"/>
                <a:gd name="connsiteY344" fmla="*/ 201644 h 400050"/>
                <a:gd name="connsiteX345" fmla="*/ 258160 w 399510"/>
                <a:gd name="connsiteY345" fmla="*/ 192119 h 400050"/>
                <a:gd name="connsiteX346" fmla="*/ 258160 w 399510"/>
                <a:gd name="connsiteY346" fmla="*/ 193643 h 400050"/>
                <a:gd name="connsiteX347" fmla="*/ 258160 w 399510"/>
                <a:gd name="connsiteY347" fmla="*/ 201263 h 400050"/>
                <a:gd name="connsiteX348" fmla="*/ 237709 w 399510"/>
                <a:gd name="connsiteY348" fmla="*/ 245078 h 400050"/>
                <a:gd name="connsiteX349" fmla="*/ 266245 w 399510"/>
                <a:gd name="connsiteY349" fmla="*/ 310229 h 400050"/>
                <a:gd name="connsiteX350" fmla="*/ 328835 w 399510"/>
                <a:gd name="connsiteY350" fmla="*/ 201740 h 400050"/>
                <a:gd name="connsiteX351" fmla="*/ 266245 w 399510"/>
                <a:gd name="connsiteY351" fmla="*/ 311944 h 400050"/>
                <a:gd name="connsiteX352" fmla="*/ 237709 w 399510"/>
                <a:gd name="connsiteY352" fmla="*/ 244221 h 400050"/>
                <a:gd name="connsiteX353" fmla="*/ 238755 w 399510"/>
                <a:gd name="connsiteY353" fmla="*/ 245078 h 400050"/>
                <a:gd name="connsiteX354" fmla="*/ 92743 w 399510"/>
                <a:gd name="connsiteY354" fmla="*/ 266414 h 400050"/>
                <a:gd name="connsiteX355" fmla="*/ 91982 w 399510"/>
                <a:gd name="connsiteY355" fmla="*/ 265081 h 400050"/>
                <a:gd name="connsiteX356" fmla="*/ 90556 w 399510"/>
                <a:gd name="connsiteY356" fmla="*/ 264033 h 400050"/>
                <a:gd name="connsiteX357" fmla="*/ 91982 w 399510"/>
                <a:gd name="connsiteY357" fmla="*/ 266795 h 400050"/>
                <a:gd name="connsiteX358" fmla="*/ 236091 w 399510"/>
                <a:gd name="connsiteY358" fmla="*/ 324517 h 400050"/>
                <a:gd name="connsiteX359" fmla="*/ 237328 w 399510"/>
                <a:gd name="connsiteY359" fmla="*/ 324517 h 400050"/>
                <a:gd name="connsiteX360" fmla="*/ 235996 w 399510"/>
                <a:gd name="connsiteY360" fmla="*/ 323183 h 400050"/>
                <a:gd name="connsiteX361" fmla="*/ 235426 w 399510"/>
                <a:gd name="connsiteY361" fmla="*/ 323183 h 400050"/>
                <a:gd name="connsiteX362" fmla="*/ 92743 w 399510"/>
                <a:gd name="connsiteY362" fmla="*/ 266510 h 400050"/>
                <a:gd name="connsiteX363" fmla="*/ 144014 w 399510"/>
                <a:gd name="connsiteY363" fmla="*/ 201359 h 400050"/>
                <a:gd name="connsiteX364" fmla="*/ 148199 w 399510"/>
                <a:gd name="connsiteY364" fmla="*/ 181070 h 400050"/>
                <a:gd name="connsiteX365" fmla="*/ 164941 w 399510"/>
                <a:gd name="connsiteY365" fmla="*/ 158115 h 400050"/>
                <a:gd name="connsiteX366" fmla="*/ 165987 w 399510"/>
                <a:gd name="connsiteY366" fmla="*/ 157258 h 400050"/>
                <a:gd name="connsiteX367" fmla="*/ 164941 w 399510"/>
                <a:gd name="connsiteY367" fmla="*/ 156496 h 400050"/>
                <a:gd name="connsiteX368" fmla="*/ 164370 w 399510"/>
                <a:gd name="connsiteY368" fmla="*/ 156496 h 400050"/>
                <a:gd name="connsiteX369" fmla="*/ 144014 w 399510"/>
                <a:gd name="connsiteY369" fmla="*/ 200978 h 400050"/>
                <a:gd name="connsiteX370" fmla="*/ 74480 w 399510"/>
                <a:gd name="connsiteY370" fmla="*/ 201359 h 400050"/>
                <a:gd name="connsiteX371" fmla="*/ 79331 w 399510"/>
                <a:gd name="connsiteY371" fmla="*/ 235172 h 400050"/>
                <a:gd name="connsiteX372" fmla="*/ 144775 w 399510"/>
                <a:gd name="connsiteY372" fmla="*/ 208121 h 400050"/>
                <a:gd name="connsiteX373" fmla="*/ 144775 w 399510"/>
                <a:gd name="connsiteY373" fmla="*/ 209645 h 400050"/>
                <a:gd name="connsiteX374" fmla="*/ 79331 w 399510"/>
                <a:gd name="connsiteY374" fmla="*/ 237649 h 400050"/>
                <a:gd name="connsiteX375" fmla="*/ 74765 w 399510"/>
                <a:gd name="connsiteY375" fmla="*/ 20174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Lst>
              <a:rect l="l" t="t" r="r" b="b"/>
              <a:pathLst>
                <a:path w="399510" h="400050">
                  <a:moveTo>
                    <a:pt x="269955" y="19241"/>
                  </a:moveTo>
                  <a:lnTo>
                    <a:pt x="277279" y="22193"/>
                  </a:lnTo>
                  <a:lnTo>
                    <a:pt x="276328" y="23432"/>
                  </a:lnTo>
                  <a:lnTo>
                    <a:pt x="269955" y="20860"/>
                  </a:lnTo>
                  <a:lnTo>
                    <a:pt x="259396" y="43244"/>
                  </a:lnTo>
                  <a:cubicBezTo>
                    <a:pt x="255496" y="41815"/>
                    <a:pt x="251025" y="40386"/>
                    <a:pt x="247030" y="39243"/>
                  </a:cubicBezTo>
                  <a:lnTo>
                    <a:pt x="247601" y="37814"/>
                  </a:lnTo>
                  <a:cubicBezTo>
                    <a:pt x="251406" y="38862"/>
                    <a:pt x="255686" y="40291"/>
                    <a:pt x="259396" y="41624"/>
                  </a:cubicBezTo>
                  <a:lnTo>
                    <a:pt x="269955" y="19241"/>
                  </a:lnTo>
                  <a:close/>
                  <a:moveTo>
                    <a:pt x="269955" y="45720"/>
                  </a:moveTo>
                  <a:lnTo>
                    <a:pt x="269003" y="46863"/>
                  </a:lnTo>
                  <a:cubicBezTo>
                    <a:pt x="272142" y="48292"/>
                    <a:pt x="276138" y="50102"/>
                    <a:pt x="279181" y="51721"/>
                  </a:cubicBezTo>
                  <a:lnTo>
                    <a:pt x="292403" y="30766"/>
                  </a:lnTo>
                  <a:lnTo>
                    <a:pt x="298015" y="33909"/>
                  </a:lnTo>
                  <a:lnTo>
                    <a:pt x="299252" y="32957"/>
                  </a:lnTo>
                  <a:lnTo>
                    <a:pt x="292403" y="29147"/>
                  </a:lnTo>
                  <a:lnTo>
                    <a:pt x="278706" y="50006"/>
                  </a:lnTo>
                  <a:cubicBezTo>
                    <a:pt x="276138" y="48673"/>
                    <a:pt x="272428" y="46958"/>
                    <a:pt x="269194" y="45720"/>
                  </a:cubicBezTo>
                  <a:close/>
                  <a:moveTo>
                    <a:pt x="288979" y="55245"/>
                  </a:moveTo>
                  <a:cubicBezTo>
                    <a:pt x="292308" y="57245"/>
                    <a:pt x="296494" y="60008"/>
                    <a:pt x="299347" y="62008"/>
                  </a:cubicBezTo>
                  <a:lnTo>
                    <a:pt x="315328" y="42958"/>
                  </a:lnTo>
                  <a:lnTo>
                    <a:pt x="321606" y="47625"/>
                  </a:lnTo>
                  <a:lnTo>
                    <a:pt x="320179" y="48197"/>
                  </a:lnTo>
                  <a:lnTo>
                    <a:pt x="315328" y="44577"/>
                  </a:lnTo>
                  <a:lnTo>
                    <a:pt x="299347" y="63627"/>
                  </a:lnTo>
                  <a:cubicBezTo>
                    <a:pt x="296113" y="61341"/>
                    <a:pt x="291262" y="58293"/>
                    <a:pt x="287742" y="56198"/>
                  </a:cubicBezTo>
                  <a:lnTo>
                    <a:pt x="288979" y="55245"/>
                  </a:lnTo>
                  <a:close/>
                  <a:moveTo>
                    <a:pt x="308003" y="68485"/>
                  </a:moveTo>
                  <a:lnTo>
                    <a:pt x="306672" y="68961"/>
                  </a:lnTo>
                  <a:cubicBezTo>
                    <a:pt x="309335" y="71152"/>
                    <a:pt x="313425" y="74581"/>
                    <a:pt x="316184" y="76772"/>
                  </a:cubicBezTo>
                  <a:lnTo>
                    <a:pt x="332830" y="60008"/>
                  </a:lnTo>
                  <a:lnTo>
                    <a:pt x="336920" y="64008"/>
                  </a:lnTo>
                  <a:lnTo>
                    <a:pt x="338537" y="64008"/>
                  </a:lnTo>
                  <a:lnTo>
                    <a:pt x="332830" y="58579"/>
                  </a:lnTo>
                  <a:lnTo>
                    <a:pt x="315042" y="74771"/>
                  </a:lnTo>
                  <a:cubicBezTo>
                    <a:pt x="313045" y="72962"/>
                    <a:pt x="309811" y="70104"/>
                    <a:pt x="307242" y="68104"/>
                  </a:cubicBezTo>
                  <a:close/>
                  <a:moveTo>
                    <a:pt x="323318" y="82677"/>
                  </a:moveTo>
                  <a:cubicBezTo>
                    <a:pt x="325981" y="85344"/>
                    <a:pt x="329406" y="89249"/>
                    <a:pt x="331689" y="92202"/>
                  </a:cubicBezTo>
                  <a:lnTo>
                    <a:pt x="351854" y="77819"/>
                  </a:lnTo>
                  <a:lnTo>
                    <a:pt x="356705" y="84011"/>
                  </a:lnTo>
                  <a:lnTo>
                    <a:pt x="355184" y="84011"/>
                  </a:lnTo>
                  <a:lnTo>
                    <a:pt x="351854" y="79439"/>
                  </a:lnTo>
                  <a:lnTo>
                    <a:pt x="331213" y="93821"/>
                  </a:lnTo>
                  <a:cubicBezTo>
                    <a:pt x="328550" y="90678"/>
                    <a:pt x="324269" y="86011"/>
                    <a:pt x="321701" y="83058"/>
                  </a:cubicBezTo>
                  <a:close/>
                  <a:moveTo>
                    <a:pt x="338347" y="100394"/>
                  </a:moveTo>
                  <a:cubicBezTo>
                    <a:pt x="340154" y="102870"/>
                    <a:pt x="342627" y="106585"/>
                    <a:pt x="344149" y="108871"/>
                  </a:cubicBezTo>
                  <a:lnTo>
                    <a:pt x="366027" y="97346"/>
                  </a:lnTo>
                  <a:lnTo>
                    <a:pt x="370118" y="104108"/>
                  </a:lnTo>
                  <a:lnTo>
                    <a:pt x="368691" y="103442"/>
                  </a:lnTo>
                  <a:lnTo>
                    <a:pt x="366027" y="98965"/>
                  </a:lnTo>
                  <a:lnTo>
                    <a:pt x="344149" y="110490"/>
                  </a:lnTo>
                  <a:cubicBezTo>
                    <a:pt x="342247" y="107633"/>
                    <a:pt x="338918" y="102775"/>
                    <a:pt x="336825" y="100013"/>
                  </a:cubicBezTo>
                  <a:lnTo>
                    <a:pt x="338347" y="100013"/>
                  </a:lnTo>
                  <a:close/>
                  <a:moveTo>
                    <a:pt x="355374" y="128969"/>
                  </a:moveTo>
                  <a:lnTo>
                    <a:pt x="378679" y="120682"/>
                  </a:lnTo>
                  <a:lnTo>
                    <a:pt x="381722" y="127826"/>
                  </a:lnTo>
                  <a:lnTo>
                    <a:pt x="380581" y="126778"/>
                  </a:lnTo>
                  <a:lnTo>
                    <a:pt x="378679" y="122301"/>
                  </a:lnTo>
                  <a:lnTo>
                    <a:pt x="355374" y="130683"/>
                  </a:lnTo>
                  <a:cubicBezTo>
                    <a:pt x="353186" y="126016"/>
                    <a:pt x="350618" y="121158"/>
                    <a:pt x="348335" y="117062"/>
                  </a:cubicBezTo>
                  <a:lnTo>
                    <a:pt x="349667" y="117920"/>
                  </a:lnTo>
                  <a:cubicBezTo>
                    <a:pt x="351664" y="121539"/>
                    <a:pt x="353566" y="125254"/>
                    <a:pt x="355374" y="128969"/>
                  </a:cubicBezTo>
                  <a:close/>
                  <a:moveTo>
                    <a:pt x="360130" y="140303"/>
                  </a:moveTo>
                  <a:cubicBezTo>
                    <a:pt x="361208" y="143097"/>
                    <a:pt x="362159" y="145860"/>
                    <a:pt x="362983" y="148590"/>
                  </a:cubicBezTo>
                  <a:lnTo>
                    <a:pt x="387144" y="143161"/>
                  </a:lnTo>
                  <a:lnTo>
                    <a:pt x="389332" y="150686"/>
                  </a:lnTo>
                  <a:lnTo>
                    <a:pt x="388476" y="149352"/>
                  </a:lnTo>
                  <a:lnTo>
                    <a:pt x="387144" y="144780"/>
                  </a:lnTo>
                  <a:lnTo>
                    <a:pt x="362983" y="150209"/>
                  </a:lnTo>
                  <a:cubicBezTo>
                    <a:pt x="361937" y="146971"/>
                    <a:pt x="360796" y="143732"/>
                    <a:pt x="359559" y="140684"/>
                  </a:cubicBezTo>
                  <a:lnTo>
                    <a:pt x="358608" y="137827"/>
                  </a:lnTo>
                  <a:lnTo>
                    <a:pt x="359559" y="139065"/>
                  </a:lnTo>
                  <a:lnTo>
                    <a:pt x="360130" y="140399"/>
                  </a:lnTo>
                  <a:close/>
                  <a:moveTo>
                    <a:pt x="366408" y="160496"/>
                  </a:moveTo>
                  <a:cubicBezTo>
                    <a:pt x="367264" y="164021"/>
                    <a:pt x="368025" y="167545"/>
                    <a:pt x="368596" y="171164"/>
                  </a:cubicBezTo>
                  <a:lnTo>
                    <a:pt x="393327" y="169164"/>
                  </a:lnTo>
                  <a:lnTo>
                    <a:pt x="394374" y="176879"/>
                  </a:lnTo>
                  <a:lnTo>
                    <a:pt x="394374" y="175355"/>
                  </a:lnTo>
                  <a:lnTo>
                    <a:pt x="393708" y="170783"/>
                  </a:lnTo>
                  <a:lnTo>
                    <a:pt x="368976" y="172784"/>
                  </a:lnTo>
                  <a:cubicBezTo>
                    <a:pt x="368310" y="168688"/>
                    <a:pt x="367454" y="164687"/>
                    <a:pt x="366408" y="160592"/>
                  </a:cubicBezTo>
                  <a:lnTo>
                    <a:pt x="365742" y="157544"/>
                  </a:lnTo>
                  <a:lnTo>
                    <a:pt x="366408" y="158972"/>
                  </a:lnTo>
                  <a:lnTo>
                    <a:pt x="366408" y="160496"/>
                  </a:lnTo>
                  <a:close/>
                  <a:moveTo>
                    <a:pt x="370308" y="183452"/>
                  </a:moveTo>
                  <a:cubicBezTo>
                    <a:pt x="370675" y="186328"/>
                    <a:pt x="370897" y="189221"/>
                    <a:pt x="370974" y="192119"/>
                  </a:cubicBezTo>
                  <a:lnTo>
                    <a:pt x="395705" y="193072"/>
                  </a:lnTo>
                  <a:lnTo>
                    <a:pt x="395705" y="200978"/>
                  </a:lnTo>
                  <a:lnTo>
                    <a:pt x="395705" y="200978"/>
                  </a:lnTo>
                  <a:lnTo>
                    <a:pt x="395705" y="194786"/>
                  </a:lnTo>
                  <a:lnTo>
                    <a:pt x="370974" y="193739"/>
                  </a:lnTo>
                  <a:cubicBezTo>
                    <a:pt x="370974" y="190310"/>
                    <a:pt x="370974" y="186881"/>
                    <a:pt x="370213" y="183547"/>
                  </a:cubicBezTo>
                  <a:lnTo>
                    <a:pt x="370213" y="180308"/>
                  </a:lnTo>
                  <a:lnTo>
                    <a:pt x="370213" y="181832"/>
                  </a:lnTo>
                  <a:lnTo>
                    <a:pt x="370213" y="183452"/>
                  </a:lnTo>
                  <a:close/>
                  <a:moveTo>
                    <a:pt x="370308" y="215360"/>
                  </a:moveTo>
                  <a:lnTo>
                    <a:pt x="394659" y="219742"/>
                  </a:lnTo>
                  <a:lnTo>
                    <a:pt x="394659" y="221266"/>
                  </a:lnTo>
                  <a:lnTo>
                    <a:pt x="369832" y="217646"/>
                  </a:lnTo>
                  <a:lnTo>
                    <a:pt x="369832" y="216027"/>
                  </a:lnTo>
                  <a:close/>
                  <a:moveTo>
                    <a:pt x="366979" y="236696"/>
                  </a:moveTo>
                  <a:lnTo>
                    <a:pt x="390569" y="244126"/>
                  </a:lnTo>
                  <a:lnTo>
                    <a:pt x="389808" y="245555"/>
                  </a:lnTo>
                  <a:lnTo>
                    <a:pt x="366408" y="238220"/>
                  </a:lnTo>
                  <a:lnTo>
                    <a:pt x="366979" y="236696"/>
                  </a:lnTo>
                  <a:close/>
                  <a:moveTo>
                    <a:pt x="360510" y="259080"/>
                  </a:moveTo>
                  <a:lnTo>
                    <a:pt x="382864" y="269653"/>
                  </a:lnTo>
                  <a:lnTo>
                    <a:pt x="381817" y="270796"/>
                  </a:lnTo>
                  <a:lnTo>
                    <a:pt x="359559" y="260223"/>
                  </a:lnTo>
                  <a:lnTo>
                    <a:pt x="360510" y="259080"/>
                  </a:lnTo>
                  <a:close/>
                  <a:moveTo>
                    <a:pt x="352140" y="278130"/>
                  </a:moveTo>
                  <a:lnTo>
                    <a:pt x="373066" y="291465"/>
                  </a:lnTo>
                  <a:lnTo>
                    <a:pt x="371640" y="292227"/>
                  </a:lnTo>
                  <a:lnTo>
                    <a:pt x="350998" y="279083"/>
                  </a:lnTo>
                  <a:lnTo>
                    <a:pt x="352140" y="278130"/>
                  </a:lnTo>
                  <a:close/>
                  <a:moveTo>
                    <a:pt x="340154" y="298133"/>
                  </a:moveTo>
                  <a:lnTo>
                    <a:pt x="359179" y="314135"/>
                  </a:lnTo>
                  <a:lnTo>
                    <a:pt x="357752" y="314135"/>
                  </a:lnTo>
                  <a:lnTo>
                    <a:pt x="338727" y="298323"/>
                  </a:lnTo>
                  <a:lnTo>
                    <a:pt x="340059" y="298323"/>
                  </a:lnTo>
                  <a:close/>
                  <a:moveTo>
                    <a:pt x="327028" y="314515"/>
                  </a:moveTo>
                  <a:lnTo>
                    <a:pt x="343769" y="332804"/>
                  </a:lnTo>
                  <a:lnTo>
                    <a:pt x="342342" y="332804"/>
                  </a:lnTo>
                  <a:lnTo>
                    <a:pt x="325696" y="314706"/>
                  </a:lnTo>
                  <a:close/>
                  <a:moveTo>
                    <a:pt x="310381" y="330708"/>
                  </a:moveTo>
                  <a:lnTo>
                    <a:pt x="324459" y="350996"/>
                  </a:lnTo>
                  <a:lnTo>
                    <a:pt x="322937" y="350425"/>
                  </a:lnTo>
                  <a:lnTo>
                    <a:pt x="308859" y="330137"/>
                  </a:lnTo>
                  <a:lnTo>
                    <a:pt x="310381" y="330613"/>
                  </a:lnTo>
                  <a:close/>
                  <a:moveTo>
                    <a:pt x="293450" y="343186"/>
                  </a:moveTo>
                  <a:lnTo>
                    <a:pt x="304864" y="365189"/>
                  </a:lnTo>
                  <a:lnTo>
                    <a:pt x="303628" y="364236"/>
                  </a:lnTo>
                  <a:lnTo>
                    <a:pt x="292118" y="342329"/>
                  </a:lnTo>
                  <a:lnTo>
                    <a:pt x="293450" y="343186"/>
                  </a:lnTo>
                  <a:close/>
                  <a:moveTo>
                    <a:pt x="273094" y="354425"/>
                  </a:moveTo>
                  <a:lnTo>
                    <a:pt x="281464" y="377762"/>
                  </a:lnTo>
                  <a:lnTo>
                    <a:pt x="280418" y="376523"/>
                  </a:lnTo>
                  <a:lnTo>
                    <a:pt x="272047" y="353187"/>
                  </a:lnTo>
                  <a:lnTo>
                    <a:pt x="273094" y="354425"/>
                  </a:lnTo>
                  <a:close/>
                  <a:moveTo>
                    <a:pt x="253499" y="362140"/>
                  </a:moveTo>
                  <a:lnTo>
                    <a:pt x="258921" y="386334"/>
                  </a:lnTo>
                  <a:lnTo>
                    <a:pt x="258255" y="384905"/>
                  </a:lnTo>
                  <a:lnTo>
                    <a:pt x="252833" y="360521"/>
                  </a:lnTo>
                  <a:lnTo>
                    <a:pt x="253499" y="361950"/>
                  </a:lnTo>
                  <a:close/>
                  <a:moveTo>
                    <a:pt x="174643" y="393097"/>
                  </a:moveTo>
                  <a:lnTo>
                    <a:pt x="176070" y="370046"/>
                  </a:lnTo>
                  <a:lnTo>
                    <a:pt x="176070" y="370046"/>
                  </a:lnTo>
                  <a:lnTo>
                    <a:pt x="174738" y="391478"/>
                  </a:lnTo>
                  <a:lnTo>
                    <a:pt x="174738" y="393097"/>
                  </a:lnTo>
                  <a:close/>
                  <a:moveTo>
                    <a:pt x="151053" y="388334"/>
                  </a:moveTo>
                  <a:lnTo>
                    <a:pt x="155619" y="363950"/>
                  </a:lnTo>
                  <a:lnTo>
                    <a:pt x="156189" y="362522"/>
                  </a:lnTo>
                  <a:lnTo>
                    <a:pt x="152099" y="386525"/>
                  </a:lnTo>
                  <a:lnTo>
                    <a:pt x="151433" y="388144"/>
                  </a:lnTo>
                  <a:close/>
                  <a:moveTo>
                    <a:pt x="125941" y="379571"/>
                  </a:moveTo>
                  <a:lnTo>
                    <a:pt x="133741" y="356045"/>
                  </a:lnTo>
                  <a:lnTo>
                    <a:pt x="134692" y="354806"/>
                  </a:lnTo>
                  <a:lnTo>
                    <a:pt x="126892" y="378238"/>
                  </a:lnTo>
                  <a:lnTo>
                    <a:pt x="125941" y="379571"/>
                  </a:lnTo>
                  <a:close/>
                  <a:moveTo>
                    <a:pt x="104538" y="368618"/>
                  </a:moveTo>
                  <a:lnTo>
                    <a:pt x="115097" y="346234"/>
                  </a:lnTo>
                  <a:lnTo>
                    <a:pt x="116334" y="345472"/>
                  </a:lnTo>
                  <a:lnTo>
                    <a:pt x="105680" y="367665"/>
                  </a:lnTo>
                  <a:lnTo>
                    <a:pt x="104538" y="368618"/>
                  </a:lnTo>
                  <a:close/>
                  <a:moveTo>
                    <a:pt x="82470" y="353663"/>
                  </a:moveTo>
                  <a:lnTo>
                    <a:pt x="96073" y="332994"/>
                  </a:lnTo>
                  <a:lnTo>
                    <a:pt x="97499" y="332423"/>
                  </a:lnTo>
                  <a:lnTo>
                    <a:pt x="83897" y="353187"/>
                  </a:lnTo>
                  <a:lnTo>
                    <a:pt x="82470" y="353663"/>
                  </a:lnTo>
                  <a:close/>
                  <a:moveTo>
                    <a:pt x="64397" y="337757"/>
                  </a:moveTo>
                  <a:lnTo>
                    <a:pt x="80473" y="318707"/>
                  </a:lnTo>
                  <a:lnTo>
                    <a:pt x="81900" y="318707"/>
                  </a:lnTo>
                  <a:lnTo>
                    <a:pt x="65919" y="337757"/>
                  </a:lnTo>
                  <a:lnTo>
                    <a:pt x="64397" y="337757"/>
                  </a:lnTo>
                  <a:close/>
                  <a:moveTo>
                    <a:pt x="46990" y="317564"/>
                  </a:moveTo>
                  <a:lnTo>
                    <a:pt x="65444" y="301085"/>
                  </a:lnTo>
                  <a:lnTo>
                    <a:pt x="66870" y="301562"/>
                  </a:lnTo>
                  <a:lnTo>
                    <a:pt x="48512" y="317849"/>
                  </a:lnTo>
                  <a:lnTo>
                    <a:pt x="46990" y="317849"/>
                  </a:lnTo>
                  <a:close/>
                  <a:moveTo>
                    <a:pt x="33673" y="297466"/>
                  </a:moveTo>
                  <a:lnTo>
                    <a:pt x="54124" y="283464"/>
                  </a:lnTo>
                  <a:lnTo>
                    <a:pt x="55456" y="284131"/>
                  </a:lnTo>
                  <a:lnTo>
                    <a:pt x="35100" y="298133"/>
                  </a:lnTo>
                  <a:lnTo>
                    <a:pt x="33673" y="297466"/>
                  </a:lnTo>
                  <a:close/>
                  <a:moveTo>
                    <a:pt x="22068" y="273463"/>
                  </a:moveTo>
                  <a:lnTo>
                    <a:pt x="44231" y="262414"/>
                  </a:lnTo>
                  <a:lnTo>
                    <a:pt x="45183" y="263557"/>
                  </a:lnTo>
                  <a:lnTo>
                    <a:pt x="23115" y="274796"/>
                  </a:lnTo>
                  <a:lnTo>
                    <a:pt x="21973" y="273749"/>
                  </a:lnTo>
                  <a:close/>
                  <a:moveTo>
                    <a:pt x="14458" y="250603"/>
                  </a:moveTo>
                  <a:lnTo>
                    <a:pt x="37953" y="242411"/>
                  </a:lnTo>
                  <a:lnTo>
                    <a:pt x="38619" y="243745"/>
                  </a:lnTo>
                  <a:lnTo>
                    <a:pt x="15505" y="251936"/>
                  </a:lnTo>
                  <a:lnTo>
                    <a:pt x="14649" y="250603"/>
                  </a:lnTo>
                  <a:close/>
                  <a:moveTo>
                    <a:pt x="9417" y="224504"/>
                  </a:moveTo>
                  <a:lnTo>
                    <a:pt x="33578" y="219456"/>
                  </a:lnTo>
                  <a:lnTo>
                    <a:pt x="33578" y="220980"/>
                  </a:lnTo>
                  <a:lnTo>
                    <a:pt x="9512" y="226028"/>
                  </a:lnTo>
                  <a:lnTo>
                    <a:pt x="9037" y="224504"/>
                  </a:lnTo>
                  <a:close/>
                  <a:moveTo>
                    <a:pt x="7990" y="202025"/>
                  </a:moveTo>
                  <a:lnTo>
                    <a:pt x="7990" y="200406"/>
                  </a:lnTo>
                  <a:lnTo>
                    <a:pt x="32627" y="198501"/>
                  </a:lnTo>
                  <a:cubicBezTo>
                    <a:pt x="32627" y="194882"/>
                    <a:pt x="32627" y="191262"/>
                    <a:pt x="32627" y="187643"/>
                  </a:cubicBezTo>
                  <a:lnTo>
                    <a:pt x="32627" y="186023"/>
                  </a:lnTo>
                  <a:lnTo>
                    <a:pt x="32627" y="184404"/>
                  </a:lnTo>
                  <a:cubicBezTo>
                    <a:pt x="32627" y="189643"/>
                    <a:pt x="31771" y="194786"/>
                    <a:pt x="31675" y="200120"/>
                  </a:cubicBezTo>
                  <a:lnTo>
                    <a:pt x="7134" y="202025"/>
                  </a:lnTo>
                  <a:close/>
                  <a:moveTo>
                    <a:pt x="8846" y="181642"/>
                  </a:moveTo>
                  <a:lnTo>
                    <a:pt x="9797" y="173831"/>
                  </a:lnTo>
                  <a:lnTo>
                    <a:pt x="34529" y="175260"/>
                  </a:lnTo>
                  <a:cubicBezTo>
                    <a:pt x="34529" y="172879"/>
                    <a:pt x="35671" y="168402"/>
                    <a:pt x="36336" y="165259"/>
                  </a:cubicBezTo>
                  <a:lnTo>
                    <a:pt x="37002" y="163735"/>
                  </a:lnTo>
                  <a:cubicBezTo>
                    <a:pt x="36241" y="167069"/>
                    <a:pt x="35005" y="173260"/>
                    <a:pt x="34529" y="176879"/>
                  </a:cubicBezTo>
                  <a:lnTo>
                    <a:pt x="9797" y="175451"/>
                  </a:lnTo>
                  <a:lnTo>
                    <a:pt x="9227" y="180023"/>
                  </a:lnTo>
                  <a:lnTo>
                    <a:pt x="9227" y="181642"/>
                  </a:lnTo>
                  <a:close/>
                  <a:moveTo>
                    <a:pt x="12746" y="157829"/>
                  </a:moveTo>
                  <a:lnTo>
                    <a:pt x="14649" y="150209"/>
                  </a:lnTo>
                  <a:lnTo>
                    <a:pt x="38905" y="154686"/>
                  </a:lnTo>
                  <a:cubicBezTo>
                    <a:pt x="39856" y="151638"/>
                    <a:pt x="41473" y="146399"/>
                    <a:pt x="42805" y="142875"/>
                  </a:cubicBezTo>
                  <a:lnTo>
                    <a:pt x="43756" y="141732"/>
                  </a:lnTo>
                  <a:cubicBezTo>
                    <a:pt x="42329" y="145637"/>
                    <a:pt x="40046" y="152400"/>
                    <a:pt x="38905" y="156305"/>
                  </a:cubicBezTo>
                  <a:lnTo>
                    <a:pt x="14649" y="151829"/>
                  </a:lnTo>
                  <a:lnTo>
                    <a:pt x="13507" y="156401"/>
                  </a:lnTo>
                  <a:lnTo>
                    <a:pt x="12746" y="157829"/>
                  </a:lnTo>
                  <a:close/>
                  <a:moveTo>
                    <a:pt x="20451" y="132302"/>
                  </a:moveTo>
                  <a:lnTo>
                    <a:pt x="23305" y="124968"/>
                  </a:lnTo>
                  <a:lnTo>
                    <a:pt x="46800" y="132779"/>
                  </a:lnTo>
                  <a:cubicBezTo>
                    <a:pt x="47846" y="130397"/>
                    <a:pt x="49748" y="126302"/>
                    <a:pt x="51175" y="123254"/>
                  </a:cubicBezTo>
                  <a:lnTo>
                    <a:pt x="52412" y="122587"/>
                  </a:lnTo>
                  <a:cubicBezTo>
                    <a:pt x="50313" y="126345"/>
                    <a:pt x="48439" y="130226"/>
                    <a:pt x="46800" y="134207"/>
                  </a:cubicBezTo>
                  <a:lnTo>
                    <a:pt x="23305" y="126397"/>
                  </a:lnTo>
                  <a:lnTo>
                    <a:pt x="21497" y="130874"/>
                  </a:lnTo>
                  <a:lnTo>
                    <a:pt x="20451" y="132017"/>
                  </a:lnTo>
                  <a:close/>
                  <a:moveTo>
                    <a:pt x="29963" y="110299"/>
                  </a:moveTo>
                  <a:lnTo>
                    <a:pt x="33768" y="103442"/>
                  </a:lnTo>
                  <a:lnTo>
                    <a:pt x="56122" y="114110"/>
                  </a:lnTo>
                  <a:cubicBezTo>
                    <a:pt x="57834" y="111157"/>
                    <a:pt x="60687" y="106680"/>
                    <a:pt x="62875" y="103632"/>
                  </a:cubicBezTo>
                  <a:lnTo>
                    <a:pt x="64302" y="103632"/>
                  </a:lnTo>
                  <a:cubicBezTo>
                    <a:pt x="61924" y="106966"/>
                    <a:pt x="58214" y="112490"/>
                    <a:pt x="56122" y="116110"/>
                  </a:cubicBezTo>
                  <a:lnTo>
                    <a:pt x="33768" y="105442"/>
                  </a:lnTo>
                  <a:lnTo>
                    <a:pt x="31295" y="109919"/>
                  </a:lnTo>
                  <a:lnTo>
                    <a:pt x="29963" y="110681"/>
                  </a:lnTo>
                  <a:close/>
                  <a:moveTo>
                    <a:pt x="44041" y="87630"/>
                  </a:moveTo>
                  <a:lnTo>
                    <a:pt x="48702" y="81344"/>
                  </a:lnTo>
                  <a:lnTo>
                    <a:pt x="69344" y="94964"/>
                  </a:lnTo>
                  <a:lnTo>
                    <a:pt x="75907" y="87154"/>
                  </a:lnTo>
                  <a:lnTo>
                    <a:pt x="77429" y="87154"/>
                  </a:lnTo>
                  <a:cubicBezTo>
                    <a:pt x="75146" y="89630"/>
                    <a:pt x="71436" y="93917"/>
                    <a:pt x="69344" y="96679"/>
                  </a:cubicBezTo>
                  <a:lnTo>
                    <a:pt x="48702" y="83058"/>
                  </a:lnTo>
                  <a:lnTo>
                    <a:pt x="45468" y="87344"/>
                  </a:lnTo>
                  <a:lnTo>
                    <a:pt x="44041" y="87344"/>
                  </a:lnTo>
                  <a:close/>
                  <a:moveTo>
                    <a:pt x="59261" y="68580"/>
                  </a:moveTo>
                  <a:lnTo>
                    <a:pt x="64683" y="62960"/>
                  </a:lnTo>
                  <a:lnTo>
                    <a:pt x="83707" y="78962"/>
                  </a:lnTo>
                  <a:cubicBezTo>
                    <a:pt x="86275" y="76486"/>
                    <a:pt x="90080" y="73152"/>
                    <a:pt x="93219" y="70676"/>
                  </a:cubicBezTo>
                  <a:lnTo>
                    <a:pt x="94646" y="70676"/>
                  </a:lnTo>
                  <a:cubicBezTo>
                    <a:pt x="91507" y="73343"/>
                    <a:pt x="87036" y="77343"/>
                    <a:pt x="83992" y="80201"/>
                  </a:cubicBezTo>
                  <a:lnTo>
                    <a:pt x="64968" y="64103"/>
                  </a:lnTo>
                  <a:lnTo>
                    <a:pt x="61068" y="68104"/>
                  </a:lnTo>
                  <a:close/>
                  <a:moveTo>
                    <a:pt x="78285" y="50292"/>
                  </a:moveTo>
                  <a:lnTo>
                    <a:pt x="79807" y="50292"/>
                  </a:lnTo>
                  <a:lnTo>
                    <a:pt x="84468" y="46577"/>
                  </a:lnTo>
                  <a:lnTo>
                    <a:pt x="100924" y="65627"/>
                  </a:lnTo>
                  <a:cubicBezTo>
                    <a:pt x="103682" y="63627"/>
                    <a:pt x="107773" y="60865"/>
                    <a:pt x="110436" y="58960"/>
                  </a:cubicBezTo>
                  <a:lnTo>
                    <a:pt x="109104" y="58198"/>
                  </a:lnTo>
                  <a:cubicBezTo>
                    <a:pt x="106441" y="59912"/>
                    <a:pt x="103016" y="62294"/>
                    <a:pt x="100734" y="64008"/>
                  </a:cubicBezTo>
                  <a:lnTo>
                    <a:pt x="84943" y="46196"/>
                  </a:lnTo>
                  <a:lnTo>
                    <a:pt x="78761" y="51054"/>
                  </a:lnTo>
                  <a:close/>
                  <a:moveTo>
                    <a:pt x="98356" y="36671"/>
                  </a:moveTo>
                  <a:lnTo>
                    <a:pt x="105014" y="32671"/>
                  </a:lnTo>
                  <a:lnTo>
                    <a:pt x="119092" y="53054"/>
                  </a:lnTo>
                  <a:cubicBezTo>
                    <a:pt x="122326" y="51245"/>
                    <a:pt x="126607" y="49054"/>
                    <a:pt x="130126" y="47435"/>
                  </a:cubicBezTo>
                  <a:lnTo>
                    <a:pt x="131173" y="48578"/>
                  </a:lnTo>
                  <a:cubicBezTo>
                    <a:pt x="127368" y="50292"/>
                    <a:pt x="122707" y="52673"/>
                    <a:pt x="119092" y="54674"/>
                  </a:cubicBezTo>
                  <a:lnTo>
                    <a:pt x="105014" y="34290"/>
                  </a:lnTo>
                  <a:lnTo>
                    <a:pt x="99687" y="37529"/>
                  </a:lnTo>
                  <a:lnTo>
                    <a:pt x="98356" y="36671"/>
                  </a:lnTo>
                  <a:close/>
                  <a:moveTo>
                    <a:pt x="121755" y="24098"/>
                  </a:moveTo>
                  <a:lnTo>
                    <a:pt x="122707" y="25241"/>
                  </a:lnTo>
                  <a:lnTo>
                    <a:pt x="128985" y="22574"/>
                  </a:lnTo>
                  <a:lnTo>
                    <a:pt x="140114" y="44768"/>
                  </a:lnTo>
                  <a:cubicBezTo>
                    <a:pt x="143253" y="43529"/>
                    <a:pt x="147153" y="42196"/>
                    <a:pt x="150387" y="41148"/>
                  </a:cubicBezTo>
                  <a:lnTo>
                    <a:pt x="149721" y="39719"/>
                  </a:lnTo>
                  <a:cubicBezTo>
                    <a:pt x="146677" y="40672"/>
                    <a:pt x="143063" y="42005"/>
                    <a:pt x="140209" y="43148"/>
                  </a:cubicBezTo>
                  <a:lnTo>
                    <a:pt x="129080" y="20955"/>
                  </a:lnTo>
                  <a:lnTo>
                    <a:pt x="121851" y="24098"/>
                  </a:lnTo>
                  <a:close/>
                  <a:moveTo>
                    <a:pt x="144299" y="15526"/>
                  </a:moveTo>
                  <a:lnTo>
                    <a:pt x="151814" y="13335"/>
                  </a:lnTo>
                  <a:lnTo>
                    <a:pt x="160089" y="36671"/>
                  </a:lnTo>
                  <a:cubicBezTo>
                    <a:pt x="164084" y="35719"/>
                    <a:pt x="168080" y="34862"/>
                    <a:pt x="172075" y="34100"/>
                  </a:cubicBezTo>
                  <a:lnTo>
                    <a:pt x="172075" y="35719"/>
                  </a:lnTo>
                  <a:cubicBezTo>
                    <a:pt x="167984" y="36481"/>
                    <a:pt x="163894" y="37338"/>
                    <a:pt x="159899" y="38386"/>
                  </a:cubicBezTo>
                  <a:lnTo>
                    <a:pt x="152099" y="14859"/>
                  </a:lnTo>
                  <a:lnTo>
                    <a:pt x="145250" y="16859"/>
                  </a:lnTo>
                  <a:lnTo>
                    <a:pt x="144585" y="15431"/>
                  </a:lnTo>
                  <a:close/>
                  <a:moveTo>
                    <a:pt x="170363" y="11049"/>
                  </a:moveTo>
                  <a:lnTo>
                    <a:pt x="177972" y="9906"/>
                  </a:lnTo>
                  <a:lnTo>
                    <a:pt x="182919" y="34195"/>
                  </a:lnTo>
                  <a:cubicBezTo>
                    <a:pt x="186343" y="34195"/>
                    <a:pt x="189672" y="33528"/>
                    <a:pt x="193097" y="33338"/>
                  </a:cubicBezTo>
                  <a:lnTo>
                    <a:pt x="194143" y="8573"/>
                  </a:lnTo>
                  <a:lnTo>
                    <a:pt x="201943" y="8573"/>
                  </a:lnTo>
                  <a:lnTo>
                    <a:pt x="203940" y="33242"/>
                  </a:lnTo>
                  <a:cubicBezTo>
                    <a:pt x="208031" y="33242"/>
                    <a:pt x="212216" y="33242"/>
                    <a:pt x="216306" y="33814"/>
                  </a:cubicBezTo>
                  <a:lnTo>
                    <a:pt x="220777" y="9525"/>
                  </a:lnTo>
                  <a:lnTo>
                    <a:pt x="228387" y="10478"/>
                  </a:lnTo>
                  <a:lnTo>
                    <a:pt x="228387" y="8763"/>
                  </a:lnTo>
                  <a:lnTo>
                    <a:pt x="220777" y="8096"/>
                  </a:lnTo>
                  <a:lnTo>
                    <a:pt x="216306" y="32385"/>
                  </a:lnTo>
                  <a:cubicBezTo>
                    <a:pt x="212216" y="32385"/>
                    <a:pt x="208031" y="31813"/>
                    <a:pt x="203940" y="31813"/>
                  </a:cubicBezTo>
                  <a:lnTo>
                    <a:pt x="201943" y="7144"/>
                  </a:lnTo>
                  <a:lnTo>
                    <a:pt x="194143" y="7144"/>
                  </a:lnTo>
                  <a:lnTo>
                    <a:pt x="193097" y="31909"/>
                  </a:lnTo>
                  <a:cubicBezTo>
                    <a:pt x="189672" y="31909"/>
                    <a:pt x="186343" y="31909"/>
                    <a:pt x="182919" y="32766"/>
                  </a:cubicBezTo>
                  <a:lnTo>
                    <a:pt x="177972" y="8096"/>
                  </a:lnTo>
                  <a:lnTo>
                    <a:pt x="170172" y="9239"/>
                  </a:lnTo>
                  <a:lnTo>
                    <a:pt x="170172" y="10859"/>
                  </a:lnTo>
                  <a:close/>
                  <a:moveTo>
                    <a:pt x="227435" y="33433"/>
                  </a:moveTo>
                  <a:lnTo>
                    <a:pt x="227435" y="35052"/>
                  </a:lnTo>
                  <a:cubicBezTo>
                    <a:pt x="230765" y="35052"/>
                    <a:pt x="234189" y="36195"/>
                    <a:pt x="237518" y="36957"/>
                  </a:cubicBezTo>
                  <a:lnTo>
                    <a:pt x="244938" y="13240"/>
                  </a:lnTo>
                  <a:lnTo>
                    <a:pt x="251882" y="15050"/>
                  </a:lnTo>
                  <a:lnTo>
                    <a:pt x="252452" y="13526"/>
                  </a:lnTo>
                  <a:lnTo>
                    <a:pt x="244938" y="11620"/>
                  </a:lnTo>
                  <a:lnTo>
                    <a:pt x="237518" y="35243"/>
                  </a:lnTo>
                  <a:cubicBezTo>
                    <a:pt x="234189" y="34576"/>
                    <a:pt x="230860" y="33909"/>
                    <a:pt x="227530" y="33433"/>
                  </a:cubicBezTo>
                  <a:close/>
                  <a:moveTo>
                    <a:pt x="232477" y="201740"/>
                  </a:moveTo>
                  <a:cubicBezTo>
                    <a:pt x="231535" y="218652"/>
                    <a:pt x="217079" y="231597"/>
                    <a:pt x="200189" y="230654"/>
                  </a:cubicBezTo>
                  <a:cubicBezTo>
                    <a:pt x="184616" y="229784"/>
                    <a:pt x="172183" y="217334"/>
                    <a:pt x="171314" y="201740"/>
                  </a:cubicBezTo>
                  <a:lnTo>
                    <a:pt x="171314" y="202502"/>
                  </a:lnTo>
                  <a:cubicBezTo>
                    <a:pt x="170371" y="219414"/>
                    <a:pt x="183299" y="233889"/>
                    <a:pt x="200189" y="234833"/>
                  </a:cubicBezTo>
                  <a:cubicBezTo>
                    <a:pt x="217079" y="235777"/>
                    <a:pt x="231535" y="222831"/>
                    <a:pt x="232477" y="205919"/>
                  </a:cubicBezTo>
                  <a:cubicBezTo>
                    <a:pt x="232540" y="204780"/>
                    <a:pt x="232540" y="203640"/>
                    <a:pt x="232477" y="202502"/>
                  </a:cubicBezTo>
                  <a:lnTo>
                    <a:pt x="232477" y="201740"/>
                  </a:lnTo>
                  <a:close/>
                  <a:moveTo>
                    <a:pt x="222965" y="147638"/>
                  </a:moveTo>
                  <a:cubicBezTo>
                    <a:pt x="231894" y="151203"/>
                    <a:pt x="239779" y="156969"/>
                    <a:pt x="245889" y="164402"/>
                  </a:cubicBezTo>
                  <a:lnTo>
                    <a:pt x="311047" y="136493"/>
                  </a:lnTo>
                  <a:lnTo>
                    <a:pt x="312474" y="137541"/>
                  </a:lnTo>
                  <a:lnTo>
                    <a:pt x="245889" y="166116"/>
                  </a:lnTo>
                  <a:cubicBezTo>
                    <a:pt x="233489" y="150979"/>
                    <a:pt x="214215" y="143252"/>
                    <a:pt x="194809" y="145637"/>
                  </a:cubicBezTo>
                  <a:lnTo>
                    <a:pt x="165701" y="77534"/>
                  </a:lnTo>
                  <a:lnTo>
                    <a:pt x="166938" y="78772"/>
                  </a:lnTo>
                  <a:lnTo>
                    <a:pt x="194809" y="144018"/>
                  </a:lnTo>
                  <a:cubicBezTo>
                    <a:pt x="204482" y="142795"/>
                    <a:pt x="214306" y="144074"/>
                    <a:pt x="223345" y="147733"/>
                  </a:cubicBezTo>
                  <a:close/>
                  <a:moveTo>
                    <a:pt x="259016" y="201644"/>
                  </a:moveTo>
                  <a:cubicBezTo>
                    <a:pt x="259016" y="198596"/>
                    <a:pt x="259016" y="195644"/>
                    <a:pt x="258160" y="192119"/>
                  </a:cubicBezTo>
                  <a:lnTo>
                    <a:pt x="258160" y="193643"/>
                  </a:lnTo>
                  <a:cubicBezTo>
                    <a:pt x="258301" y="196181"/>
                    <a:pt x="258301" y="198725"/>
                    <a:pt x="258160" y="201263"/>
                  </a:cubicBezTo>
                  <a:close/>
                  <a:moveTo>
                    <a:pt x="237709" y="245078"/>
                  </a:moveTo>
                  <a:lnTo>
                    <a:pt x="266245" y="310229"/>
                  </a:lnTo>
                  <a:cubicBezTo>
                    <a:pt x="304701" y="287596"/>
                    <a:pt x="328465" y="246405"/>
                    <a:pt x="328835" y="201740"/>
                  </a:cubicBezTo>
                  <a:cubicBezTo>
                    <a:pt x="329032" y="247007"/>
                    <a:pt x="305198" y="288971"/>
                    <a:pt x="266245" y="311944"/>
                  </a:cubicBezTo>
                  <a:lnTo>
                    <a:pt x="237709" y="244221"/>
                  </a:lnTo>
                  <a:lnTo>
                    <a:pt x="238755" y="245078"/>
                  </a:lnTo>
                  <a:close/>
                  <a:moveTo>
                    <a:pt x="92743" y="266414"/>
                  </a:moveTo>
                  <a:lnTo>
                    <a:pt x="91982" y="265081"/>
                  </a:lnTo>
                  <a:lnTo>
                    <a:pt x="90556" y="264033"/>
                  </a:lnTo>
                  <a:lnTo>
                    <a:pt x="91982" y="266795"/>
                  </a:lnTo>
                  <a:cubicBezTo>
                    <a:pt x="121274" y="316667"/>
                    <a:pt x="180532" y="340402"/>
                    <a:pt x="236091" y="324517"/>
                  </a:cubicBezTo>
                  <a:lnTo>
                    <a:pt x="237328" y="324517"/>
                  </a:lnTo>
                  <a:lnTo>
                    <a:pt x="235996" y="323183"/>
                  </a:lnTo>
                  <a:lnTo>
                    <a:pt x="235426" y="323183"/>
                  </a:lnTo>
                  <a:cubicBezTo>
                    <a:pt x="180549" y="338573"/>
                    <a:pt x="122164" y="315382"/>
                    <a:pt x="92743" y="266510"/>
                  </a:cubicBezTo>
                  <a:close/>
                  <a:moveTo>
                    <a:pt x="144014" y="201359"/>
                  </a:moveTo>
                  <a:cubicBezTo>
                    <a:pt x="144202" y="194401"/>
                    <a:pt x="145619" y="187533"/>
                    <a:pt x="148199" y="181070"/>
                  </a:cubicBezTo>
                  <a:cubicBezTo>
                    <a:pt x="151760" y="172129"/>
                    <a:pt x="157519" y="164233"/>
                    <a:pt x="164941" y="158115"/>
                  </a:cubicBezTo>
                  <a:lnTo>
                    <a:pt x="165987" y="157258"/>
                  </a:lnTo>
                  <a:lnTo>
                    <a:pt x="164941" y="156496"/>
                  </a:lnTo>
                  <a:lnTo>
                    <a:pt x="164370" y="156496"/>
                  </a:lnTo>
                  <a:cubicBezTo>
                    <a:pt x="151398" y="167616"/>
                    <a:pt x="143955" y="183878"/>
                    <a:pt x="144014" y="200978"/>
                  </a:cubicBezTo>
                  <a:close/>
                  <a:moveTo>
                    <a:pt x="74480" y="201359"/>
                  </a:moveTo>
                  <a:cubicBezTo>
                    <a:pt x="74551" y="212798"/>
                    <a:pt x="76183" y="224175"/>
                    <a:pt x="79331" y="235172"/>
                  </a:cubicBezTo>
                  <a:lnTo>
                    <a:pt x="144775" y="208121"/>
                  </a:lnTo>
                  <a:lnTo>
                    <a:pt x="144775" y="209645"/>
                  </a:lnTo>
                  <a:lnTo>
                    <a:pt x="79331" y="237649"/>
                  </a:lnTo>
                  <a:cubicBezTo>
                    <a:pt x="76095" y="225961"/>
                    <a:pt x="74558" y="213867"/>
                    <a:pt x="74765" y="201740"/>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31" name="Freeform 30">
              <a:extLst>
                <a:ext uri="{FF2B5EF4-FFF2-40B4-BE49-F238E27FC236}">
                  <a16:creationId xmlns="" xmlns:a16="http://schemas.microsoft.com/office/drawing/2014/main" id="{3042D0DE-6173-AB44-909A-CF0E0BABFACB}"/>
                </a:ext>
              </a:extLst>
            </p:cNvPr>
            <p:cNvSpPr/>
            <p:nvPr/>
          </p:nvSpPr>
          <p:spPr>
            <a:xfrm>
              <a:off x="4135830" y="4115444"/>
              <a:ext cx="627110" cy="627958"/>
            </a:xfrm>
            <a:custGeom>
              <a:avLst/>
              <a:gdLst>
                <a:gd name="connsiteX0" fmla="*/ 375444 w 551704"/>
                <a:gd name="connsiteY0" fmla="*/ 24765 h 552450"/>
                <a:gd name="connsiteX1" fmla="*/ 385718 w 551704"/>
                <a:gd name="connsiteY1" fmla="*/ 28861 h 552450"/>
                <a:gd name="connsiteX2" fmla="*/ 374683 w 551704"/>
                <a:gd name="connsiteY2" fmla="*/ 61913 h 552450"/>
                <a:gd name="connsiteX3" fmla="*/ 387715 w 551704"/>
                <a:gd name="connsiteY3" fmla="*/ 68104 h 552450"/>
                <a:gd name="connsiteX4" fmla="*/ 406739 w 551704"/>
                <a:gd name="connsiteY4" fmla="*/ 38671 h 552450"/>
                <a:gd name="connsiteX5" fmla="*/ 416252 w 551704"/>
                <a:gd name="connsiteY5" fmla="*/ 44005 h 552450"/>
                <a:gd name="connsiteX6" fmla="*/ 401317 w 551704"/>
                <a:gd name="connsiteY6" fmla="*/ 75438 h 552450"/>
                <a:gd name="connsiteX7" fmla="*/ 415966 w 551704"/>
                <a:gd name="connsiteY7" fmla="*/ 84963 h 552450"/>
                <a:gd name="connsiteX8" fmla="*/ 438034 w 551704"/>
                <a:gd name="connsiteY8" fmla="*/ 58388 h 552450"/>
                <a:gd name="connsiteX9" fmla="*/ 446881 w 551704"/>
                <a:gd name="connsiteY9" fmla="*/ 65056 h 552450"/>
                <a:gd name="connsiteX10" fmla="*/ 427856 w 551704"/>
                <a:gd name="connsiteY10" fmla="*/ 93631 h 552450"/>
                <a:gd name="connsiteX11" fmla="*/ 438795 w 551704"/>
                <a:gd name="connsiteY11" fmla="*/ 103156 h 552450"/>
                <a:gd name="connsiteX12" fmla="*/ 464288 w 551704"/>
                <a:gd name="connsiteY12" fmla="*/ 79629 h 552450"/>
                <a:gd name="connsiteX13" fmla="*/ 472278 w 551704"/>
                <a:gd name="connsiteY13" fmla="*/ 87249 h 552450"/>
                <a:gd name="connsiteX14" fmla="*/ 449734 w 551704"/>
                <a:gd name="connsiteY14" fmla="*/ 113728 h 552450"/>
                <a:gd name="connsiteX15" fmla="*/ 461434 w 551704"/>
                <a:gd name="connsiteY15" fmla="*/ 126682 h 552450"/>
                <a:gd name="connsiteX16" fmla="*/ 489971 w 551704"/>
                <a:gd name="connsiteY16" fmla="*/ 106871 h 552450"/>
                <a:gd name="connsiteX17" fmla="*/ 496819 w 551704"/>
                <a:gd name="connsiteY17" fmla="*/ 115538 h 552450"/>
                <a:gd name="connsiteX18" fmla="*/ 470756 w 551704"/>
                <a:gd name="connsiteY18" fmla="*/ 138684 h 552450"/>
                <a:gd name="connsiteX19" fmla="*/ 478937 w 551704"/>
                <a:gd name="connsiteY19" fmla="*/ 150495 h 552450"/>
                <a:gd name="connsiteX20" fmla="*/ 509756 w 551704"/>
                <a:gd name="connsiteY20" fmla="*/ 134398 h 552450"/>
                <a:gd name="connsiteX21" fmla="*/ 515463 w 551704"/>
                <a:gd name="connsiteY21" fmla="*/ 143923 h 552450"/>
                <a:gd name="connsiteX22" fmla="*/ 486927 w 551704"/>
                <a:gd name="connsiteY22" fmla="*/ 163640 h 552450"/>
                <a:gd name="connsiteX23" fmla="*/ 494917 w 551704"/>
                <a:gd name="connsiteY23" fmla="*/ 179261 h 552450"/>
                <a:gd name="connsiteX24" fmla="*/ 527639 w 551704"/>
                <a:gd name="connsiteY24" fmla="*/ 167449 h 552450"/>
                <a:gd name="connsiteX25" fmla="*/ 532014 w 551704"/>
                <a:gd name="connsiteY25" fmla="*/ 177641 h 552450"/>
                <a:gd name="connsiteX26" fmla="*/ 500910 w 551704"/>
                <a:gd name="connsiteY26" fmla="*/ 193262 h 552450"/>
                <a:gd name="connsiteX27" fmla="*/ 505666 w 551704"/>
                <a:gd name="connsiteY27" fmla="*/ 206788 h 552450"/>
                <a:gd name="connsiteX28" fmla="*/ 539624 w 551704"/>
                <a:gd name="connsiteY28" fmla="*/ 199168 h 552450"/>
                <a:gd name="connsiteX29" fmla="*/ 542668 w 551704"/>
                <a:gd name="connsiteY29" fmla="*/ 209740 h 552450"/>
                <a:gd name="connsiteX30" fmla="*/ 509756 w 551704"/>
                <a:gd name="connsiteY30" fmla="*/ 221361 h 552450"/>
                <a:gd name="connsiteX31" fmla="*/ 513371 w 551704"/>
                <a:gd name="connsiteY31" fmla="*/ 238506 h 552450"/>
                <a:gd name="connsiteX32" fmla="*/ 548090 w 551704"/>
                <a:gd name="connsiteY32" fmla="*/ 235648 h 552450"/>
                <a:gd name="connsiteX33" fmla="*/ 549612 w 551704"/>
                <a:gd name="connsiteY33" fmla="*/ 246507 h 552450"/>
                <a:gd name="connsiteX34" fmla="*/ 515558 w 551704"/>
                <a:gd name="connsiteY34" fmla="*/ 253555 h 552450"/>
                <a:gd name="connsiteX35" fmla="*/ 516795 w 551704"/>
                <a:gd name="connsiteY35" fmla="*/ 267843 h 552450"/>
                <a:gd name="connsiteX36" fmla="*/ 551419 w 551704"/>
                <a:gd name="connsiteY36" fmla="*/ 269367 h 552450"/>
                <a:gd name="connsiteX37" fmla="*/ 551419 w 551704"/>
                <a:gd name="connsiteY37" fmla="*/ 280321 h 552450"/>
                <a:gd name="connsiteX38" fmla="*/ 516700 w 551704"/>
                <a:gd name="connsiteY38" fmla="*/ 283083 h 552450"/>
                <a:gd name="connsiteX39" fmla="*/ 515844 w 551704"/>
                <a:gd name="connsiteY39" fmla="*/ 300514 h 552450"/>
                <a:gd name="connsiteX40" fmla="*/ 549992 w 551704"/>
                <a:gd name="connsiteY40" fmla="*/ 306800 h 552450"/>
                <a:gd name="connsiteX41" fmla="*/ 548756 w 551704"/>
                <a:gd name="connsiteY41" fmla="*/ 317754 h 552450"/>
                <a:gd name="connsiteX42" fmla="*/ 514036 w 551704"/>
                <a:gd name="connsiteY42" fmla="*/ 315659 h 552450"/>
                <a:gd name="connsiteX43" fmla="*/ 511468 w 551704"/>
                <a:gd name="connsiteY43" fmla="*/ 329755 h 552450"/>
                <a:gd name="connsiteX44" fmla="*/ 544570 w 551704"/>
                <a:gd name="connsiteY44" fmla="*/ 340233 h 552450"/>
                <a:gd name="connsiteX45" fmla="*/ 542002 w 551704"/>
                <a:gd name="connsiteY45" fmla="*/ 350901 h 552450"/>
                <a:gd name="connsiteX46" fmla="*/ 507758 w 551704"/>
                <a:gd name="connsiteY46" fmla="*/ 344519 h 552450"/>
                <a:gd name="connsiteX47" fmla="*/ 502432 w 551704"/>
                <a:gd name="connsiteY47" fmla="*/ 361188 h 552450"/>
                <a:gd name="connsiteX48" fmla="*/ 533822 w 551704"/>
                <a:gd name="connsiteY48" fmla="*/ 376047 h 552450"/>
                <a:gd name="connsiteX49" fmla="*/ 529731 w 551704"/>
                <a:gd name="connsiteY49" fmla="*/ 386334 h 552450"/>
                <a:gd name="connsiteX50" fmla="*/ 496724 w 551704"/>
                <a:gd name="connsiteY50" fmla="*/ 375380 h 552450"/>
                <a:gd name="connsiteX51" fmla="*/ 490637 w 551704"/>
                <a:gd name="connsiteY51" fmla="*/ 388334 h 552450"/>
                <a:gd name="connsiteX52" fmla="*/ 519934 w 551704"/>
                <a:gd name="connsiteY52" fmla="*/ 407384 h 552450"/>
                <a:gd name="connsiteX53" fmla="*/ 514607 w 551704"/>
                <a:gd name="connsiteY53" fmla="*/ 416909 h 552450"/>
                <a:gd name="connsiteX54" fmla="*/ 483312 w 551704"/>
                <a:gd name="connsiteY54" fmla="*/ 401955 h 552450"/>
                <a:gd name="connsiteX55" fmla="*/ 473800 w 551704"/>
                <a:gd name="connsiteY55" fmla="*/ 416623 h 552450"/>
                <a:gd name="connsiteX56" fmla="*/ 500244 w 551704"/>
                <a:gd name="connsiteY56" fmla="*/ 439103 h 552450"/>
                <a:gd name="connsiteX57" fmla="*/ 493680 w 551704"/>
                <a:gd name="connsiteY57" fmla="*/ 447961 h 552450"/>
                <a:gd name="connsiteX58" fmla="*/ 465144 w 551704"/>
                <a:gd name="connsiteY58" fmla="*/ 428911 h 552450"/>
                <a:gd name="connsiteX59" fmla="*/ 455632 w 551704"/>
                <a:gd name="connsiteY59" fmla="*/ 439865 h 552450"/>
                <a:gd name="connsiteX60" fmla="*/ 479127 w 551704"/>
                <a:gd name="connsiteY60" fmla="*/ 465487 h 552450"/>
                <a:gd name="connsiteX61" fmla="*/ 471517 w 551704"/>
                <a:gd name="connsiteY61" fmla="*/ 473393 h 552450"/>
                <a:gd name="connsiteX62" fmla="*/ 445168 w 551704"/>
                <a:gd name="connsiteY62" fmla="*/ 450818 h 552450"/>
                <a:gd name="connsiteX63" fmla="*/ 432137 w 551704"/>
                <a:gd name="connsiteY63" fmla="*/ 462534 h 552450"/>
                <a:gd name="connsiteX64" fmla="*/ 451922 w 551704"/>
                <a:gd name="connsiteY64" fmla="*/ 491109 h 552450"/>
                <a:gd name="connsiteX65" fmla="*/ 443266 w 551704"/>
                <a:gd name="connsiteY65" fmla="*/ 497967 h 552450"/>
                <a:gd name="connsiteX66" fmla="*/ 420152 w 551704"/>
                <a:gd name="connsiteY66" fmla="*/ 471964 h 552450"/>
                <a:gd name="connsiteX67" fmla="*/ 408356 w 551704"/>
                <a:gd name="connsiteY67" fmla="*/ 480060 h 552450"/>
                <a:gd name="connsiteX68" fmla="*/ 424527 w 551704"/>
                <a:gd name="connsiteY68" fmla="*/ 510921 h 552450"/>
                <a:gd name="connsiteX69" fmla="*/ 415015 w 551704"/>
                <a:gd name="connsiteY69" fmla="*/ 516636 h 552450"/>
                <a:gd name="connsiteX70" fmla="*/ 395325 w 551704"/>
                <a:gd name="connsiteY70" fmla="*/ 488061 h 552450"/>
                <a:gd name="connsiteX71" fmla="*/ 379820 w 551704"/>
                <a:gd name="connsiteY71" fmla="*/ 496062 h 552450"/>
                <a:gd name="connsiteX72" fmla="*/ 391520 w 551704"/>
                <a:gd name="connsiteY72" fmla="*/ 528828 h 552450"/>
                <a:gd name="connsiteX73" fmla="*/ 381437 w 551704"/>
                <a:gd name="connsiteY73" fmla="*/ 533210 h 552450"/>
                <a:gd name="connsiteX74" fmla="*/ 365837 w 551704"/>
                <a:gd name="connsiteY74" fmla="*/ 502063 h 552450"/>
                <a:gd name="connsiteX75" fmla="*/ 352330 w 551704"/>
                <a:gd name="connsiteY75" fmla="*/ 506920 h 552450"/>
                <a:gd name="connsiteX76" fmla="*/ 359940 w 551704"/>
                <a:gd name="connsiteY76" fmla="*/ 540925 h 552450"/>
                <a:gd name="connsiteX77" fmla="*/ 349286 w 551704"/>
                <a:gd name="connsiteY77" fmla="*/ 543878 h 552450"/>
                <a:gd name="connsiteX78" fmla="*/ 337681 w 551704"/>
                <a:gd name="connsiteY78" fmla="*/ 511111 h 552450"/>
                <a:gd name="connsiteX79" fmla="*/ 320655 w 551704"/>
                <a:gd name="connsiteY79" fmla="*/ 514826 h 552450"/>
                <a:gd name="connsiteX80" fmla="*/ 323508 w 551704"/>
                <a:gd name="connsiteY80" fmla="*/ 549497 h 552450"/>
                <a:gd name="connsiteX81" fmla="*/ 312569 w 551704"/>
                <a:gd name="connsiteY81" fmla="*/ 551021 h 552450"/>
                <a:gd name="connsiteX82" fmla="*/ 305625 w 551704"/>
                <a:gd name="connsiteY82" fmla="*/ 516922 h 552450"/>
                <a:gd name="connsiteX83" fmla="*/ 291262 w 551704"/>
                <a:gd name="connsiteY83" fmla="*/ 518160 h 552450"/>
                <a:gd name="connsiteX84" fmla="*/ 289835 w 551704"/>
                <a:gd name="connsiteY84" fmla="*/ 552926 h 552450"/>
                <a:gd name="connsiteX85" fmla="*/ 278801 w 551704"/>
                <a:gd name="connsiteY85" fmla="*/ 552926 h 552450"/>
                <a:gd name="connsiteX86" fmla="*/ 276138 w 551704"/>
                <a:gd name="connsiteY86" fmla="*/ 518255 h 552450"/>
                <a:gd name="connsiteX87" fmla="*/ 258635 w 551704"/>
                <a:gd name="connsiteY87" fmla="*/ 517303 h 552450"/>
                <a:gd name="connsiteX88" fmla="*/ 252452 w 551704"/>
                <a:gd name="connsiteY88" fmla="*/ 551593 h 552450"/>
                <a:gd name="connsiteX89" fmla="*/ 241513 w 551704"/>
                <a:gd name="connsiteY89" fmla="*/ 550259 h 552450"/>
                <a:gd name="connsiteX90" fmla="*/ 243511 w 551704"/>
                <a:gd name="connsiteY90" fmla="*/ 515493 h 552450"/>
                <a:gd name="connsiteX91" fmla="*/ 229433 w 551704"/>
                <a:gd name="connsiteY91" fmla="*/ 512921 h 552450"/>
                <a:gd name="connsiteX92" fmla="*/ 219255 w 551704"/>
                <a:gd name="connsiteY92" fmla="*/ 545878 h 552450"/>
                <a:gd name="connsiteX93" fmla="*/ 208601 w 551704"/>
                <a:gd name="connsiteY93" fmla="*/ 543211 h 552450"/>
                <a:gd name="connsiteX94" fmla="*/ 214879 w 551704"/>
                <a:gd name="connsiteY94" fmla="*/ 508921 h 552450"/>
                <a:gd name="connsiteX95" fmla="*/ 198233 w 551704"/>
                <a:gd name="connsiteY95" fmla="*/ 503587 h 552450"/>
                <a:gd name="connsiteX96" fmla="*/ 183394 w 551704"/>
                <a:gd name="connsiteY96" fmla="*/ 535019 h 552450"/>
                <a:gd name="connsiteX97" fmla="*/ 173216 w 551704"/>
                <a:gd name="connsiteY97" fmla="*/ 530924 h 552450"/>
                <a:gd name="connsiteX98" fmla="*/ 184155 w 551704"/>
                <a:gd name="connsiteY98" fmla="*/ 497872 h 552450"/>
                <a:gd name="connsiteX99" fmla="*/ 171219 w 551704"/>
                <a:gd name="connsiteY99" fmla="*/ 491776 h 552450"/>
                <a:gd name="connsiteX100" fmla="*/ 152194 w 551704"/>
                <a:gd name="connsiteY100" fmla="*/ 521113 h 552450"/>
                <a:gd name="connsiteX101" fmla="*/ 142682 w 551704"/>
                <a:gd name="connsiteY101" fmla="*/ 515779 h 552450"/>
                <a:gd name="connsiteX102" fmla="*/ 157616 w 551704"/>
                <a:gd name="connsiteY102" fmla="*/ 484441 h 552450"/>
                <a:gd name="connsiteX103" fmla="*/ 142968 w 551704"/>
                <a:gd name="connsiteY103" fmla="*/ 474916 h 552450"/>
                <a:gd name="connsiteX104" fmla="*/ 120424 w 551704"/>
                <a:gd name="connsiteY104" fmla="*/ 501491 h 552450"/>
                <a:gd name="connsiteX105" fmla="*/ 111673 w 551704"/>
                <a:gd name="connsiteY105" fmla="*/ 494824 h 552450"/>
                <a:gd name="connsiteX106" fmla="*/ 130697 w 551704"/>
                <a:gd name="connsiteY106" fmla="*/ 465773 h 552450"/>
                <a:gd name="connsiteX107" fmla="*/ 119758 w 551704"/>
                <a:gd name="connsiteY107" fmla="*/ 456248 h 552450"/>
                <a:gd name="connsiteX108" fmla="*/ 94170 w 551704"/>
                <a:gd name="connsiteY108" fmla="*/ 479774 h 552450"/>
                <a:gd name="connsiteX109" fmla="*/ 86275 w 551704"/>
                <a:gd name="connsiteY109" fmla="*/ 472059 h 552450"/>
                <a:gd name="connsiteX110" fmla="*/ 108819 w 551704"/>
                <a:gd name="connsiteY110" fmla="*/ 445675 h 552450"/>
                <a:gd name="connsiteX111" fmla="*/ 97119 w 551704"/>
                <a:gd name="connsiteY111" fmla="*/ 432625 h 552450"/>
                <a:gd name="connsiteX112" fmla="*/ 68583 w 551704"/>
                <a:gd name="connsiteY112" fmla="*/ 452437 h 552450"/>
                <a:gd name="connsiteX113" fmla="*/ 61829 w 551704"/>
                <a:gd name="connsiteY113" fmla="*/ 443770 h 552450"/>
                <a:gd name="connsiteX114" fmla="*/ 87892 w 551704"/>
                <a:gd name="connsiteY114" fmla="*/ 421386 h 552450"/>
                <a:gd name="connsiteX115" fmla="*/ 79712 w 551704"/>
                <a:gd name="connsiteY115" fmla="*/ 409480 h 552450"/>
                <a:gd name="connsiteX116" fmla="*/ 48892 w 551704"/>
                <a:gd name="connsiteY116" fmla="*/ 425672 h 552450"/>
                <a:gd name="connsiteX117" fmla="*/ 43280 w 551704"/>
                <a:gd name="connsiteY117" fmla="*/ 416147 h 552450"/>
                <a:gd name="connsiteX118" fmla="*/ 71817 w 551704"/>
                <a:gd name="connsiteY118" fmla="*/ 396431 h 552450"/>
                <a:gd name="connsiteX119" fmla="*/ 63922 w 551704"/>
                <a:gd name="connsiteY119" fmla="*/ 380905 h 552450"/>
                <a:gd name="connsiteX120" fmla="*/ 31105 w 551704"/>
                <a:gd name="connsiteY120" fmla="*/ 392620 h 552450"/>
                <a:gd name="connsiteX121" fmla="*/ 26824 w 551704"/>
                <a:gd name="connsiteY121" fmla="*/ 382524 h 552450"/>
                <a:gd name="connsiteX122" fmla="*/ 57929 w 551704"/>
                <a:gd name="connsiteY122" fmla="*/ 366903 h 552450"/>
                <a:gd name="connsiteX123" fmla="*/ 53078 w 551704"/>
                <a:gd name="connsiteY123" fmla="*/ 353378 h 552450"/>
                <a:gd name="connsiteX124" fmla="*/ 19119 w 551704"/>
                <a:gd name="connsiteY124" fmla="*/ 360998 h 552450"/>
                <a:gd name="connsiteX125" fmla="*/ 16076 w 551704"/>
                <a:gd name="connsiteY125" fmla="*/ 350330 h 552450"/>
                <a:gd name="connsiteX126" fmla="*/ 48892 w 551704"/>
                <a:gd name="connsiteY126" fmla="*/ 338709 h 552450"/>
                <a:gd name="connsiteX127" fmla="*/ 45183 w 551704"/>
                <a:gd name="connsiteY127" fmla="*/ 321659 h 552450"/>
                <a:gd name="connsiteX128" fmla="*/ 10558 w 551704"/>
                <a:gd name="connsiteY128" fmla="*/ 324517 h 552450"/>
                <a:gd name="connsiteX129" fmla="*/ 8941 w 551704"/>
                <a:gd name="connsiteY129" fmla="*/ 313563 h 552450"/>
                <a:gd name="connsiteX130" fmla="*/ 42995 w 551704"/>
                <a:gd name="connsiteY130" fmla="*/ 306610 h 552450"/>
                <a:gd name="connsiteX131" fmla="*/ 41853 w 551704"/>
                <a:gd name="connsiteY131" fmla="*/ 292227 h 552450"/>
                <a:gd name="connsiteX132" fmla="*/ 7134 w 551704"/>
                <a:gd name="connsiteY132" fmla="*/ 290798 h 552450"/>
                <a:gd name="connsiteX133" fmla="*/ 7134 w 551704"/>
                <a:gd name="connsiteY133" fmla="*/ 279749 h 552450"/>
                <a:gd name="connsiteX134" fmla="*/ 41758 w 551704"/>
                <a:gd name="connsiteY134" fmla="*/ 277082 h 552450"/>
                <a:gd name="connsiteX135" fmla="*/ 42614 w 551704"/>
                <a:gd name="connsiteY135" fmla="*/ 259556 h 552450"/>
                <a:gd name="connsiteX136" fmla="*/ 8466 w 551704"/>
                <a:gd name="connsiteY136" fmla="*/ 253365 h 552450"/>
                <a:gd name="connsiteX137" fmla="*/ 9798 w 551704"/>
                <a:gd name="connsiteY137" fmla="*/ 242411 h 552450"/>
                <a:gd name="connsiteX138" fmla="*/ 44422 w 551704"/>
                <a:gd name="connsiteY138" fmla="*/ 244507 h 552450"/>
                <a:gd name="connsiteX139" fmla="*/ 47085 w 551704"/>
                <a:gd name="connsiteY139" fmla="*/ 230315 h 552450"/>
                <a:gd name="connsiteX140" fmla="*/ 13888 w 551704"/>
                <a:gd name="connsiteY140" fmla="*/ 219932 h 552450"/>
                <a:gd name="connsiteX141" fmla="*/ 16551 w 551704"/>
                <a:gd name="connsiteY141" fmla="*/ 209264 h 552450"/>
                <a:gd name="connsiteX142" fmla="*/ 50700 w 551704"/>
                <a:gd name="connsiteY142" fmla="*/ 215551 h 552450"/>
                <a:gd name="connsiteX143" fmla="*/ 56122 w 551704"/>
                <a:gd name="connsiteY143" fmla="*/ 198977 h 552450"/>
                <a:gd name="connsiteX144" fmla="*/ 24541 w 551704"/>
                <a:gd name="connsiteY144" fmla="*/ 183261 h 552450"/>
                <a:gd name="connsiteX145" fmla="*/ 29012 w 551704"/>
                <a:gd name="connsiteY145" fmla="*/ 173736 h 552450"/>
                <a:gd name="connsiteX146" fmla="*/ 62019 w 551704"/>
                <a:gd name="connsiteY146" fmla="*/ 184690 h 552450"/>
                <a:gd name="connsiteX147" fmla="*/ 68202 w 551704"/>
                <a:gd name="connsiteY147" fmla="*/ 171736 h 552450"/>
                <a:gd name="connsiteX148" fmla="*/ 38810 w 551704"/>
                <a:gd name="connsiteY148" fmla="*/ 152686 h 552450"/>
                <a:gd name="connsiteX149" fmla="*/ 44136 w 551704"/>
                <a:gd name="connsiteY149" fmla="*/ 143161 h 552450"/>
                <a:gd name="connsiteX150" fmla="*/ 75526 w 551704"/>
                <a:gd name="connsiteY150" fmla="*/ 158115 h 552450"/>
                <a:gd name="connsiteX151" fmla="*/ 85039 w 551704"/>
                <a:gd name="connsiteY151" fmla="*/ 143446 h 552450"/>
                <a:gd name="connsiteX152" fmla="*/ 58500 w 551704"/>
                <a:gd name="connsiteY152" fmla="*/ 120967 h 552450"/>
                <a:gd name="connsiteX153" fmla="*/ 65063 w 551704"/>
                <a:gd name="connsiteY153" fmla="*/ 112109 h 552450"/>
                <a:gd name="connsiteX154" fmla="*/ 93600 w 551704"/>
                <a:gd name="connsiteY154" fmla="*/ 131159 h 552450"/>
                <a:gd name="connsiteX155" fmla="*/ 103112 w 551704"/>
                <a:gd name="connsiteY155" fmla="*/ 120205 h 552450"/>
                <a:gd name="connsiteX156" fmla="*/ 79522 w 551704"/>
                <a:gd name="connsiteY156" fmla="*/ 94678 h 552450"/>
                <a:gd name="connsiteX157" fmla="*/ 87131 w 551704"/>
                <a:gd name="connsiteY157" fmla="*/ 86773 h 552450"/>
                <a:gd name="connsiteX158" fmla="*/ 113575 w 551704"/>
                <a:gd name="connsiteY158" fmla="*/ 109347 h 552450"/>
                <a:gd name="connsiteX159" fmla="*/ 126512 w 551704"/>
                <a:gd name="connsiteY159" fmla="*/ 97631 h 552450"/>
                <a:gd name="connsiteX160" fmla="*/ 106726 w 551704"/>
                <a:gd name="connsiteY160" fmla="*/ 69056 h 552450"/>
                <a:gd name="connsiteX161" fmla="*/ 115382 w 551704"/>
                <a:gd name="connsiteY161" fmla="*/ 62198 h 552450"/>
                <a:gd name="connsiteX162" fmla="*/ 138497 w 551704"/>
                <a:gd name="connsiteY162" fmla="*/ 88011 h 552450"/>
                <a:gd name="connsiteX163" fmla="*/ 150292 w 551704"/>
                <a:gd name="connsiteY163" fmla="*/ 79915 h 552450"/>
                <a:gd name="connsiteX164" fmla="*/ 134216 w 551704"/>
                <a:gd name="connsiteY164" fmla="*/ 49054 h 552450"/>
                <a:gd name="connsiteX165" fmla="*/ 143729 w 551704"/>
                <a:gd name="connsiteY165" fmla="*/ 43339 h 552450"/>
                <a:gd name="connsiteX166" fmla="*/ 163419 w 551704"/>
                <a:gd name="connsiteY166" fmla="*/ 71914 h 552450"/>
                <a:gd name="connsiteX167" fmla="*/ 179019 w 551704"/>
                <a:gd name="connsiteY167" fmla="*/ 64008 h 552450"/>
                <a:gd name="connsiteX168" fmla="*/ 167224 w 551704"/>
                <a:gd name="connsiteY168" fmla="*/ 31147 h 552450"/>
                <a:gd name="connsiteX169" fmla="*/ 177402 w 551704"/>
                <a:gd name="connsiteY169" fmla="*/ 26860 h 552450"/>
                <a:gd name="connsiteX170" fmla="*/ 193001 w 551704"/>
                <a:gd name="connsiteY170" fmla="*/ 58007 h 552450"/>
                <a:gd name="connsiteX171" fmla="*/ 206509 w 551704"/>
                <a:gd name="connsiteY171" fmla="*/ 53149 h 552450"/>
                <a:gd name="connsiteX172" fmla="*/ 198899 w 551704"/>
                <a:gd name="connsiteY172" fmla="*/ 19145 h 552450"/>
                <a:gd name="connsiteX173" fmla="*/ 209457 w 551704"/>
                <a:gd name="connsiteY173" fmla="*/ 16097 h 552450"/>
                <a:gd name="connsiteX174" fmla="*/ 221062 w 551704"/>
                <a:gd name="connsiteY174" fmla="*/ 48958 h 552450"/>
                <a:gd name="connsiteX175" fmla="*/ 238184 w 551704"/>
                <a:gd name="connsiteY175" fmla="*/ 45244 h 552450"/>
                <a:gd name="connsiteX176" fmla="*/ 235331 w 551704"/>
                <a:gd name="connsiteY176" fmla="*/ 10573 h 552450"/>
                <a:gd name="connsiteX177" fmla="*/ 246174 w 551704"/>
                <a:gd name="connsiteY177" fmla="*/ 8953 h 552450"/>
                <a:gd name="connsiteX178" fmla="*/ 253213 w 551704"/>
                <a:gd name="connsiteY178" fmla="*/ 43053 h 552450"/>
                <a:gd name="connsiteX179" fmla="*/ 267482 w 551704"/>
                <a:gd name="connsiteY179" fmla="*/ 41910 h 552450"/>
                <a:gd name="connsiteX180" fmla="*/ 268908 w 551704"/>
                <a:gd name="connsiteY180" fmla="*/ 7144 h 552450"/>
                <a:gd name="connsiteX181" fmla="*/ 279942 w 551704"/>
                <a:gd name="connsiteY181" fmla="*/ 7144 h 552450"/>
                <a:gd name="connsiteX182" fmla="*/ 282701 w 551704"/>
                <a:gd name="connsiteY182" fmla="*/ 41815 h 552450"/>
                <a:gd name="connsiteX183" fmla="*/ 300108 w 551704"/>
                <a:gd name="connsiteY183" fmla="*/ 42672 h 552450"/>
                <a:gd name="connsiteX184" fmla="*/ 306291 w 551704"/>
                <a:gd name="connsiteY184" fmla="*/ 8477 h 552450"/>
                <a:gd name="connsiteX185" fmla="*/ 317230 w 551704"/>
                <a:gd name="connsiteY185" fmla="*/ 9811 h 552450"/>
                <a:gd name="connsiteX186" fmla="*/ 315233 w 551704"/>
                <a:gd name="connsiteY186" fmla="*/ 44482 h 552450"/>
                <a:gd name="connsiteX187" fmla="*/ 329311 w 551704"/>
                <a:gd name="connsiteY187" fmla="*/ 47149 h 552450"/>
                <a:gd name="connsiteX188" fmla="*/ 339774 w 551704"/>
                <a:gd name="connsiteY188" fmla="*/ 13906 h 552450"/>
                <a:gd name="connsiteX189" fmla="*/ 350428 w 551704"/>
                <a:gd name="connsiteY189" fmla="*/ 16573 h 552450"/>
                <a:gd name="connsiteX190" fmla="*/ 344054 w 551704"/>
                <a:gd name="connsiteY190" fmla="*/ 50768 h 552450"/>
                <a:gd name="connsiteX191" fmla="*/ 360701 w 551704"/>
                <a:gd name="connsiteY191" fmla="*/ 56198 h 552450"/>
                <a:gd name="connsiteX192" fmla="*/ 375540 w 551704"/>
                <a:gd name="connsiteY192" fmla="*/ 24670 h 552450"/>
                <a:gd name="connsiteX193" fmla="*/ 279372 w 551704"/>
                <a:gd name="connsiteY193" fmla="*/ 236887 h 552450"/>
                <a:gd name="connsiteX194" fmla="*/ 236377 w 551704"/>
                <a:gd name="connsiteY194" fmla="*/ 279940 h 552450"/>
                <a:gd name="connsiteX195" fmla="*/ 279372 w 551704"/>
                <a:gd name="connsiteY195" fmla="*/ 322993 h 552450"/>
                <a:gd name="connsiteX196" fmla="*/ 322367 w 551704"/>
                <a:gd name="connsiteY196" fmla="*/ 279940 h 552450"/>
                <a:gd name="connsiteX197" fmla="*/ 279372 w 551704"/>
                <a:gd name="connsiteY197" fmla="*/ 236887 h 552450"/>
                <a:gd name="connsiteX198" fmla="*/ 309240 w 551704"/>
                <a:gd name="connsiteY198" fmla="*/ 205073 h 552450"/>
                <a:gd name="connsiteX199" fmla="*/ 341486 w 551704"/>
                <a:gd name="connsiteY199" fmla="*/ 228695 h 552450"/>
                <a:gd name="connsiteX200" fmla="*/ 432993 w 551704"/>
                <a:gd name="connsiteY200" fmla="*/ 189452 h 552450"/>
                <a:gd name="connsiteX201" fmla="*/ 230479 w 551704"/>
                <a:gd name="connsiteY201" fmla="*/ 108299 h 552450"/>
                <a:gd name="connsiteX202" fmla="*/ 269669 w 551704"/>
                <a:gd name="connsiteY202" fmla="*/ 199930 h 552450"/>
                <a:gd name="connsiteX203" fmla="*/ 309240 w 551704"/>
                <a:gd name="connsiteY203" fmla="*/ 205073 h 552450"/>
                <a:gd name="connsiteX204" fmla="*/ 359274 w 551704"/>
                <a:gd name="connsiteY204" fmla="*/ 270224 h 552450"/>
                <a:gd name="connsiteX205" fmla="*/ 354042 w 551704"/>
                <a:gd name="connsiteY205" fmla="*/ 309848 h 552450"/>
                <a:gd name="connsiteX206" fmla="*/ 330452 w 551704"/>
                <a:gd name="connsiteY206" fmla="*/ 342138 h 552450"/>
                <a:gd name="connsiteX207" fmla="*/ 369642 w 551704"/>
                <a:gd name="connsiteY207" fmla="*/ 433769 h 552450"/>
                <a:gd name="connsiteX208" fmla="*/ 450781 w 551704"/>
                <a:gd name="connsiteY208" fmla="*/ 230886 h 552450"/>
                <a:gd name="connsiteX209" fmla="*/ 359274 w 551704"/>
                <a:gd name="connsiteY209" fmla="*/ 270129 h 552450"/>
                <a:gd name="connsiteX210" fmla="*/ 288979 w 551704"/>
                <a:gd name="connsiteY210" fmla="*/ 359950 h 552450"/>
                <a:gd name="connsiteX211" fmla="*/ 217162 w 551704"/>
                <a:gd name="connsiteY211" fmla="*/ 331375 h 552450"/>
                <a:gd name="connsiteX212" fmla="*/ 125656 w 551704"/>
                <a:gd name="connsiteY212" fmla="*/ 370523 h 552450"/>
                <a:gd name="connsiteX213" fmla="*/ 328169 w 551704"/>
                <a:gd name="connsiteY213" fmla="*/ 451771 h 552450"/>
                <a:gd name="connsiteX214" fmla="*/ 288979 w 551704"/>
                <a:gd name="connsiteY214" fmla="*/ 360140 h 552450"/>
                <a:gd name="connsiteX215" fmla="*/ 199470 w 551704"/>
                <a:gd name="connsiteY215" fmla="*/ 289560 h 552450"/>
                <a:gd name="connsiteX216" fmla="*/ 204606 w 551704"/>
                <a:gd name="connsiteY216" fmla="*/ 249936 h 552450"/>
                <a:gd name="connsiteX217" fmla="*/ 228196 w 551704"/>
                <a:gd name="connsiteY217" fmla="*/ 217646 h 552450"/>
                <a:gd name="connsiteX218" fmla="*/ 189006 w 551704"/>
                <a:gd name="connsiteY218" fmla="*/ 126111 h 552450"/>
                <a:gd name="connsiteX219" fmla="*/ 107868 w 551704"/>
                <a:gd name="connsiteY219" fmla="*/ 328898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551704" h="552450">
                  <a:moveTo>
                    <a:pt x="375444" y="24765"/>
                  </a:moveTo>
                  <a:lnTo>
                    <a:pt x="385718" y="28861"/>
                  </a:lnTo>
                  <a:lnTo>
                    <a:pt x="374683" y="61913"/>
                  </a:lnTo>
                  <a:cubicBezTo>
                    <a:pt x="379154" y="63913"/>
                    <a:pt x="383435" y="65913"/>
                    <a:pt x="387715" y="68104"/>
                  </a:cubicBezTo>
                  <a:lnTo>
                    <a:pt x="406739" y="38671"/>
                  </a:lnTo>
                  <a:lnTo>
                    <a:pt x="416252" y="44005"/>
                  </a:lnTo>
                  <a:lnTo>
                    <a:pt x="401317" y="75438"/>
                  </a:lnTo>
                  <a:cubicBezTo>
                    <a:pt x="406359" y="78391"/>
                    <a:pt x="410830" y="81629"/>
                    <a:pt x="415966" y="84963"/>
                  </a:cubicBezTo>
                  <a:lnTo>
                    <a:pt x="438034" y="58388"/>
                  </a:lnTo>
                  <a:lnTo>
                    <a:pt x="446881" y="65056"/>
                  </a:lnTo>
                  <a:lnTo>
                    <a:pt x="427856" y="93631"/>
                  </a:lnTo>
                  <a:cubicBezTo>
                    <a:pt x="431566" y="96679"/>
                    <a:pt x="435276" y="99822"/>
                    <a:pt x="438795" y="103156"/>
                  </a:cubicBezTo>
                  <a:lnTo>
                    <a:pt x="464288" y="79629"/>
                  </a:lnTo>
                  <a:lnTo>
                    <a:pt x="472278" y="87249"/>
                  </a:lnTo>
                  <a:lnTo>
                    <a:pt x="449734" y="113728"/>
                  </a:lnTo>
                  <a:cubicBezTo>
                    <a:pt x="453825" y="117919"/>
                    <a:pt x="457725" y="122301"/>
                    <a:pt x="461434" y="126682"/>
                  </a:cubicBezTo>
                  <a:lnTo>
                    <a:pt x="489971" y="106871"/>
                  </a:lnTo>
                  <a:lnTo>
                    <a:pt x="496819" y="115538"/>
                  </a:lnTo>
                  <a:lnTo>
                    <a:pt x="470756" y="138684"/>
                  </a:lnTo>
                  <a:cubicBezTo>
                    <a:pt x="473610" y="142589"/>
                    <a:pt x="476368" y="146494"/>
                    <a:pt x="478937" y="150495"/>
                  </a:cubicBezTo>
                  <a:lnTo>
                    <a:pt x="509756" y="134398"/>
                  </a:lnTo>
                  <a:lnTo>
                    <a:pt x="515463" y="143923"/>
                  </a:lnTo>
                  <a:lnTo>
                    <a:pt x="486927" y="163640"/>
                  </a:lnTo>
                  <a:cubicBezTo>
                    <a:pt x="489780" y="168783"/>
                    <a:pt x="492444" y="173926"/>
                    <a:pt x="494917" y="179261"/>
                  </a:cubicBezTo>
                  <a:lnTo>
                    <a:pt x="527639" y="167449"/>
                  </a:lnTo>
                  <a:lnTo>
                    <a:pt x="532014" y="177641"/>
                  </a:lnTo>
                  <a:lnTo>
                    <a:pt x="500910" y="193262"/>
                  </a:lnTo>
                  <a:cubicBezTo>
                    <a:pt x="502622" y="197739"/>
                    <a:pt x="504239" y="202216"/>
                    <a:pt x="505666" y="206788"/>
                  </a:cubicBezTo>
                  <a:lnTo>
                    <a:pt x="539624" y="199168"/>
                  </a:lnTo>
                  <a:lnTo>
                    <a:pt x="542668" y="209740"/>
                  </a:lnTo>
                  <a:lnTo>
                    <a:pt x="509756" y="221361"/>
                  </a:lnTo>
                  <a:cubicBezTo>
                    <a:pt x="511183" y="227076"/>
                    <a:pt x="512419" y="232696"/>
                    <a:pt x="513371" y="238506"/>
                  </a:cubicBezTo>
                  <a:lnTo>
                    <a:pt x="548090" y="235648"/>
                  </a:lnTo>
                  <a:lnTo>
                    <a:pt x="549612" y="246507"/>
                  </a:lnTo>
                  <a:lnTo>
                    <a:pt x="515558" y="253555"/>
                  </a:lnTo>
                  <a:cubicBezTo>
                    <a:pt x="516129" y="258318"/>
                    <a:pt x="516510" y="263080"/>
                    <a:pt x="516795" y="267843"/>
                  </a:cubicBezTo>
                  <a:lnTo>
                    <a:pt x="551419" y="269367"/>
                  </a:lnTo>
                  <a:lnTo>
                    <a:pt x="551419" y="280321"/>
                  </a:lnTo>
                  <a:lnTo>
                    <a:pt x="516700" y="283083"/>
                  </a:lnTo>
                  <a:cubicBezTo>
                    <a:pt x="516700" y="288925"/>
                    <a:pt x="516414" y="294735"/>
                    <a:pt x="515844" y="300514"/>
                  </a:cubicBezTo>
                  <a:lnTo>
                    <a:pt x="549992" y="306800"/>
                  </a:lnTo>
                  <a:lnTo>
                    <a:pt x="548756" y="317754"/>
                  </a:lnTo>
                  <a:lnTo>
                    <a:pt x="514036" y="315659"/>
                  </a:lnTo>
                  <a:cubicBezTo>
                    <a:pt x="513371" y="320421"/>
                    <a:pt x="512514" y="325184"/>
                    <a:pt x="511468" y="329755"/>
                  </a:cubicBezTo>
                  <a:lnTo>
                    <a:pt x="544570" y="340233"/>
                  </a:lnTo>
                  <a:lnTo>
                    <a:pt x="542002" y="350901"/>
                  </a:lnTo>
                  <a:lnTo>
                    <a:pt x="507758" y="344519"/>
                  </a:lnTo>
                  <a:cubicBezTo>
                    <a:pt x="506236" y="350139"/>
                    <a:pt x="504429" y="355663"/>
                    <a:pt x="502432" y="361188"/>
                  </a:cubicBezTo>
                  <a:lnTo>
                    <a:pt x="533822" y="376047"/>
                  </a:lnTo>
                  <a:lnTo>
                    <a:pt x="529731" y="386334"/>
                  </a:lnTo>
                  <a:lnTo>
                    <a:pt x="496724" y="375380"/>
                  </a:lnTo>
                  <a:cubicBezTo>
                    <a:pt x="494822" y="379762"/>
                    <a:pt x="492729" y="384048"/>
                    <a:pt x="490637" y="388334"/>
                  </a:cubicBezTo>
                  <a:lnTo>
                    <a:pt x="519934" y="407384"/>
                  </a:lnTo>
                  <a:lnTo>
                    <a:pt x="514607" y="416909"/>
                  </a:lnTo>
                  <a:lnTo>
                    <a:pt x="483312" y="401955"/>
                  </a:lnTo>
                  <a:cubicBezTo>
                    <a:pt x="480268" y="407003"/>
                    <a:pt x="477129" y="411480"/>
                    <a:pt x="473800" y="416623"/>
                  </a:cubicBezTo>
                  <a:lnTo>
                    <a:pt x="500244" y="439103"/>
                  </a:lnTo>
                  <a:lnTo>
                    <a:pt x="493680" y="447961"/>
                  </a:lnTo>
                  <a:lnTo>
                    <a:pt x="465144" y="428911"/>
                  </a:lnTo>
                  <a:cubicBezTo>
                    <a:pt x="462195" y="432625"/>
                    <a:pt x="459056" y="436340"/>
                    <a:pt x="455632" y="439865"/>
                  </a:cubicBezTo>
                  <a:lnTo>
                    <a:pt x="479127" y="465487"/>
                  </a:lnTo>
                  <a:lnTo>
                    <a:pt x="471517" y="473393"/>
                  </a:lnTo>
                  <a:lnTo>
                    <a:pt x="445168" y="450818"/>
                  </a:lnTo>
                  <a:cubicBezTo>
                    <a:pt x="440888" y="454914"/>
                    <a:pt x="436608" y="458819"/>
                    <a:pt x="432137" y="462534"/>
                  </a:cubicBezTo>
                  <a:lnTo>
                    <a:pt x="451922" y="491109"/>
                  </a:lnTo>
                  <a:lnTo>
                    <a:pt x="443266" y="497967"/>
                  </a:lnTo>
                  <a:lnTo>
                    <a:pt x="420152" y="471964"/>
                  </a:lnTo>
                  <a:cubicBezTo>
                    <a:pt x="416347" y="474726"/>
                    <a:pt x="412352" y="477488"/>
                    <a:pt x="408356" y="480060"/>
                  </a:cubicBezTo>
                  <a:lnTo>
                    <a:pt x="424527" y="510921"/>
                  </a:lnTo>
                  <a:lnTo>
                    <a:pt x="415015" y="516636"/>
                  </a:lnTo>
                  <a:lnTo>
                    <a:pt x="395325" y="488061"/>
                  </a:lnTo>
                  <a:cubicBezTo>
                    <a:pt x="390283" y="490919"/>
                    <a:pt x="385052" y="493586"/>
                    <a:pt x="379820" y="496062"/>
                  </a:cubicBezTo>
                  <a:lnTo>
                    <a:pt x="391520" y="528828"/>
                  </a:lnTo>
                  <a:lnTo>
                    <a:pt x="381437" y="533210"/>
                  </a:lnTo>
                  <a:lnTo>
                    <a:pt x="365837" y="502063"/>
                  </a:lnTo>
                  <a:cubicBezTo>
                    <a:pt x="361366" y="503777"/>
                    <a:pt x="356896" y="505397"/>
                    <a:pt x="352330" y="506920"/>
                  </a:cubicBezTo>
                  <a:lnTo>
                    <a:pt x="359940" y="540925"/>
                  </a:lnTo>
                  <a:lnTo>
                    <a:pt x="349286" y="543878"/>
                  </a:lnTo>
                  <a:lnTo>
                    <a:pt x="337681" y="511111"/>
                  </a:lnTo>
                  <a:cubicBezTo>
                    <a:pt x="332069" y="512540"/>
                    <a:pt x="326362" y="513778"/>
                    <a:pt x="320655" y="514826"/>
                  </a:cubicBezTo>
                  <a:lnTo>
                    <a:pt x="323508" y="549497"/>
                  </a:lnTo>
                  <a:lnTo>
                    <a:pt x="312569" y="551021"/>
                  </a:lnTo>
                  <a:lnTo>
                    <a:pt x="305625" y="516922"/>
                  </a:lnTo>
                  <a:cubicBezTo>
                    <a:pt x="300869" y="517493"/>
                    <a:pt x="296113" y="517874"/>
                    <a:pt x="291262" y="518160"/>
                  </a:cubicBezTo>
                  <a:lnTo>
                    <a:pt x="289835" y="552926"/>
                  </a:lnTo>
                  <a:lnTo>
                    <a:pt x="278801" y="552926"/>
                  </a:lnTo>
                  <a:lnTo>
                    <a:pt x="276138" y="518255"/>
                  </a:lnTo>
                  <a:cubicBezTo>
                    <a:pt x="270335" y="518255"/>
                    <a:pt x="264438" y="518255"/>
                    <a:pt x="258635" y="517303"/>
                  </a:cubicBezTo>
                  <a:lnTo>
                    <a:pt x="252452" y="551593"/>
                  </a:lnTo>
                  <a:lnTo>
                    <a:pt x="241513" y="550259"/>
                  </a:lnTo>
                  <a:lnTo>
                    <a:pt x="243511" y="515493"/>
                  </a:lnTo>
                  <a:cubicBezTo>
                    <a:pt x="238850" y="514826"/>
                    <a:pt x="233999" y="513969"/>
                    <a:pt x="229433" y="512921"/>
                  </a:cubicBezTo>
                  <a:lnTo>
                    <a:pt x="219255" y="545878"/>
                  </a:lnTo>
                  <a:lnTo>
                    <a:pt x="208601" y="543211"/>
                  </a:lnTo>
                  <a:lnTo>
                    <a:pt x="214879" y="508921"/>
                  </a:lnTo>
                  <a:cubicBezTo>
                    <a:pt x="209362" y="507397"/>
                    <a:pt x="203750" y="505587"/>
                    <a:pt x="198233" y="503587"/>
                  </a:cubicBezTo>
                  <a:lnTo>
                    <a:pt x="183394" y="535019"/>
                  </a:lnTo>
                  <a:lnTo>
                    <a:pt x="173216" y="530924"/>
                  </a:lnTo>
                  <a:lnTo>
                    <a:pt x="184155" y="497872"/>
                  </a:lnTo>
                  <a:cubicBezTo>
                    <a:pt x="179780" y="495967"/>
                    <a:pt x="175404" y="493966"/>
                    <a:pt x="171219" y="491776"/>
                  </a:cubicBezTo>
                  <a:lnTo>
                    <a:pt x="152194" y="521113"/>
                  </a:lnTo>
                  <a:lnTo>
                    <a:pt x="142682" y="515779"/>
                  </a:lnTo>
                  <a:lnTo>
                    <a:pt x="157616" y="484441"/>
                  </a:lnTo>
                  <a:cubicBezTo>
                    <a:pt x="152575" y="481394"/>
                    <a:pt x="148104" y="478250"/>
                    <a:pt x="142968" y="474916"/>
                  </a:cubicBezTo>
                  <a:lnTo>
                    <a:pt x="120424" y="501491"/>
                  </a:lnTo>
                  <a:lnTo>
                    <a:pt x="111673" y="494824"/>
                  </a:lnTo>
                  <a:lnTo>
                    <a:pt x="130697" y="465773"/>
                  </a:lnTo>
                  <a:cubicBezTo>
                    <a:pt x="126892" y="462820"/>
                    <a:pt x="123277" y="459677"/>
                    <a:pt x="119758" y="456248"/>
                  </a:cubicBezTo>
                  <a:lnTo>
                    <a:pt x="94170" y="479774"/>
                  </a:lnTo>
                  <a:lnTo>
                    <a:pt x="86275" y="472059"/>
                  </a:lnTo>
                  <a:lnTo>
                    <a:pt x="108819" y="445675"/>
                  </a:lnTo>
                  <a:cubicBezTo>
                    <a:pt x="104729" y="441484"/>
                    <a:pt x="100829" y="437102"/>
                    <a:pt x="97119" y="432625"/>
                  </a:cubicBezTo>
                  <a:lnTo>
                    <a:pt x="68583" y="452437"/>
                  </a:lnTo>
                  <a:lnTo>
                    <a:pt x="61829" y="443770"/>
                  </a:lnTo>
                  <a:lnTo>
                    <a:pt x="87892" y="421386"/>
                  </a:lnTo>
                  <a:cubicBezTo>
                    <a:pt x="85039" y="417481"/>
                    <a:pt x="82375" y="413575"/>
                    <a:pt x="79712" y="409480"/>
                  </a:cubicBezTo>
                  <a:lnTo>
                    <a:pt x="48892" y="425672"/>
                  </a:lnTo>
                  <a:lnTo>
                    <a:pt x="43280" y="416147"/>
                  </a:lnTo>
                  <a:lnTo>
                    <a:pt x="71817" y="396431"/>
                  </a:lnTo>
                  <a:cubicBezTo>
                    <a:pt x="68963" y="391382"/>
                    <a:pt x="66300" y="386144"/>
                    <a:pt x="63922" y="380905"/>
                  </a:cubicBezTo>
                  <a:lnTo>
                    <a:pt x="31105" y="392620"/>
                  </a:lnTo>
                  <a:lnTo>
                    <a:pt x="26824" y="382524"/>
                  </a:lnTo>
                  <a:lnTo>
                    <a:pt x="57929" y="366903"/>
                  </a:lnTo>
                  <a:cubicBezTo>
                    <a:pt x="56122" y="362426"/>
                    <a:pt x="54505" y="357949"/>
                    <a:pt x="53078" y="353378"/>
                  </a:cubicBezTo>
                  <a:lnTo>
                    <a:pt x="19119" y="360998"/>
                  </a:lnTo>
                  <a:lnTo>
                    <a:pt x="16076" y="350330"/>
                  </a:lnTo>
                  <a:lnTo>
                    <a:pt x="48892" y="338709"/>
                  </a:lnTo>
                  <a:cubicBezTo>
                    <a:pt x="47466" y="333089"/>
                    <a:pt x="46229" y="327374"/>
                    <a:pt x="45183" y="321659"/>
                  </a:cubicBezTo>
                  <a:lnTo>
                    <a:pt x="10558" y="324517"/>
                  </a:lnTo>
                  <a:lnTo>
                    <a:pt x="8941" y="313563"/>
                  </a:lnTo>
                  <a:lnTo>
                    <a:pt x="42995" y="306610"/>
                  </a:lnTo>
                  <a:cubicBezTo>
                    <a:pt x="42995" y="301847"/>
                    <a:pt x="42044" y="297085"/>
                    <a:pt x="41853" y="292227"/>
                  </a:cubicBezTo>
                  <a:lnTo>
                    <a:pt x="7134" y="290798"/>
                  </a:lnTo>
                  <a:lnTo>
                    <a:pt x="7134" y="279749"/>
                  </a:lnTo>
                  <a:lnTo>
                    <a:pt x="41758" y="277082"/>
                  </a:lnTo>
                  <a:cubicBezTo>
                    <a:pt x="41758" y="271272"/>
                    <a:pt x="41758" y="265367"/>
                    <a:pt x="42614" y="259556"/>
                  </a:cubicBezTo>
                  <a:lnTo>
                    <a:pt x="8466" y="253365"/>
                  </a:lnTo>
                  <a:lnTo>
                    <a:pt x="9798" y="242411"/>
                  </a:lnTo>
                  <a:lnTo>
                    <a:pt x="44422" y="244507"/>
                  </a:lnTo>
                  <a:cubicBezTo>
                    <a:pt x="45183" y="239744"/>
                    <a:pt x="46039" y="234982"/>
                    <a:pt x="47085" y="230315"/>
                  </a:cubicBezTo>
                  <a:lnTo>
                    <a:pt x="13888" y="219932"/>
                  </a:lnTo>
                  <a:lnTo>
                    <a:pt x="16551" y="209264"/>
                  </a:lnTo>
                  <a:lnTo>
                    <a:pt x="50700" y="215551"/>
                  </a:lnTo>
                  <a:cubicBezTo>
                    <a:pt x="52317" y="210026"/>
                    <a:pt x="54124" y="204406"/>
                    <a:pt x="56122" y="198977"/>
                  </a:cubicBezTo>
                  <a:lnTo>
                    <a:pt x="24541" y="183261"/>
                  </a:lnTo>
                  <a:lnTo>
                    <a:pt x="29012" y="173736"/>
                  </a:lnTo>
                  <a:lnTo>
                    <a:pt x="62019" y="184690"/>
                  </a:lnTo>
                  <a:cubicBezTo>
                    <a:pt x="63922" y="180308"/>
                    <a:pt x="66014" y="175927"/>
                    <a:pt x="68202" y="171736"/>
                  </a:cubicBezTo>
                  <a:lnTo>
                    <a:pt x="38810" y="152686"/>
                  </a:lnTo>
                  <a:lnTo>
                    <a:pt x="44136" y="143161"/>
                  </a:lnTo>
                  <a:lnTo>
                    <a:pt x="75526" y="158115"/>
                  </a:lnTo>
                  <a:cubicBezTo>
                    <a:pt x="78475" y="153067"/>
                    <a:pt x="81709" y="148590"/>
                    <a:pt x="85039" y="143446"/>
                  </a:cubicBezTo>
                  <a:lnTo>
                    <a:pt x="58500" y="120967"/>
                  </a:lnTo>
                  <a:lnTo>
                    <a:pt x="65063" y="112109"/>
                  </a:lnTo>
                  <a:lnTo>
                    <a:pt x="93600" y="131159"/>
                  </a:lnTo>
                  <a:cubicBezTo>
                    <a:pt x="96643" y="127349"/>
                    <a:pt x="99687" y="123730"/>
                    <a:pt x="103112" y="120205"/>
                  </a:cubicBezTo>
                  <a:lnTo>
                    <a:pt x="79522" y="94678"/>
                  </a:lnTo>
                  <a:lnTo>
                    <a:pt x="87131" y="86773"/>
                  </a:lnTo>
                  <a:lnTo>
                    <a:pt x="113575" y="109347"/>
                  </a:lnTo>
                  <a:cubicBezTo>
                    <a:pt x="117760" y="105251"/>
                    <a:pt x="122041" y="101346"/>
                    <a:pt x="126512" y="97631"/>
                  </a:cubicBezTo>
                  <a:lnTo>
                    <a:pt x="106726" y="69056"/>
                  </a:lnTo>
                  <a:lnTo>
                    <a:pt x="115382" y="62198"/>
                  </a:lnTo>
                  <a:lnTo>
                    <a:pt x="138497" y="88011"/>
                  </a:lnTo>
                  <a:cubicBezTo>
                    <a:pt x="142397" y="85153"/>
                    <a:pt x="146297" y="82486"/>
                    <a:pt x="150292" y="79915"/>
                  </a:cubicBezTo>
                  <a:lnTo>
                    <a:pt x="134216" y="49054"/>
                  </a:lnTo>
                  <a:lnTo>
                    <a:pt x="143729" y="43339"/>
                  </a:lnTo>
                  <a:lnTo>
                    <a:pt x="163419" y="71914"/>
                  </a:lnTo>
                  <a:cubicBezTo>
                    <a:pt x="168555" y="69056"/>
                    <a:pt x="173692" y="66389"/>
                    <a:pt x="179019" y="64008"/>
                  </a:cubicBezTo>
                  <a:lnTo>
                    <a:pt x="167224" y="31147"/>
                  </a:lnTo>
                  <a:lnTo>
                    <a:pt x="177402" y="26860"/>
                  </a:lnTo>
                  <a:lnTo>
                    <a:pt x="193001" y="58007"/>
                  </a:lnTo>
                  <a:cubicBezTo>
                    <a:pt x="197377" y="56293"/>
                    <a:pt x="201943" y="54673"/>
                    <a:pt x="206509" y="53149"/>
                  </a:cubicBezTo>
                  <a:lnTo>
                    <a:pt x="198899" y="19145"/>
                  </a:lnTo>
                  <a:lnTo>
                    <a:pt x="209457" y="16097"/>
                  </a:lnTo>
                  <a:lnTo>
                    <a:pt x="221062" y="48958"/>
                  </a:lnTo>
                  <a:cubicBezTo>
                    <a:pt x="226643" y="47498"/>
                    <a:pt x="232350" y="46260"/>
                    <a:pt x="238184" y="45244"/>
                  </a:cubicBezTo>
                  <a:lnTo>
                    <a:pt x="235331" y="10573"/>
                  </a:lnTo>
                  <a:lnTo>
                    <a:pt x="246174" y="8953"/>
                  </a:lnTo>
                  <a:lnTo>
                    <a:pt x="253213" y="43053"/>
                  </a:lnTo>
                  <a:cubicBezTo>
                    <a:pt x="257969" y="42608"/>
                    <a:pt x="262726" y="42228"/>
                    <a:pt x="267482" y="41910"/>
                  </a:cubicBezTo>
                  <a:lnTo>
                    <a:pt x="268908" y="7144"/>
                  </a:lnTo>
                  <a:lnTo>
                    <a:pt x="279942" y="7144"/>
                  </a:lnTo>
                  <a:lnTo>
                    <a:pt x="282701" y="41815"/>
                  </a:lnTo>
                  <a:cubicBezTo>
                    <a:pt x="288472" y="41815"/>
                    <a:pt x="294274" y="42100"/>
                    <a:pt x="300108" y="42672"/>
                  </a:cubicBezTo>
                  <a:lnTo>
                    <a:pt x="306291" y="8477"/>
                  </a:lnTo>
                  <a:lnTo>
                    <a:pt x="317230" y="9811"/>
                  </a:lnTo>
                  <a:lnTo>
                    <a:pt x="315233" y="44482"/>
                  </a:lnTo>
                  <a:cubicBezTo>
                    <a:pt x="319894" y="45244"/>
                    <a:pt x="324745" y="46101"/>
                    <a:pt x="329311" y="47149"/>
                  </a:cubicBezTo>
                  <a:lnTo>
                    <a:pt x="339774" y="13906"/>
                  </a:lnTo>
                  <a:lnTo>
                    <a:pt x="350428" y="16573"/>
                  </a:lnTo>
                  <a:lnTo>
                    <a:pt x="344054" y="50768"/>
                  </a:lnTo>
                  <a:cubicBezTo>
                    <a:pt x="349667" y="52388"/>
                    <a:pt x="355184" y="54197"/>
                    <a:pt x="360701" y="56198"/>
                  </a:cubicBezTo>
                  <a:lnTo>
                    <a:pt x="375540" y="24670"/>
                  </a:lnTo>
                  <a:close/>
                  <a:moveTo>
                    <a:pt x="279372" y="236887"/>
                  </a:moveTo>
                  <a:cubicBezTo>
                    <a:pt x="255626" y="236887"/>
                    <a:pt x="236377" y="256162"/>
                    <a:pt x="236377" y="279940"/>
                  </a:cubicBezTo>
                  <a:cubicBezTo>
                    <a:pt x="236377" y="303717"/>
                    <a:pt x="255626" y="322993"/>
                    <a:pt x="279372" y="322993"/>
                  </a:cubicBezTo>
                  <a:cubicBezTo>
                    <a:pt x="303117" y="322993"/>
                    <a:pt x="322367" y="303717"/>
                    <a:pt x="322367" y="279940"/>
                  </a:cubicBezTo>
                  <a:cubicBezTo>
                    <a:pt x="322367" y="256162"/>
                    <a:pt x="303117" y="236887"/>
                    <a:pt x="279372" y="236887"/>
                  </a:cubicBezTo>
                  <a:close/>
                  <a:moveTo>
                    <a:pt x="309240" y="205073"/>
                  </a:moveTo>
                  <a:cubicBezTo>
                    <a:pt x="321803" y="210104"/>
                    <a:pt x="332894" y="218229"/>
                    <a:pt x="341486" y="228695"/>
                  </a:cubicBezTo>
                  <a:lnTo>
                    <a:pt x="432993" y="189452"/>
                  </a:lnTo>
                  <a:cubicBezTo>
                    <a:pt x="391847" y="119347"/>
                    <a:pt x="308565" y="85974"/>
                    <a:pt x="230479" y="108299"/>
                  </a:cubicBezTo>
                  <a:lnTo>
                    <a:pt x="269669" y="199930"/>
                  </a:lnTo>
                  <a:cubicBezTo>
                    <a:pt x="283082" y="198291"/>
                    <a:pt x="296690" y="200059"/>
                    <a:pt x="309240" y="205073"/>
                  </a:cubicBezTo>
                  <a:close/>
                  <a:moveTo>
                    <a:pt x="359274" y="270224"/>
                  </a:moveTo>
                  <a:cubicBezTo>
                    <a:pt x="360885" y="283663"/>
                    <a:pt x="359085" y="297291"/>
                    <a:pt x="354042" y="309848"/>
                  </a:cubicBezTo>
                  <a:cubicBezTo>
                    <a:pt x="349051" y="322446"/>
                    <a:pt x="340931" y="333560"/>
                    <a:pt x="330452" y="342138"/>
                  </a:cubicBezTo>
                  <a:lnTo>
                    <a:pt x="369642" y="433769"/>
                  </a:lnTo>
                  <a:cubicBezTo>
                    <a:pt x="439704" y="392562"/>
                    <a:pt x="473072" y="309127"/>
                    <a:pt x="450781" y="230886"/>
                  </a:cubicBezTo>
                  <a:lnTo>
                    <a:pt x="359274" y="270129"/>
                  </a:lnTo>
                  <a:close/>
                  <a:moveTo>
                    <a:pt x="288979" y="359950"/>
                  </a:moveTo>
                  <a:cubicBezTo>
                    <a:pt x="261752" y="363221"/>
                    <a:pt x="234722" y="352466"/>
                    <a:pt x="217162" y="331375"/>
                  </a:cubicBezTo>
                  <a:lnTo>
                    <a:pt x="125656" y="370523"/>
                  </a:lnTo>
                  <a:cubicBezTo>
                    <a:pt x="166819" y="440610"/>
                    <a:pt x="250065" y="474008"/>
                    <a:pt x="328169" y="451771"/>
                  </a:cubicBezTo>
                  <a:lnTo>
                    <a:pt x="288979" y="360140"/>
                  </a:lnTo>
                  <a:close/>
                  <a:moveTo>
                    <a:pt x="199470" y="289560"/>
                  </a:moveTo>
                  <a:cubicBezTo>
                    <a:pt x="197791" y="276130"/>
                    <a:pt x="199559" y="262492"/>
                    <a:pt x="204606" y="249936"/>
                  </a:cubicBezTo>
                  <a:cubicBezTo>
                    <a:pt x="209655" y="237370"/>
                    <a:pt x="217765" y="226269"/>
                    <a:pt x="228196" y="217646"/>
                  </a:cubicBezTo>
                  <a:lnTo>
                    <a:pt x="189006" y="126111"/>
                  </a:lnTo>
                  <a:cubicBezTo>
                    <a:pt x="119014" y="167330"/>
                    <a:pt x="85661" y="250688"/>
                    <a:pt x="107868" y="328898"/>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32" name="Freeform 31">
              <a:extLst>
                <a:ext uri="{FF2B5EF4-FFF2-40B4-BE49-F238E27FC236}">
                  <a16:creationId xmlns="" xmlns:a16="http://schemas.microsoft.com/office/drawing/2014/main" id="{52D9EEBA-D57A-5347-8F62-84512B644B29}"/>
                </a:ext>
              </a:extLst>
            </p:cNvPr>
            <p:cNvSpPr/>
            <p:nvPr/>
          </p:nvSpPr>
          <p:spPr>
            <a:xfrm>
              <a:off x="4136263" y="4126163"/>
              <a:ext cx="627110" cy="617131"/>
            </a:xfrm>
            <a:custGeom>
              <a:avLst/>
              <a:gdLst>
                <a:gd name="connsiteX0" fmla="*/ 384671 w 551704"/>
                <a:gd name="connsiteY0" fmla="*/ 19240 h 542925"/>
                <a:gd name="connsiteX1" fmla="*/ 385337 w 551704"/>
                <a:gd name="connsiteY1" fmla="*/ 19240 h 542925"/>
                <a:gd name="connsiteX2" fmla="*/ 373732 w 551704"/>
                <a:gd name="connsiteY2" fmla="*/ 54292 h 542925"/>
                <a:gd name="connsiteX3" fmla="*/ 373066 w 551704"/>
                <a:gd name="connsiteY3" fmla="*/ 54292 h 542925"/>
                <a:gd name="connsiteX4" fmla="*/ 384671 w 551704"/>
                <a:gd name="connsiteY4" fmla="*/ 19336 h 542925"/>
                <a:gd name="connsiteX5" fmla="*/ 414730 w 551704"/>
                <a:gd name="connsiteY5" fmla="*/ 34100 h 542925"/>
                <a:gd name="connsiteX6" fmla="*/ 415586 w 551704"/>
                <a:gd name="connsiteY6" fmla="*/ 34100 h 542925"/>
                <a:gd name="connsiteX7" fmla="*/ 399605 w 551704"/>
                <a:gd name="connsiteY7" fmla="*/ 67818 h 542925"/>
                <a:gd name="connsiteX8" fmla="*/ 398749 w 551704"/>
                <a:gd name="connsiteY8" fmla="*/ 67342 h 542925"/>
                <a:gd name="connsiteX9" fmla="*/ 414539 w 551704"/>
                <a:gd name="connsiteY9" fmla="*/ 34100 h 542925"/>
                <a:gd name="connsiteX10" fmla="*/ 445549 w 551704"/>
                <a:gd name="connsiteY10" fmla="*/ 54864 h 542925"/>
                <a:gd name="connsiteX11" fmla="*/ 446595 w 551704"/>
                <a:gd name="connsiteY11" fmla="*/ 55626 h 542925"/>
                <a:gd name="connsiteX12" fmla="*/ 426525 w 551704"/>
                <a:gd name="connsiteY12" fmla="*/ 86106 h 542925"/>
                <a:gd name="connsiteX13" fmla="*/ 425478 w 551704"/>
                <a:gd name="connsiteY13" fmla="*/ 85344 h 542925"/>
                <a:gd name="connsiteX14" fmla="*/ 445549 w 551704"/>
                <a:gd name="connsiteY14" fmla="*/ 54864 h 542925"/>
                <a:gd name="connsiteX15" fmla="*/ 470851 w 551704"/>
                <a:gd name="connsiteY15" fmla="*/ 76962 h 542925"/>
                <a:gd name="connsiteX16" fmla="*/ 471898 w 551704"/>
                <a:gd name="connsiteY16" fmla="*/ 78010 h 542925"/>
                <a:gd name="connsiteX17" fmla="*/ 448307 w 551704"/>
                <a:gd name="connsiteY17" fmla="*/ 105632 h 542925"/>
                <a:gd name="connsiteX18" fmla="*/ 447261 w 551704"/>
                <a:gd name="connsiteY18" fmla="*/ 104585 h 542925"/>
                <a:gd name="connsiteX19" fmla="*/ 470851 w 551704"/>
                <a:gd name="connsiteY19" fmla="*/ 76962 h 542925"/>
                <a:gd name="connsiteX20" fmla="*/ 495297 w 551704"/>
                <a:gd name="connsiteY20" fmla="*/ 104965 h 542925"/>
                <a:gd name="connsiteX21" fmla="*/ 468378 w 551704"/>
                <a:gd name="connsiteY21" fmla="*/ 128969 h 542925"/>
                <a:gd name="connsiteX22" fmla="*/ 469424 w 551704"/>
                <a:gd name="connsiteY22" fmla="*/ 130302 h 542925"/>
                <a:gd name="connsiteX23" fmla="*/ 496439 w 551704"/>
                <a:gd name="connsiteY23" fmla="*/ 106299 h 542925"/>
                <a:gd name="connsiteX24" fmla="*/ 495297 w 551704"/>
                <a:gd name="connsiteY24" fmla="*/ 104965 h 542925"/>
                <a:gd name="connsiteX25" fmla="*/ 514322 w 551704"/>
                <a:gd name="connsiteY25" fmla="*/ 132969 h 542925"/>
                <a:gd name="connsiteX26" fmla="*/ 515368 w 551704"/>
                <a:gd name="connsiteY26" fmla="*/ 134588 h 542925"/>
                <a:gd name="connsiteX27" fmla="*/ 486832 w 551704"/>
                <a:gd name="connsiteY27" fmla="*/ 154496 h 542925"/>
                <a:gd name="connsiteX28" fmla="*/ 485310 w 551704"/>
                <a:gd name="connsiteY28" fmla="*/ 153162 h 542925"/>
                <a:gd name="connsiteX29" fmla="*/ 514797 w 551704"/>
                <a:gd name="connsiteY29" fmla="*/ 132969 h 542925"/>
                <a:gd name="connsiteX30" fmla="*/ 530873 w 551704"/>
                <a:gd name="connsiteY30" fmla="*/ 166402 h 542925"/>
                <a:gd name="connsiteX31" fmla="*/ 531729 w 551704"/>
                <a:gd name="connsiteY31" fmla="*/ 168307 h 542925"/>
                <a:gd name="connsiteX32" fmla="*/ 500434 w 551704"/>
                <a:gd name="connsiteY32" fmla="*/ 184023 h 542925"/>
                <a:gd name="connsiteX33" fmla="*/ 499293 w 551704"/>
                <a:gd name="connsiteY33" fmla="*/ 182213 h 542925"/>
                <a:gd name="connsiteX34" fmla="*/ 530873 w 551704"/>
                <a:gd name="connsiteY34" fmla="*/ 166402 h 542925"/>
                <a:gd name="connsiteX35" fmla="*/ 541812 w 551704"/>
                <a:gd name="connsiteY35" fmla="*/ 198311 h 542925"/>
                <a:gd name="connsiteX36" fmla="*/ 542383 w 551704"/>
                <a:gd name="connsiteY36" fmla="*/ 200406 h 542925"/>
                <a:gd name="connsiteX37" fmla="*/ 509090 w 551704"/>
                <a:gd name="connsiteY37" fmla="*/ 211931 h 542925"/>
                <a:gd name="connsiteX38" fmla="*/ 508424 w 551704"/>
                <a:gd name="connsiteY38" fmla="*/ 209836 h 542925"/>
                <a:gd name="connsiteX39" fmla="*/ 541526 w 551704"/>
                <a:gd name="connsiteY39" fmla="*/ 198120 h 542925"/>
                <a:gd name="connsiteX40" fmla="*/ 549231 w 551704"/>
                <a:gd name="connsiteY40" fmla="*/ 234982 h 542925"/>
                <a:gd name="connsiteX41" fmla="*/ 549231 w 551704"/>
                <a:gd name="connsiteY41" fmla="*/ 237173 h 542925"/>
                <a:gd name="connsiteX42" fmla="*/ 515178 w 551704"/>
                <a:gd name="connsiteY42" fmla="*/ 244221 h 542925"/>
                <a:gd name="connsiteX43" fmla="*/ 515178 w 551704"/>
                <a:gd name="connsiteY43" fmla="*/ 242030 h 542925"/>
                <a:gd name="connsiteX44" fmla="*/ 549327 w 551704"/>
                <a:gd name="connsiteY44" fmla="*/ 234982 h 542925"/>
                <a:gd name="connsiteX45" fmla="*/ 551514 w 551704"/>
                <a:gd name="connsiteY45" fmla="*/ 268700 h 542925"/>
                <a:gd name="connsiteX46" fmla="*/ 551514 w 551704"/>
                <a:gd name="connsiteY46" fmla="*/ 270986 h 542925"/>
                <a:gd name="connsiteX47" fmla="*/ 516890 w 551704"/>
                <a:gd name="connsiteY47" fmla="*/ 273748 h 542925"/>
                <a:gd name="connsiteX48" fmla="*/ 516129 w 551704"/>
                <a:gd name="connsiteY48" fmla="*/ 288988 h 542925"/>
                <a:gd name="connsiteX49" fmla="*/ 516129 w 551704"/>
                <a:gd name="connsiteY49" fmla="*/ 291275 h 542925"/>
                <a:gd name="connsiteX50" fmla="*/ 516129 w 551704"/>
                <a:gd name="connsiteY50" fmla="*/ 293465 h 542925"/>
                <a:gd name="connsiteX51" fmla="*/ 516129 w 551704"/>
                <a:gd name="connsiteY51" fmla="*/ 288893 h 542925"/>
                <a:gd name="connsiteX52" fmla="*/ 517080 w 551704"/>
                <a:gd name="connsiteY52" fmla="*/ 271463 h 542925"/>
                <a:gd name="connsiteX53" fmla="*/ 551609 w 551704"/>
                <a:gd name="connsiteY53" fmla="*/ 268700 h 542925"/>
                <a:gd name="connsiteX54" fmla="*/ 549992 w 551704"/>
                <a:gd name="connsiteY54" fmla="*/ 297275 h 542925"/>
                <a:gd name="connsiteX55" fmla="*/ 549992 w 551704"/>
                <a:gd name="connsiteY55" fmla="*/ 297275 h 542925"/>
                <a:gd name="connsiteX56" fmla="*/ 548756 w 551704"/>
                <a:gd name="connsiteY56" fmla="*/ 308229 h 542925"/>
                <a:gd name="connsiteX57" fmla="*/ 514036 w 551704"/>
                <a:gd name="connsiteY57" fmla="*/ 306134 h 542925"/>
                <a:gd name="connsiteX58" fmla="*/ 511944 w 551704"/>
                <a:gd name="connsiteY58" fmla="*/ 318135 h 542925"/>
                <a:gd name="connsiteX59" fmla="*/ 511468 w 551704"/>
                <a:gd name="connsiteY59" fmla="*/ 320326 h 542925"/>
                <a:gd name="connsiteX60" fmla="*/ 510612 w 551704"/>
                <a:gd name="connsiteY60" fmla="*/ 322326 h 542925"/>
                <a:gd name="connsiteX61" fmla="*/ 514036 w 551704"/>
                <a:gd name="connsiteY61" fmla="*/ 303848 h 542925"/>
                <a:gd name="connsiteX62" fmla="*/ 548756 w 551704"/>
                <a:gd name="connsiteY62" fmla="*/ 305848 h 542925"/>
                <a:gd name="connsiteX63" fmla="*/ 549802 w 551704"/>
                <a:gd name="connsiteY63" fmla="*/ 297180 h 542925"/>
                <a:gd name="connsiteX64" fmla="*/ 544285 w 551704"/>
                <a:gd name="connsiteY64" fmla="*/ 330613 h 542925"/>
                <a:gd name="connsiteX65" fmla="*/ 544285 w 551704"/>
                <a:gd name="connsiteY65" fmla="*/ 330613 h 542925"/>
                <a:gd name="connsiteX66" fmla="*/ 541717 w 551704"/>
                <a:gd name="connsiteY66" fmla="*/ 341281 h 542925"/>
                <a:gd name="connsiteX67" fmla="*/ 507473 w 551704"/>
                <a:gd name="connsiteY67" fmla="*/ 334899 h 542925"/>
                <a:gd name="connsiteX68" fmla="*/ 502812 w 551704"/>
                <a:gd name="connsiteY68" fmla="*/ 349663 h 542925"/>
                <a:gd name="connsiteX69" fmla="*/ 502146 w 551704"/>
                <a:gd name="connsiteY69" fmla="*/ 351663 h 542925"/>
                <a:gd name="connsiteX70" fmla="*/ 500815 w 551704"/>
                <a:gd name="connsiteY70" fmla="*/ 353282 h 542925"/>
                <a:gd name="connsiteX71" fmla="*/ 507473 w 551704"/>
                <a:gd name="connsiteY71" fmla="*/ 332613 h 542925"/>
                <a:gd name="connsiteX72" fmla="*/ 541717 w 551704"/>
                <a:gd name="connsiteY72" fmla="*/ 338995 h 542925"/>
                <a:gd name="connsiteX73" fmla="*/ 543809 w 551704"/>
                <a:gd name="connsiteY73" fmla="*/ 330422 h 542925"/>
                <a:gd name="connsiteX74" fmla="*/ 532775 w 551704"/>
                <a:gd name="connsiteY74" fmla="*/ 366332 h 542925"/>
                <a:gd name="connsiteX75" fmla="*/ 533536 w 551704"/>
                <a:gd name="connsiteY75" fmla="*/ 366332 h 542925"/>
                <a:gd name="connsiteX76" fmla="*/ 529446 w 551704"/>
                <a:gd name="connsiteY76" fmla="*/ 376618 h 542925"/>
                <a:gd name="connsiteX77" fmla="*/ 496439 w 551704"/>
                <a:gd name="connsiteY77" fmla="*/ 365665 h 542925"/>
                <a:gd name="connsiteX78" fmla="*/ 491207 w 551704"/>
                <a:gd name="connsiteY78" fmla="*/ 376904 h 542925"/>
                <a:gd name="connsiteX79" fmla="*/ 490256 w 551704"/>
                <a:gd name="connsiteY79" fmla="*/ 378619 h 542925"/>
                <a:gd name="connsiteX80" fmla="*/ 488734 w 551704"/>
                <a:gd name="connsiteY80" fmla="*/ 379857 h 542925"/>
                <a:gd name="connsiteX81" fmla="*/ 496439 w 551704"/>
                <a:gd name="connsiteY81" fmla="*/ 363284 h 542925"/>
                <a:gd name="connsiteX82" fmla="*/ 529446 w 551704"/>
                <a:gd name="connsiteY82" fmla="*/ 374333 h 542925"/>
                <a:gd name="connsiteX83" fmla="*/ 532775 w 551704"/>
                <a:gd name="connsiteY83" fmla="*/ 365950 h 542925"/>
                <a:gd name="connsiteX84" fmla="*/ 518697 w 551704"/>
                <a:gd name="connsiteY84" fmla="*/ 397002 h 542925"/>
                <a:gd name="connsiteX85" fmla="*/ 519649 w 551704"/>
                <a:gd name="connsiteY85" fmla="*/ 397669 h 542925"/>
                <a:gd name="connsiteX86" fmla="*/ 514322 w 551704"/>
                <a:gd name="connsiteY86" fmla="*/ 407194 h 542925"/>
                <a:gd name="connsiteX87" fmla="*/ 482932 w 551704"/>
                <a:gd name="connsiteY87" fmla="*/ 392239 h 542925"/>
                <a:gd name="connsiteX88" fmla="*/ 474466 w 551704"/>
                <a:gd name="connsiteY88" fmla="*/ 405479 h 542925"/>
                <a:gd name="connsiteX89" fmla="*/ 473419 w 551704"/>
                <a:gd name="connsiteY89" fmla="*/ 407003 h 542925"/>
                <a:gd name="connsiteX90" fmla="*/ 471612 w 551704"/>
                <a:gd name="connsiteY90" fmla="*/ 407575 h 542925"/>
                <a:gd name="connsiteX91" fmla="*/ 482932 w 551704"/>
                <a:gd name="connsiteY91" fmla="*/ 389954 h 542925"/>
                <a:gd name="connsiteX92" fmla="*/ 514322 w 551704"/>
                <a:gd name="connsiteY92" fmla="*/ 404908 h 542925"/>
                <a:gd name="connsiteX93" fmla="*/ 518697 w 551704"/>
                <a:gd name="connsiteY93" fmla="*/ 396907 h 542925"/>
                <a:gd name="connsiteX94" fmla="*/ 498912 w 551704"/>
                <a:gd name="connsiteY94" fmla="*/ 428625 h 542925"/>
                <a:gd name="connsiteX95" fmla="*/ 500054 w 551704"/>
                <a:gd name="connsiteY95" fmla="*/ 429482 h 542925"/>
                <a:gd name="connsiteX96" fmla="*/ 493395 w 551704"/>
                <a:gd name="connsiteY96" fmla="*/ 438341 h 542925"/>
                <a:gd name="connsiteX97" fmla="*/ 464859 w 551704"/>
                <a:gd name="connsiteY97" fmla="*/ 419291 h 542925"/>
                <a:gd name="connsiteX98" fmla="*/ 456583 w 551704"/>
                <a:gd name="connsiteY98" fmla="*/ 428816 h 542925"/>
                <a:gd name="connsiteX99" fmla="*/ 455537 w 551704"/>
                <a:gd name="connsiteY99" fmla="*/ 429959 h 542925"/>
                <a:gd name="connsiteX100" fmla="*/ 453539 w 551704"/>
                <a:gd name="connsiteY100" fmla="*/ 429959 h 542925"/>
                <a:gd name="connsiteX101" fmla="*/ 464859 w 551704"/>
                <a:gd name="connsiteY101" fmla="*/ 416624 h 542925"/>
                <a:gd name="connsiteX102" fmla="*/ 493395 w 551704"/>
                <a:gd name="connsiteY102" fmla="*/ 435674 h 542925"/>
                <a:gd name="connsiteX103" fmla="*/ 498912 w 551704"/>
                <a:gd name="connsiteY103" fmla="*/ 428244 h 542925"/>
                <a:gd name="connsiteX104" fmla="*/ 477510 w 551704"/>
                <a:gd name="connsiteY104" fmla="*/ 454533 h 542925"/>
                <a:gd name="connsiteX105" fmla="*/ 478556 w 551704"/>
                <a:gd name="connsiteY105" fmla="*/ 455771 h 542925"/>
                <a:gd name="connsiteX106" fmla="*/ 470946 w 551704"/>
                <a:gd name="connsiteY106" fmla="*/ 463677 h 542925"/>
                <a:gd name="connsiteX107" fmla="*/ 444598 w 551704"/>
                <a:gd name="connsiteY107" fmla="*/ 441103 h 542925"/>
                <a:gd name="connsiteX108" fmla="*/ 432612 w 551704"/>
                <a:gd name="connsiteY108" fmla="*/ 451961 h 542925"/>
                <a:gd name="connsiteX109" fmla="*/ 431566 w 551704"/>
                <a:gd name="connsiteY109" fmla="*/ 452818 h 542925"/>
                <a:gd name="connsiteX110" fmla="*/ 429473 w 551704"/>
                <a:gd name="connsiteY110" fmla="*/ 452247 h 542925"/>
                <a:gd name="connsiteX111" fmla="*/ 444598 w 551704"/>
                <a:gd name="connsiteY111" fmla="*/ 438817 h 542925"/>
                <a:gd name="connsiteX112" fmla="*/ 470946 w 551704"/>
                <a:gd name="connsiteY112" fmla="*/ 461391 h 542925"/>
                <a:gd name="connsiteX113" fmla="*/ 477510 w 551704"/>
                <a:gd name="connsiteY113" fmla="*/ 454533 h 542925"/>
                <a:gd name="connsiteX114" fmla="*/ 450305 w 551704"/>
                <a:gd name="connsiteY114" fmla="*/ 479965 h 542925"/>
                <a:gd name="connsiteX115" fmla="*/ 442695 w 551704"/>
                <a:gd name="connsiteY115" fmla="*/ 485966 h 542925"/>
                <a:gd name="connsiteX116" fmla="*/ 419771 w 551704"/>
                <a:gd name="connsiteY116" fmla="*/ 459581 h 542925"/>
                <a:gd name="connsiteX117" fmla="*/ 406169 w 551704"/>
                <a:gd name="connsiteY117" fmla="*/ 469106 h 542925"/>
                <a:gd name="connsiteX118" fmla="*/ 407976 w 551704"/>
                <a:gd name="connsiteY118" fmla="*/ 470345 h 542925"/>
                <a:gd name="connsiteX119" fmla="*/ 408927 w 551704"/>
                <a:gd name="connsiteY119" fmla="*/ 469678 h 542925"/>
                <a:gd name="connsiteX120" fmla="*/ 419771 w 551704"/>
                <a:gd name="connsiteY120" fmla="*/ 462153 h 542925"/>
                <a:gd name="connsiteX121" fmla="*/ 442886 w 551704"/>
                <a:gd name="connsiteY121" fmla="*/ 488156 h 542925"/>
                <a:gd name="connsiteX122" fmla="*/ 451542 w 551704"/>
                <a:gd name="connsiteY122" fmla="*/ 481298 h 542925"/>
                <a:gd name="connsiteX123" fmla="*/ 450495 w 551704"/>
                <a:gd name="connsiteY123" fmla="*/ 479870 h 542925"/>
                <a:gd name="connsiteX124" fmla="*/ 423005 w 551704"/>
                <a:gd name="connsiteY124" fmla="*/ 499491 h 542925"/>
                <a:gd name="connsiteX125" fmla="*/ 423956 w 551704"/>
                <a:gd name="connsiteY125" fmla="*/ 501205 h 542925"/>
                <a:gd name="connsiteX126" fmla="*/ 414444 w 551704"/>
                <a:gd name="connsiteY126" fmla="*/ 506921 h 542925"/>
                <a:gd name="connsiteX127" fmla="*/ 394754 w 551704"/>
                <a:gd name="connsiteY127" fmla="*/ 478346 h 542925"/>
                <a:gd name="connsiteX128" fmla="*/ 379915 w 551704"/>
                <a:gd name="connsiteY128" fmla="*/ 486061 h 542925"/>
                <a:gd name="connsiteX129" fmla="*/ 379249 w 551704"/>
                <a:gd name="connsiteY129" fmla="*/ 486061 h 542925"/>
                <a:gd name="connsiteX130" fmla="*/ 377822 w 551704"/>
                <a:gd name="connsiteY130" fmla="*/ 484346 h 542925"/>
                <a:gd name="connsiteX131" fmla="*/ 394754 w 551704"/>
                <a:gd name="connsiteY131" fmla="*/ 475774 h 542925"/>
                <a:gd name="connsiteX132" fmla="*/ 414444 w 551704"/>
                <a:gd name="connsiteY132" fmla="*/ 504349 h 542925"/>
                <a:gd name="connsiteX133" fmla="*/ 423005 w 551704"/>
                <a:gd name="connsiteY133" fmla="*/ 499205 h 542925"/>
                <a:gd name="connsiteX134" fmla="*/ 390093 w 551704"/>
                <a:gd name="connsiteY134" fmla="*/ 516731 h 542925"/>
                <a:gd name="connsiteX135" fmla="*/ 380581 w 551704"/>
                <a:gd name="connsiteY135" fmla="*/ 520827 h 542925"/>
                <a:gd name="connsiteX136" fmla="*/ 364981 w 551704"/>
                <a:gd name="connsiteY136" fmla="*/ 489680 h 542925"/>
                <a:gd name="connsiteX137" fmla="*/ 351474 w 551704"/>
                <a:gd name="connsiteY137" fmla="*/ 494443 h 542925"/>
                <a:gd name="connsiteX138" fmla="*/ 350523 w 551704"/>
                <a:gd name="connsiteY138" fmla="*/ 494443 h 542925"/>
                <a:gd name="connsiteX139" fmla="*/ 351474 w 551704"/>
                <a:gd name="connsiteY139" fmla="*/ 496443 h 542925"/>
                <a:gd name="connsiteX140" fmla="*/ 351949 w 551704"/>
                <a:gd name="connsiteY140" fmla="*/ 496443 h 542925"/>
                <a:gd name="connsiteX141" fmla="*/ 364981 w 551704"/>
                <a:gd name="connsiteY141" fmla="*/ 491776 h 542925"/>
                <a:gd name="connsiteX142" fmla="*/ 380581 w 551704"/>
                <a:gd name="connsiteY142" fmla="*/ 522922 h 542925"/>
                <a:gd name="connsiteX143" fmla="*/ 390664 w 551704"/>
                <a:gd name="connsiteY143" fmla="*/ 518541 h 542925"/>
                <a:gd name="connsiteX144" fmla="*/ 390093 w 551704"/>
                <a:gd name="connsiteY144" fmla="*/ 516731 h 542925"/>
                <a:gd name="connsiteX145" fmla="*/ 358703 w 551704"/>
                <a:gd name="connsiteY145" fmla="*/ 528638 h 542925"/>
                <a:gd name="connsiteX146" fmla="*/ 359179 w 551704"/>
                <a:gd name="connsiteY146" fmla="*/ 530828 h 542925"/>
                <a:gd name="connsiteX147" fmla="*/ 348525 w 551704"/>
                <a:gd name="connsiteY147" fmla="*/ 533781 h 542925"/>
                <a:gd name="connsiteX148" fmla="*/ 336920 w 551704"/>
                <a:gd name="connsiteY148" fmla="*/ 501015 h 542925"/>
                <a:gd name="connsiteX149" fmla="*/ 320084 w 551704"/>
                <a:gd name="connsiteY149" fmla="*/ 504634 h 542925"/>
                <a:gd name="connsiteX150" fmla="*/ 320084 w 551704"/>
                <a:gd name="connsiteY150" fmla="*/ 502349 h 542925"/>
                <a:gd name="connsiteX151" fmla="*/ 337110 w 551704"/>
                <a:gd name="connsiteY151" fmla="*/ 498729 h 542925"/>
                <a:gd name="connsiteX152" fmla="*/ 348715 w 551704"/>
                <a:gd name="connsiteY152" fmla="*/ 531495 h 542925"/>
                <a:gd name="connsiteX153" fmla="*/ 358893 w 551704"/>
                <a:gd name="connsiteY153" fmla="*/ 528638 h 542925"/>
                <a:gd name="connsiteX154" fmla="*/ 322557 w 551704"/>
                <a:gd name="connsiteY154" fmla="*/ 537115 h 542925"/>
                <a:gd name="connsiteX155" fmla="*/ 311808 w 551704"/>
                <a:gd name="connsiteY155" fmla="*/ 538639 h 542925"/>
                <a:gd name="connsiteX156" fmla="*/ 304864 w 551704"/>
                <a:gd name="connsiteY156" fmla="*/ 504539 h 542925"/>
                <a:gd name="connsiteX157" fmla="*/ 290501 w 551704"/>
                <a:gd name="connsiteY157" fmla="*/ 505778 h 542925"/>
                <a:gd name="connsiteX158" fmla="*/ 289074 w 551704"/>
                <a:gd name="connsiteY158" fmla="*/ 540449 h 542925"/>
                <a:gd name="connsiteX159" fmla="*/ 278040 w 551704"/>
                <a:gd name="connsiteY159" fmla="*/ 540449 h 542925"/>
                <a:gd name="connsiteX160" fmla="*/ 275377 w 551704"/>
                <a:gd name="connsiteY160" fmla="*/ 505682 h 542925"/>
                <a:gd name="connsiteX161" fmla="*/ 257874 w 551704"/>
                <a:gd name="connsiteY161" fmla="*/ 504825 h 542925"/>
                <a:gd name="connsiteX162" fmla="*/ 251691 w 551704"/>
                <a:gd name="connsiteY162" fmla="*/ 539115 h 542925"/>
                <a:gd name="connsiteX163" fmla="*/ 240848 w 551704"/>
                <a:gd name="connsiteY163" fmla="*/ 537782 h 542925"/>
                <a:gd name="connsiteX164" fmla="*/ 240848 w 551704"/>
                <a:gd name="connsiteY164" fmla="*/ 540068 h 542925"/>
                <a:gd name="connsiteX165" fmla="*/ 251787 w 551704"/>
                <a:gd name="connsiteY165" fmla="*/ 541401 h 542925"/>
                <a:gd name="connsiteX166" fmla="*/ 257969 w 551704"/>
                <a:gd name="connsiteY166" fmla="*/ 507111 h 542925"/>
                <a:gd name="connsiteX167" fmla="*/ 275472 w 551704"/>
                <a:gd name="connsiteY167" fmla="*/ 508063 h 542925"/>
                <a:gd name="connsiteX168" fmla="*/ 278135 w 551704"/>
                <a:gd name="connsiteY168" fmla="*/ 542734 h 542925"/>
                <a:gd name="connsiteX169" fmla="*/ 289169 w 551704"/>
                <a:gd name="connsiteY169" fmla="*/ 542734 h 542925"/>
                <a:gd name="connsiteX170" fmla="*/ 290596 w 551704"/>
                <a:gd name="connsiteY170" fmla="*/ 507968 h 542925"/>
                <a:gd name="connsiteX171" fmla="*/ 304959 w 551704"/>
                <a:gd name="connsiteY171" fmla="*/ 506730 h 542925"/>
                <a:gd name="connsiteX172" fmla="*/ 311903 w 551704"/>
                <a:gd name="connsiteY172" fmla="*/ 540830 h 542925"/>
                <a:gd name="connsiteX173" fmla="*/ 322842 w 551704"/>
                <a:gd name="connsiteY173" fmla="*/ 539305 h 542925"/>
                <a:gd name="connsiteX174" fmla="*/ 322842 w 551704"/>
                <a:gd name="connsiteY174" fmla="*/ 537020 h 542925"/>
                <a:gd name="connsiteX175" fmla="*/ 242655 w 551704"/>
                <a:gd name="connsiteY175" fmla="*/ 505587 h 542925"/>
                <a:gd name="connsiteX176" fmla="*/ 228672 w 551704"/>
                <a:gd name="connsiteY176" fmla="*/ 503015 h 542925"/>
                <a:gd name="connsiteX177" fmla="*/ 218875 w 551704"/>
                <a:gd name="connsiteY177" fmla="*/ 536353 h 542925"/>
                <a:gd name="connsiteX178" fmla="*/ 208126 w 551704"/>
                <a:gd name="connsiteY178" fmla="*/ 533781 h 542925"/>
                <a:gd name="connsiteX179" fmla="*/ 208601 w 551704"/>
                <a:gd name="connsiteY179" fmla="*/ 531590 h 542925"/>
                <a:gd name="connsiteX180" fmla="*/ 208601 w 551704"/>
                <a:gd name="connsiteY180" fmla="*/ 531590 h 542925"/>
                <a:gd name="connsiteX181" fmla="*/ 218114 w 551704"/>
                <a:gd name="connsiteY181" fmla="*/ 533972 h 542925"/>
                <a:gd name="connsiteX182" fmla="*/ 228482 w 551704"/>
                <a:gd name="connsiteY182" fmla="*/ 500825 h 542925"/>
                <a:gd name="connsiteX183" fmla="*/ 242560 w 551704"/>
                <a:gd name="connsiteY183" fmla="*/ 503396 h 542925"/>
                <a:gd name="connsiteX184" fmla="*/ 242560 w 551704"/>
                <a:gd name="connsiteY184" fmla="*/ 505682 h 542925"/>
                <a:gd name="connsiteX185" fmla="*/ 213548 w 551704"/>
                <a:gd name="connsiteY185" fmla="*/ 499205 h 542925"/>
                <a:gd name="connsiteX186" fmla="*/ 213548 w 551704"/>
                <a:gd name="connsiteY186" fmla="*/ 499205 h 542925"/>
                <a:gd name="connsiteX187" fmla="*/ 214404 w 551704"/>
                <a:gd name="connsiteY187" fmla="*/ 497205 h 542925"/>
                <a:gd name="connsiteX188" fmla="*/ 196901 w 551704"/>
                <a:gd name="connsiteY188" fmla="*/ 491585 h 542925"/>
                <a:gd name="connsiteX189" fmla="*/ 182062 w 551704"/>
                <a:gd name="connsiteY189" fmla="*/ 523018 h 542925"/>
                <a:gd name="connsiteX190" fmla="*/ 172550 w 551704"/>
                <a:gd name="connsiteY190" fmla="*/ 519208 h 542925"/>
                <a:gd name="connsiteX191" fmla="*/ 171884 w 551704"/>
                <a:gd name="connsiteY191" fmla="*/ 521208 h 542925"/>
                <a:gd name="connsiteX192" fmla="*/ 182062 w 551704"/>
                <a:gd name="connsiteY192" fmla="*/ 525304 h 542925"/>
                <a:gd name="connsiteX193" fmla="*/ 196901 w 551704"/>
                <a:gd name="connsiteY193" fmla="*/ 493871 h 542925"/>
                <a:gd name="connsiteX194" fmla="*/ 213167 w 551704"/>
                <a:gd name="connsiteY194" fmla="*/ 499110 h 542925"/>
                <a:gd name="connsiteX195" fmla="*/ 182919 w 551704"/>
                <a:gd name="connsiteY195" fmla="*/ 488156 h 542925"/>
                <a:gd name="connsiteX196" fmla="*/ 170648 w 551704"/>
                <a:gd name="connsiteY196" fmla="*/ 482346 h 542925"/>
                <a:gd name="connsiteX197" fmla="*/ 151624 w 551704"/>
                <a:gd name="connsiteY197" fmla="*/ 511683 h 542925"/>
                <a:gd name="connsiteX198" fmla="*/ 142111 w 551704"/>
                <a:gd name="connsiteY198" fmla="*/ 506349 h 542925"/>
                <a:gd name="connsiteX199" fmla="*/ 142968 w 551704"/>
                <a:gd name="connsiteY199" fmla="*/ 504539 h 542925"/>
                <a:gd name="connsiteX200" fmla="*/ 151719 w 551704"/>
                <a:gd name="connsiteY200" fmla="*/ 509397 h 542925"/>
                <a:gd name="connsiteX201" fmla="*/ 170743 w 551704"/>
                <a:gd name="connsiteY201" fmla="*/ 480060 h 542925"/>
                <a:gd name="connsiteX202" fmla="*/ 185011 w 551704"/>
                <a:gd name="connsiteY202" fmla="*/ 486728 h 542925"/>
                <a:gd name="connsiteX203" fmla="*/ 183680 w 551704"/>
                <a:gd name="connsiteY203" fmla="*/ 488442 h 542925"/>
                <a:gd name="connsiteX204" fmla="*/ 183014 w 551704"/>
                <a:gd name="connsiteY204" fmla="*/ 488442 h 542925"/>
                <a:gd name="connsiteX205" fmla="*/ 156475 w 551704"/>
                <a:gd name="connsiteY205" fmla="*/ 474440 h 542925"/>
                <a:gd name="connsiteX206" fmla="*/ 157331 w 551704"/>
                <a:gd name="connsiteY206" fmla="*/ 475012 h 542925"/>
                <a:gd name="connsiteX207" fmla="*/ 158948 w 551704"/>
                <a:gd name="connsiteY207" fmla="*/ 473774 h 542925"/>
                <a:gd name="connsiteX208" fmla="*/ 142682 w 551704"/>
                <a:gd name="connsiteY208" fmla="*/ 463201 h 542925"/>
                <a:gd name="connsiteX209" fmla="*/ 120138 w 551704"/>
                <a:gd name="connsiteY209" fmla="*/ 489680 h 542925"/>
                <a:gd name="connsiteX210" fmla="*/ 112338 w 551704"/>
                <a:gd name="connsiteY210" fmla="*/ 483870 h 542925"/>
                <a:gd name="connsiteX211" fmla="*/ 111387 w 551704"/>
                <a:gd name="connsiteY211" fmla="*/ 485394 h 542925"/>
                <a:gd name="connsiteX212" fmla="*/ 120138 w 551704"/>
                <a:gd name="connsiteY212" fmla="*/ 492062 h 542925"/>
                <a:gd name="connsiteX213" fmla="*/ 142777 w 551704"/>
                <a:gd name="connsiteY213" fmla="*/ 465487 h 542925"/>
                <a:gd name="connsiteX214" fmla="*/ 156570 w 551704"/>
                <a:gd name="connsiteY214" fmla="*/ 474440 h 542925"/>
                <a:gd name="connsiteX215" fmla="*/ 129460 w 551704"/>
                <a:gd name="connsiteY215" fmla="*/ 455390 h 542925"/>
                <a:gd name="connsiteX216" fmla="*/ 119948 w 551704"/>
                <a:gd name="connsiteY216" fmla="*/ 446913 h 542925"/>
                <a:gd name="connsiteX217" fmla="*/ 94361 w 551704"/>
                <a:gd name="connsiteY217" fmla="*/ 470440 h 542925"/>
                <a:gd name="connsiteX218" fmla="*/ 86465 w 551704"/>
                <a:gd name="connsiteY218" fmla="*/ 462725 h 542925"/>
                <a:gd name="connsiteX219" fmla="*/ 87512 w 551704"/>
                <a:gd name="connsiteY219" fmla="*/ 461486 h 542925"/>
                <a:gd name="connsiteX220" fmla="*/ 88653 w 551704"/>
                <a:gd name="connsiteY220" fmla="*/ 462629 h 542925"/>
                <a:gd name="connsiteX221" fmla="*/ 94361 w 551704"/>
                <a:gd name="connsiteY221" fmla="*/ 468154 h 542925"/>
                <a:gd name="connsiteX222" fmla="*/ 119948 w 551704"/>
                <a:gd name="connsiteY222" fmla="*/ 444532 h 542925"/>
                <a:gd name="connsiteX223" fmla="*/ 132980 w 551704"/>
                <a:gd name="connsiteY223" fmla="*/ 455295 h 542925"/>
                <a:gd name="connsiteX224" fmla="*/ 130887 w 551704"/>
                <a:gd name="connsiteY224" fmla="*/ 456152 h 542925"/>
                <a:gd name="connsiteX225" fmla="*/ 129841 w 551704"/>
                <a:gd name="connsiteY225" fmla="*/ 455390 h 542925"/>
                <a:gd name="connsiteX226" fmla="*/ 107582 w 551704"/>
                <a:gd name="connsiteY226" fmla="*/ 435197 h 542925"/>
                <a:gd name="connsiteX227" fmla="*/ 96929 w 551704"/>
                <a:gd name="connsiteY227" fmla="*/ 423291 h 542925"/>
                <a:gd name="connsiteX228" fmla="*/ 68392 w 551704"/>
                <a:gd name="connsiteY228" fmla="*/ 443103 h 542925"/>
                <a:gd name="connsiteX229" fmla="*/ 61639 w 551704"/>
                <a:gd name="connsiteY229" fmla="*/ 434435 h 542925"/>
                <a:gd name="connsiteX230" fmla="*/ 62685 w 551704"/>
                <a:gd name="connsiteY230" fmla="*/ 433483 h 542925"/>
                <a:gd name="connsiteX231" fmla="*/ 68392 w 551704"/>
                <a:gd name="connsiteY231" fmla="*/ 440817 h 542925"/>
                <a:gd name="connsiteX232" fmla="*/ 96929 w 551704"/>
                <a:gd name="connsiteY232" fmla="*/ 421005 h 542925"/>
                <a:gd name="connsiteX233" fmla="*/ 110626 w 551704"/>
                <a:gd name="connsiteY233" fmla="*/ 436150 h 542925"/>
                <a:gd name="connsiteX234" fmla="*/ 108629 w 551704"/>
                <a:gd name="connsiteY234" fmla="*/ 436150 h 542925"/>
                <a:gd name="connsiteX235" fmla="*/ 107582 w 551704"/>
                <a:gd name="connsiteY235" fmla="*/ 435007 h 542925"/>
                <a:gd name="connsiteX236" fmla="*/ 86465 w 551704"/>
                <a:gd name="connsiteY236" fmla="*/ 409956 h 542925"/>
                <a:gd name="connsiteX237" fmla="*/ 79331 w 551704"/>
                <a:gd name="connsiteY237" fmla="*/ 399479 h 542925"/>
                <a:gd name="connsiteX238" fmla="*/ 48512 w 551704"/>
                <a:gd name="connsiteY238" fmla="*/ 415671 h 542925"/>
                <a:gd name="connsiteX239" fmla="*/ 42900 w 551704"/>
                <a:gd name="connsiteY239" fmla="*/ 406146 h 542925"/>
                <a:gd name="connsiteX240" fmla="*/ 43851 w 551704"/>
                <a:gd name="connsiteY240" fmla="*/ 405479 h 542925"/>
                <a:gd name="connsiteX241" fmla="*/ 48512 w 551704"/>
                <a:gd name="connsiteY241" fmla="*/ 413385 h 542925"/>
                <a:gd name="connsiteX242" fmla="*/ 79331 w 551704"/>
                <a:gd name="connsiteY242" fmla="*/ 397192 h 542925"/>
                <a:gd name="connsiteX243" fmla="*/ 89509 w 551704"/>
                <a:gd name="connsiteY243" fmla="*/ 411956 h 542925"/>
                <a:gd name="connsiteX244" fmla="*/ 87702 w 551704"/>
                <a:gd name="connsiteY244" fmla="*/ 411956 h 542925"/>
                <a:gd name="connsiteX245" fmla="*/ 86465 w 551704"/>
                <a:gd name="connsiteY245" fmla="*/ 410337 h 542925"/>
                <a:gd name="connsiteX246" fmla="*/ 70675 w 551704"/>
                <a:gd name="connsiteY246" fmla="*/ 384810 h 542925"/>
                <a:gd name="connsiteX247" fmla="*/ 63636 w 551704"/>
                <a:gd name="connsiteY247" fmla="*/ 370904 h 542925"/>
                <a:gd name="connsiteX248" fmla="*/ 30819 w 551704"/>
                <a:gd name="connsiteY248" fmla="*/ 382619 h 542925"/>
                <a:gd name="connsiteX249" fmla="*/ 26539 w 551704"/>
                <a:gd name="connsiteY249" fmla="*/ 372523 h 542925"/>
                <a:gd name="connsiteX250" fmla="*/ 27300 w 551704"/>
                <a:gd name="connsiteY250" fmla="*/ 372523 h 542925"/>
                <a:gd name="connsiteX251" fmla="*/ 28156 w 551704"/>
                <a:gd name="connsiteY251" fmla="*/ 374428 h 542925"/>
                <a:gd name="connsiteX252" fmla="*/ 30819 w 551704"/>
                <a:gd name="connsiteY252" fmla="*/ 380714 h 542925"/>
                <a:gd name="connsiteX253" fmla="*/ 63636 w 551704"/>
                <a:gd name="connsiteY253" fmla="*/ 368999 h 542925"/>
                <a:gd name="connsiteX254" fmla="*/ 73148 w 551704"/>
                <a:gd name="connsiteY254" fmla="*/ 388049 h 542925"/>
                <a:gd name="connsiteX255" fmla="*/ 71341 w 551704"/>
                <a:gd name="connsiteY255" fmla="*/ 387096 h 542925"/>
                <a:gd name="connsiteX256" fmla="*/ 70485 w 551704"/>
                <a:gd name="connsiteY256" fmla="*/ 385382 h 542925"/>
                <a:gd name="connsiteX257" fmla="*/ 57168 w 551704"/>
                <a:gd name="connsiteY257" fmla="*/ 354806 h 542925"/>
                <a:gd name="connsiteX258" fmla="*/ 53078 w 551704"/>
                <a:gd name="connsiteY258" fmla="*/ 343186 h 542925"/>
                <a:gd name="connsiteX259" fmla="*/ 19119 w 551704"/>
                <a:gd name="connsiteY259" fmla="*/ 350806 h 542925"/>
                <a:gd name="connsiteX260" fmla="*/ 16076 w 551704"/>
                <a:gd name="connsiteY260" fmla="*/ 340138 h 542925"/>
                <a:gd name="connsiteX261" fmla="*/ 16646 w 551704"/>
                <a:gd name="connsiteY261" fmla="*/ 340138 h 542925"/>
                <a:gd name="connsiteX262" fmla="*/ 17312 w 551704"/>
                <a:gd name="connsiteY262" fmla="*/ 342329 h 542925"/>
                <a:gd name="connsiteX263" fmla="*/ 19119 w 551704"/>
                <a:gd name="connsiteY263" fmla="*/ 348710 h 542925"/>
                <a:gd name="connsiteX264" fmla="*/ 53078 w 551704"/>
                <a:gd name="connsiteY264" fmla="*/ 341090 h 542925"/>
                <a:gd name="connsiteX265" fmla="*/ 57929 w 551704"/>
                <a:gd name="connsiteY265" fmla="*/ 354616 h 542925"/>
                <a:gd name="connsiteX266" fmla="*/ 59356 w 551704"/>
                <a:gd name="connsiteY266" fmla="*/ 358521 h 542925"/>
                <a:gd name="connsiteX267" fmla="*/ 57929 w 551704"/>
                <a:gd name="connsiteY267" fmla="*/ 356902 h 542925"/>
                <a:gd name="connsiteX268" fmla="*/ 57168 w 551704"/>
                <a:gd name="connsiteY268" fmla="*/ 354806 h 542925"/>
                <a:gd name="connsiteX269" fmla="*/ 48322 w 551704"/>
                <a:gd name="connsiteY269" fmla="*/ 326231 h 542925"/>
                <a:gd name="connsiteX270" fmla="*/ 45183 w 551704"/>
                <a:gd name="connsiteY270" fmla="*/ 311277 h 542925"/>
                <a:gd name="connsiteX271" fmla="*/ 10558 w 551704"/>
                <a:gd name="connsiteY271" fmla="*/ 314135 h 542925"/>
                <a:gd name="connsiteX272" fmla="*/ 8941 w 551704"/>
                <a:gd name="connsiteY272" fmla="*/ 303181 h 542925"/>
                <a:gd name="connsiteX273" fmla="*/ 8941 w 551704"/>
                <a:gd name="connsiteY273" fmla="*/ 303181 h 542925"/>
                <a:gd name="connsiteX274" fmla="*/ 10178 w 551704"/>
                <a:gd name="connsiteY274" fmla="*/ 311848 h 542925"/>
                <a:gd name="connsiteX275" fmla="*/ 44802 w 551704"/>
                <a:gd name="connsiteY275" fmla="*/ 308991 h 542925"/>
                <a:gd name="connsiteX276" fmla="*/ 49463 w 551704"/>
                <a:gd name="connsiteY276" fmla="*/ 330327 h 542925"/>
                <a:gd name="connsiteX277" fmla="*/ 48512 w 551704"/>
                <a:gd name="connsiteY277" fmla="*/ 328422 h 542925"/>
                <a:gd name="connsiteX278" fmla="*/ 47941 w 551704"/>
                <a:gd name="connsiteY278" fmla="*/ 326231 h 542925"/>
                <a:gd name="connsiteX279" fmla="*/ 42805 w 551704"/>
                <a:gd name="connsiteY279" fmla="*/ 293942 h 542925"/>
                <a:gd name="connsiteX280" fmla="*/ 41853 w 551704"/>
                <a:gd name="connsiteY280" fmla="*/ 281845 h 542925"/>
                <a:gd name="connsiteX281" fmla="*/ 7134 w 551704"/>
                <a:gd name="connsiteY281" fmla="*/ 280416 h 542925"/>
                <a:gd name="connsiteX282" fmla="*/ 7134 w 551704"/>
                <a:gd name="connsiteY282" fmla="*/ 269367 h 542925"/>
                <a:gd name="connsiteX283" fmla="*/ 7134 w 551704"/>
                <a:gd name="connsiteY283" fmla="*/ 269367 h 542925"/>
                <a:gd name="connsiteX284" fmla="*/ 7134 w 551704"/>
                <a:gd name="connsiteY284" fmla="*/ 278130 h 542925"/>
                <a:gd name="connsiteX285" fmla="*/ 41853 w 551704"/>
                <a:gd name="connsiteY285" fmla="*/ 279559 h 542925"/>
                <a:gd name="connsiteX286" fmla="*/ 42995 w 551704"/>
                <a:gd name="connsiteY286" fmla="*/ 293942 h 542925"/>
                <a:gd name="connsiteX287" fmla="*/ 43566 w 551704"/>
                <a:gd name="connsiteY287" fmla="*/ 298418 h 542925"/>
                <a:gd name="connsiteX288" fmla="*/ 42995 w 551704"/>
                <a:gd name="connsiteY288" fmla="*/ 296228 h 542925"/>
                <a:gd name="connsiteX289" fmla="*/ 42995 w 551704"/>
                <a:gd name="connsiteY289" fmla="*/ 293942 h 542925"/>
                <a:gd name="connsiteX290" fmla="*/ 42805 w 551704"/>
                <a:gd name="connsiteY290" fmla="*/ 249174 h 542925"/>
                <a:gd name="connsiteX291" fmla="*/ 8466 w 551704"/>
                <a:gd name="connsiteY291" fmla="*/ 242983 h 542925"/>
                <a:gd name="connsiteX292" fmla="*/ 8466 w 551704"/>
                <a:gd name="connsiteY292" fmla="*/ 240697 h 542925"/>
                <a:gd name="connsiteX293" fmla="*/ 42710 w 551704"/>
                <a:gd name="connsiteY293" fmla="*/ 246983 h 542925"/>
                <a:gd name="connsiteX294" fmla="*/ 42710 w 551704"/>
                <a:gd name="connsiteY294" fmla="*/ 249174 h 542925"/>
                <a:gd name="connsiteX295" fmla="*/ 47466 w 551704"/>
                <a:gd name="connsiteY295" fmla="*/ 220027 h 542925"/>
                <a:gd name="connsiteX296" fmla="*/ 13888 w 551704"/>
                <a:gd name="connsiteY296" fmla="*/ 209550 h 542925"/>
                <a:gd name="connsiteX297" fmla="*/ 14459 w 551704"/>
                <a:gd name="connsiteY297" fmla="*/ 207454 h 542925"/>
                <a:gd name="connsiteX298" fmla="*/ 47941 w 551704"/>
                <a:gd name="connsiteY298" fmla="*/ 217932 h 542925"/>
                <a:gd name="connsiteX299" fmla="*/ 47941 w 551704"/>
                <a:gd name="connsiteY299" fmla="*/ 220027 h 542925"/>
                <a:gd name="connsiteX300" fmla="*/ 56978 w 551704"/>
                <a:gd name="connsiteY300" fmla="*/ 188881 h 542925"/>
                <a:gd name="connsiteX301" fmla="*/ 24161 w 551704"/>
                <a:gd name="connsiteY301" fmla="*/ 173831 h 542925"/>
                <a:gd name="connsiteX302" fmla="*/ 24922 w 551704"/>
                <a:gd name="connsiteY302" fmla="*/ 171926 h 542925"/>
                <a:gd name="connsiteX303" fmla="*/ 57168 w 551704"/>
                <a:gd name="connsiteY303" fmla="*/ 187452 h 542925"/>
                <a:gd name="connsiteX304" fmla="*/ 56502 w 551704"/>
                <a:gd name="connsiteY304" fmla="*/ 189452 h 542925"/>
                <a:gd name="connsiteX305" fmla="*/ 68392 w 551704"/>
                <a:gd name="connsiteY305" fmla="*/ 161639 h 542925"/>
                <a:gd name="connsiteX306" fmla="*/ 38714 w 551704"/>
                <a:gd name="connsiteY306" fmla="*/ 142589 h 542925"/>
                <a:gd name="connsiteX307" fmla="*/ 39666 w 551704"/>
                <a:gd name="connsiteY307" fmla="*/ 140875 h 542925"/>
                <a:gd name="connsiteX308" fmla="*/ 69819 w 551704"/>
                <a:gd name="connsiteY308" fmla="*/ 159925 h 542925"/>
                <a:gd name="connsiteX309" fmla="*/ 68392 w 551704"/>
                <a:gd name="connsiteY309" fmla="*/ 161163 h 542925"/>
                <a:gd name="connsiteX310" fmla="*/ 85704 w 551704"/>
                <a:gd name="connsiteY310" fmla="*/ 134874 h 542925"/>
                <a:gd name="connsiteX311" fmla="*/ 58214 w 551704"/>
                <a:gd name="connsiteY311" fmla="*/ 111538 h 542925"/>
                <a:gd name="connsiteX312" fmla="*/ 59261 w 551704"/>
                <a:gd name="connsiteY312" fmla="*/ 110109 h 542925"/>
                <a:gd name="connsiteX313" fmla="*/ 60402 w 551704"/>
                <a:gd name="connsiteY313" fmla="*/ 111062 h 542925"/>
                <a:gd name="connsiteX314" fmla="*/ 86751 w 551704"/>
                <a:gd name="connsiteY314" fmla="*/ 133445 h 542925"/>
                <a:gd name="connsiteX315" fmla="*/ 85704 w 551704"/>
                <a:gd name="connsiteY315" fmla="*/ 134874 h 542925"/>
                <a:gd name="connsiteX316" fmla="*/ 104158 w 551704"/>
                <a:gd name="connsiteY316" fmla="*/ 111919 h 542925"/>
                <a:gd name="connsiteX317" fmla="*/ 105109 w 551704"/>
                <a:gd name="connsiteY317" fmla="*/ 110776 h 542925"/>
                <a:gd name="connsiteX318" fmla="*/ 81234 w 551704"/>
                <a:gd name="connsiteY318" fmla="*/ 85249 h 542925"/>
                <a:gd name="connsiteX319" fmla="*/ 80187 w 551704"/>
                <a:gd name="connsiteY319" fmla="*/ 84106 h 542925"/>
                <a:gd name="connsiteX320" fmla="*/ 79141 w 551704"/>
                <a:gd name="connsiteY320" fmla="*/ 85249 h 542925"/>
                <a:gd name="connsiteX321" fmla="*/ 103682 w 551704"/>
                <a:gd name="connsiteY321" fmla="*/ 111919 h 542925"/>
                <a:gd name="connsiteX322" fmla="*/ 127558 w 551704"/>
                <a:gd name="connsiteY322" fmla="*/ 89630 h 542925"/>
                <a:gd name="connsiteX323" fmla="*/ 106346 w 551704"/>
                <a:gd name="connsiteY323" fmla="*/ 59531 h 542925"/>
                <a:gd name="connsiteX324" fmla="*/ 107392 w 551704"/>
                <a:gd name="connsiteY324" fmla="*/ 58769 h 542925"/>
                <a:gd name="connsiteX325" fmla="*/ 128129 w 551704"/>
                <a:gd name="connsiteY325" fmla="*/ 88868 h 542925"/>
                <a:gd name="connsiteX326" fmla="*/ 127082 w 551704"/>
                <a:gd name="connsiteY326" fmla="*/ 89630 h 542925"/>
                <a:gd name="connsiteX327" fmla="*/ 151338 w 551704"/>
                <a:gd name="connsiteY327" fmla="*/ 72390 h 542925"/>
                <a:gd name="connsiteX328" fmla="*/ 134312 w 551704"/>
                <a:gd name="connsiteY328" fmla="*/ 39815 h 542925"/>
                <a:gd name="connsiteX329" fmla="*/ 135263 w 551704"/>
                <a:gd name="connsiteY329" fmla="*/ 39243 h 542925"/>
                <a:gd name="connsiteX330" fmla="*/ 152194 w 551704"/>
                <a:gd name="connsiteY330" fmla="*/ 71819 h 542925"/>
                <a:gd name="connsiteX331" fmla="*/ 151338 w 551704"/>
                <a:gd name="connsiteY331" fmla="*/ 72390 h 542925"/>
                <a:gd name="connsiteX332" fmla="*/ 179875 w 551704"/>
                <a:gd name="connsiteY332" fmla="*/ 56769 h 542925"/>
                <a:gd name="connsiteX333" fmla="*/ 167414 w 551704"/>
                <a:gd name="connsiteY333" fmla="*/ 22003 h 542925"/>
                <a:gd name="connsiteX334" fmla="*/ 168175 w 551704"/>
                <a:gd name="connsiteY334" fmla="*/ 22003 h 542925"/>
                <a:gd name="connsiteX335" fmla="*/ 168936 w 551704"/>
                <a:gd name="connsiteY335" fmla="*/ 24098 h 542925"/>
                <a:gd name="connsiteX336" fmla="*/ 180541 w 551704"/>
                <a:gd name="connsiteY336" fmla="*/ 56769 h 542925"/>
                <a:gd name="connsiteX337" fmla="*/ 179875 w 551704"/>
                <a:gd name="connsiteY337" fmla="*/ 56769 h 542925"/>
                <a:gd name="connsiteX338" fmla="*/ 207175 w 551704"/>
                <a:gd name="connsiteY338" fmla="*/ 46101 h 542925"/>
                <a:gd name="connsiteX339" fmla="*/ 199089 w 551704"/>
                <a:gd name="connsiteY339" fmla="*/ 10001 h 542925"/>
                <a:gd name="connsiteX340" fmla="*/ 199565 w 551704"/>
                <a:gd name="connsiteY340" fmla="*/ 10001 h 542925"/>
                <a:gd name="connsiteX341" fmla="*/ 207650 w 551704"/>
                <a:gd name="connsiteY341" fmla="*/ 46101 h 542925"/>
                <a:gd name="connsiteX342" fmla="*/ 349857 w 551704"/>
                <a:gd name="connsiteY342" fmla="*/ 7144 h 542925"/>
                <a:gd name="connsiteX343" fmla="*/ 349857 w 551704"/>
                <a:gd name="connsiteY343" fmla="*/ 7144 h 542925"/>
                <a:gd name="connsiteX344" fmla="*/ 343484 w 551704"/>
                <a:gd name="connsiteY344" fmla="*/ 41338 h 542925"/>
                <a:gd name="connsiteX345" fmla="*/ 343484 w 551704"/>
                <a:gd name="connsiteY345" fmla="*/ 43529 h 542925"/>
                <a:gd name="connsiteX346" fmla="*/ 343484 w 551704"/>
                <a:gd name="connsiteY346" fmla="*/ 43529 h 542925"/>
                <a:gd name="connsiteX347" fmla="*/ 350237 w 551704"/>
                <a:gd name="connsiteY347" fmla="*/ 7144 h 542925"/>
                <a:gd name="connsiteX348" fmla="*/ 279277 w 551704"/>
                <a:gd name="connsiteY348" fmla="*/ 227457 h 542925"/>
                <a:gd name="connsiteX349" fmla="*/ 322271 w 551704"/>
                <a:gd name="connsiteY349" fmla="*/ 269272 h 542925"/>
                <a:gd name="connsiteX350" fmla="*/ 322272 w 551704"/>
                <a:gd name="connsiteY350" fmla="*/ 268224 h 542925"/>
                <a:gd name="connsiteX351" fmla="*/ 275427 w 551704"/>
                <a:gd name="connsiteY351" fmla="*/ 229407 h 542925"/>
                <a:gd name="connsiteX352" fmla="*/ 236662 w 551704"/>
                <a:gd name="connsiteY352" fmla="*/ 268224 h 542925"/>
                <a:gd name="connsiteX353" fmla="*/ 236662 w 551704"/>
                <a:gd name="connsiteY353" fmla="*/ 269081 h 542925"/>
                <a:gd name="connsiteX354" fmla="*/ 279657 w 551704"/>
                <a:gd name="connsiteY354" fmla="*/ 227267 h 542925"/>
                <a:gd name="connsiteX355" fmla="*/ 431471 w 551704"/>
                <a:gd name="connsiteY355" fmla="*/ 178213 h 542925"/>
                <a:gd name="connsiteX356" fmla="*/ 432517 w 551704"/>
                <a:gd name="connsiteY356" fmla="*/ 180118 h 542925"/>
                <a:gd name="connsiteX357" fmla="*/ 434515 w 551704"/>
                <a:gd name="connsiteY357" fmla="*/ 181546 h 542925"/>
                <a:gd name="connsiteX358" fmla="*/ 432517 w 551704"/>
                <a:gd name="connsiteY358" fmla="*/ 177737 h 542925"/>
                <a:gd name="connsiteX359" fmla="*/ 228387 w 551704"/>
                <a:gd name="connsiteY359" fmla="*/ 97060 h 542925"/>
                <a:gd name="connsiteX360" fmla="*/ 230099 w 551704"/>
                <a:gd name="connsiteY360" fmla="*/ 98869 h 542925"/>
                <a:gd name="connsiteX361" fmla="*/ 231050 w 551704"/>
                <a:gd name="connsiteY361" fmla="*/ 98869 h 542925"/>
                <a:gd name="connsiteX362" fmla="*/ 431566 w 551704"/>
                <a:gd name="connsiteY362" fmla="*/ 178498 h 542925"/>
                <a:gd name="connsiteX363" fmla="*/ 359464 w 551704"/>
                <a:gd name="connsiteY363" fmla="*/ 269081 h 542925"/>
                <a:gd name="connsiteX364" fmla="*/ 330928 w 551704"/>
                <a:gd name="connsiteY364" fmla="*/ 331851 h 542925"/>
                <a:gd name="connsiteX365" fmla="*/ 330167 w 551704"/>
                <a:gd name="connsiteY365" fmla="*/ 332518 h 542925"/>
                <a:gd name="connsiteX366" fmla="*/ 328835 w 551704"/>
                <a:gd name="connsiteY366" fmla="*/ 331280 h 542925"/>
                <a:gd name="connsiteX367" fmla="*/ 353757 w 551704"/>
                <a:gd name="connsiteY367" fmla="*/ 297847 h 542925"/>
                <a:gd name="connsiteX368" fmla="*/ 359559 w 551704"/>
                <a:gd name="connsiteY368" fmla="*/ 269272 h 542925"/>
                <a:gd name="connsiteX369" fmla="*/ 457249 w 551704"/>
                <a:gd name="connsiteY369" fmla="*/ 269081 h 542925"/>
                <a:gd name="connsiteX370" fmla="*/ 450400 w 551704"/>
                <a:gd name="connsiteY370" fmla="*/ 221456 h 542925"/>
                <a:gd name="connsiteX371" fmla="*/ 358893 w 551704"/>
                <a:gd name="connsiteY371" fmla="*/ 260794 h 542925"/>
                <a:gd name="connsiteX372" fmla="*/ 358893 w 551704"/>
                <a:gd name="connsiteY372" fmla="*/ 260794 h 542925"/>
                <a:gd name="connsiteX373" fmla="*/ 358893 w 551704"/>
                <a:gd name="connsiteY373" fmla="*/ 258794 h 542925"/>
                <a:gd name="connsiteX374" fmla="*/ 450971 w 551704"/>
                <a:gd name="connsiteY374" fmla="*/ 219265 h 542925"/>
                <a:gd name="connsiteX375" fmla="*/ 457820 w 551704"/>
                <a:gd name="connsiteY375" fmla="*/ 269081 h 542925"/>
                <a:gd name="connsiteX376" fmla="*/ 288599 w 551704"/>
                <a:gd name="connsiteY376" fmla="*/ 350520 h 542925"/>
                <a:gd name="connsiteX377" fmla="*/ 328645 w 551704"/>
                <a:gd name="connsiteY377" fmla="*/ 444246 h 542925"/>
                <a:gd name="connsiteX378" fmla="*/ 329501 w 551704"/>
                <a:gd name="connsiteY378" fmla="*/ 444246 h 542925"/>
                <a:gd name="connsiteX379" fmla="*/ 288599 w 551704"/>
                <a:gd name="connsiteY379" fmla="*/ 348520 h 542925"/>
                <a:gd name="connsiteX380" fmla="*/ 216782 w 551704"/>
                <a:gd name="connsiteY380" fmla="*/ 319945 h 542925"/>
                <a:gd name="connsiteX381" fmla="*/ 123753 w 551704"/>
                <a:gd name="connsiteY381" fmla="*/ 359473 h 542925"/>
                <a:gd name="connsiteX382" fmla="*/ 125751 w 551704"/>
                <a:gd name="connsiteY382" fmla="*/ 360902 h 542925"/>
                <a:gd name="connsiteX383" fmla="*/ 217257 w 551704"/>
                <a:gd name="connsiteY383" fmla="*/ 321755 h 542925"/>
                <a:gd name="connsiteX384" fmla="*/ 249504 w 551704"/>
                <a:gd name="connsiteY384" fmla="*/ 345281 h 542925"/>
                <a:gd name="connsiteX385" fmla="*/ 289074 w 551704"/>
                <a:gd name="connsiteY385" fmla="*/ 350520 h 542925"/>
                <a:gd name="connsiteX386" fmla="*/ 198804 w 551704"/>
                <a:gd name="connsiteY386" fmla="*/ 277940 h 542925"/>
                <a:gd name="connsiteX387" fmla="*/ 198804 w 551704"/>
                <a:gd name="connsiteY387" fmla="*/ 269272 h 542925"/>
                <a:gd name="connsiteX388" fmla="*/ 199375 w 551704"/>
                <a:gd name="connsiteY388" fmla="*/ 277844 h 542925"/>
                <a:gd name="connsiteX389" fmla="*/ 199375 w 551704"/>
                <a:gd name="connsiteY389" fmla="*/ 282321 h 542925"/>
                <a:gd name="connsiteX390" fmla="*/ 199375 w 551704"/>
                <a:gd name="connsiteY390" fmla="*/ 280225 h 542925"/>
                <a:gd name="connsiteX391" fmla="*/ 199375 w 551704"/>
                <a:gd name="connsiteY391" fmla="*/ 277940 h 542925"/>
                <a:gd name="connsiteX392" fmla="*/ 227911 w 551704"/>
                <a:gd name="connsiteY392" fmla="*/ 208407 h 542925"/>
                <a:gd name="connsiteX393" fmla="*/ 188626 w 551704"/>
                <a:gd name="connsiteY393" fmla="*/ 116681 h 542925"/>
                <a:gd name="connsiteX394" fmla="*/ 100639 w 551704"/>
                <a:gd name="connsiteY394" fmla="*/ 269081 h 542925"/>
                <a:gd name="connsiteX395" fmla="*/ 188626 w 551704"/>
                <a:gd name="connsiteY395" fmla="*/ 114300 h 542925"/>
                <a:gd name="connsiteX396" fmla="*/ 229243 w 551704"/>
                <a:gd name="connsiteY396" fmla="*/ 209550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Lst>
              <a:rect l="l" t="t" r="r" b="b"/>
              <a:pathLst>
                <a:path w="551704" h="542925">
                  <a:moveTo>
                    <a:pt x="384671" y="19240"/>
                  </a:moveTo>
                  <a:lnTo>
                    <a:pt x="385337" y="19240"/>
                  </a:lnTo>
                  <a:lnTo>
                    <a:pt x="373732" y="54292"/>
                  </a:lnTo>
                  <a:lnTo>
                    <a:pt x="373066" y="54292"/>
                  </a:lnTo>
                  <a:lnTo>
                    <a:pt x="384671" y="19336"/>
                  </a:lnTo>
                  <a:close/>
                  <a:moveTo>
                    <a:pt x="414730" y="34100"/>
                  </a:moveTo>
                  <a:lnTo>
                    <a:pt x="415586" y="34100"/>
                  </a:lnTo>
                  <a:lnTo>
                    <a:pt x="399605" y="67818"/>
                  </a:lnTo>
                  <a:lnTo>
                    <a:pt x="398749" y="67342"/>
                  </a:lnTo>
                  <a:lnTo>
                    <a:pt x="414539" y="34100"/>
                  </a:lnTo>
                  <a:close/>
                  <a:moveTo>
                    <a:pt x="445549" y="54864"/>
                  </a:moveTo>
                  <a:lnTo>
                    <a:pt x="446595" y="55626"/>
                  </a:lnTo>
                  <a:lnTo>
                    <a:pt x="426525" y="86106"/>
                  </a:lnTo>
                  <a:lnTo>
                    <a:pt x="425478" y="85344"/>
                  </a:lnTo>
                  <a:lnTo>
                    <a:pt x="445549" y="54864"/>
                  </a:lnTo>
                  <a:close/>
                  <a:moveTo>
                    <a:pt x="470851" y="76962"/>
                  </a:moveTo>
                  <a:lnTo>
                    <a:pt x="471898" y="78010"/>
                  </a:lnTo>
                  <a:lnTo>
                    <a:pt x="448307" y="105632"/>
                  </a:lnTo>
                  <a:lnTo>
                    <a:pt x="447261" y="104585"/>
                  </a:lnTo>
                  <a:lnTo>
                    <a:pt x="470851" y="76962"/>
                  </a:lnTo>
                  <a:close/>
                  <a:moveTo>
                    <a:pt x="495297" y="104965"/>
                  </a:moveTo>
                  <a:lnTo>
                    <a:pt x="468378" y="128969"/>
                  </a:lnTo>
                  <a:lnTo>
                    <a:pt x="469424" y="130302"/>
                  </a:lnTo>
                  <a:lnTo>
                    <a:pt x="496439" y="106299"/>
                  </a:lnTo>
                  <a:lnTo>
                    <a:pt x="495297" y="104965"/>
                  </a:lnTo>
                  <a:close/>
                  <a:moveTo>
                    <a:pt x="514322" y="132969"/>
                  </a:moveTo>
                  <a:lnTo>
                    <a:pt x="515368" y="134588"/>
                  </a:lnTo>
                  <a:lnTo>
                    <a:pt x="486832" y="154496"/>
                  </a:lnTo>
                  <a:lnTo>
                    <a:pt x="485310" y="153162"/>
                  </a:lnTo>
                  <a:lnTo>
                    <a:pt x="514797" y="132969"/>
                  </a:lnTo>
                  <a:close/>
                  <a:moveTo>
                    <a:pt x="530873" y="166402"/>
                  </a:moveTo>
                  <a:lnTo>
                    <a:pt x="531729" y="168307"/>
                  </a:lnTo>
                  <a:lnTo>
                    <a:pt x="500434" y="184023"/>
                  </a:lnTo>
                  <a:lnTo>
                    <a:pt x="499293" y="182213"/>
                  </a:lnTo>
                  <a:lnTo>
                    <a:pt x="530873" y="166402"/>
                  </a:lnTo>
                  <a:close/>
                  <a:moveTo>
                    <a:pt x="541812" y="198311"/>
                  </a:moveTo>
                  <a:lnTo>
                    <a:pt x="542383" y="200406"/>
                  </a:lnTo>
                  <a:lnTo>
                    <a:pt x="509090" y="211931"/>
                  </a:lnTo>
                  <a:lnTo>
                    <a:pt x="508424" y="209836"/>
                  </a:lnTo>
                  <a:lnTo>
                    <a:pt x="541526" y="198120"/>
                  </a:lnTo>
                  <a:close/>
                  <a:moveTo>
                    <a:pt x="549231" y="234982"/>
                  </a:moveTo>
                  <a:lnTo>
                    <a:pt x="549231" y="237173"/>
                  </a:lnTo>
                  <a:lnTo>
                    <a:pt x="515178" y="244221"/>
                  </a:lnTo>
                  <a:lnTo>
                    <a:pt x="515178" y="242030"/>
                  </a:lnTo>
                  <a:lnTo>
                    <a:pt x="549327" y="234982"/>
                  </a:lnTo>
                  <a:close/>
                  <a:moveTo>
                    <a:pt x="551514" y="268700"/>
                  </a:moveTo>
                  <a:lnTo>
                    <a:pt x="551514" y="270986"/>
                  </a:lnTo>
                  <a:lnTo>
                    <a:pt x="516890" y="273748"/>
                  </a:lnTo>
                  <a:cubicBezTo>
                    <a:pt x="516890" y="278797"/>
                    <a:pt x="516890" y="283845"/>
                    <a:pt x="516129" y="288988"/>
                  </a:cubicBezTo>
                  <a:lnTo>
                    <a:pt x="516129" y="291275"/>
                  </a:lnTo>
                  <a:lnTo>
                    <a:pt x="516129" y="293465"/>
                  </a:lnTo>
                  <a:lnTo>
                    <a:pt x="516129" y="288893"/>
                  </a:lnTo>
                  <a:cubicBezTo>
                    <a:pt x="516700" y="283083"/>
                    <a:pt x="516985" y="277273"/>
                    <a:pt x="517080" y="271463"/>
                  </a:cubicBezTo>
                  <a:lnTo>
                    <a:pt x="551609" y="268700"/>
                  </a:lnTo>
                  <a:close/>
                  <a:moveTo>
                    <a:pt x="549992" y="297275"/>
                  </a:moveTo>
                  <a:lnTo>
                    <a:pt x="549992" y="297275"/>
                  </a:lnTo>
                  <a:lnTo>
                    <a:pt x="548756" y="308229"/>
                  </a:lnTo>
                  <a:lnTo>
                    <a:pt x="514036" y="306134"/>
                  </a:lnTo>
                  <a:cubicBezTo>
                    <a:pt x="513466" y="310134"/>
                    <a:pt x="512705" y="314135"/>
                    <a:pt x="511944" y="318135"/>
                  </a:cubicBezTo>
                  <a:lnTo>
                    <a:pt x="511468" y="320326"/>
                  </a:lnTo>
                  <a:lnTo>
                    <a:pt x="510612" y="322326"/>
                  </a:lnTo>
                  <a:cubicBezTo>
                    <a:pt x="511753" y="316135"/>
                    <a:pt x="513085" y="310039"/>
                    <a:pt x="514036" y="303848"/>
                  </a:cubicBezTo>
                  <a:lnTo>
                    <a:pt x="548756" y="305848"/>
                  </a:lnTo>
                  <a:lnTo>
                    <a:pt x="549802" y="297180"/>
                  </a:lnTo>
                  <a:close/>
                  <a:moveTo>
                    <a:pt x="544285" y="330613"/>
                  </a:moveTo>
                  <a:lnTo>
                    <a:pt x="544285" y="330613"/>
                  </a:lnTo>
                  <a:lnTo>
                    <a:pt x="541717" y="341281"/>
                  </a:lnTo>
                  <a:lnTo>
                    <a:pt x="507473" y="334899"/>
                  </a:lnTo>
                  <a:cubicBezTo>
                    <a:pt x="506141" y="339852"/>
                    <a:pt x="504524" y="344424"/>
                    <a:pt x="502812" y="349663"/>
                  </a:cubicBezTo>
                  <a:lnTo>
                    <a:pt x="502146" y="351663"/>
                  </a:lnTo>
                  <a:lnTo>
                    <a:pt x="500815" y="353282"/>
                  </a:lnTo>
                  <a:cubicBezTo>
                    <a:pt x="503002" y="346996"/>
                    <a:pt x="505476" y="339662"/>
                    <a:pt x="507473" y="332613"/>
                  </a:cubicBezTo>
                  <a:lnTo>
                    <a:pt x="541717" y="338995"/>
                  </a:lnTo>
                  <a:lnTo>
                    <a:pt x="543809" y="330422"/>
                  </a:lnTo>
                  <a:close/>
                  <a:moveTo>
                    <a:pt x="532775" y="366332"/>
                  </a:moveTo>
                  <a:lnTo>
                    <a:pt x="533536" y="366332"/>
                  </a:lnTo>
                  <a:lnTo>
                    <a:pt x="529446" y="376618"/>
                  </a:lnTo>
                  <a:lnTo>
                    <a:pt x="496439" y="365665"/>
                  </a:lnTo>
                  <a:cubicBezTo>
                    <a:pt x="494822" y="369380"/>
                    <a:pt x="493015" y="373189"/>
                    <a:pt x="491207" y="376904"/>
                  </a:cubicBezTo>
                  <a:lnTo>
                    <a:pt x="490256" y="378619"/>
                  </a:lnTo>
                  <a:lnTo>
                    <a:pt x="488734" y="379857"/>
                  </a:lnTo>
                  <a:cubicBezTo>
                    <a:pt x="491207" y="374428"/>
                    <a:pt x="494061" y="368808"/>
                    <a:pt x="496439" y="363284"/>
                  </a:cubicBezTo>
                  <a:lnTo>
                    <a:pt x="529446" y="374333"/>
                  </a:lnTo>
                  <a:lnTo>
                    <a:pt x="532775" y="365950"/>
                  </a:lnTo>
                  <a:close/>
                  <a:moveTo>
                    <a:pt x="518697" y="397002"/>
                  </a:moveTo>
                  <a:lnTo>
                    <a:pt x="519649" y="397669"/>
                  </a:lnTo>
                  <a:lnTo>
                    <a:pt x="514322" y="407194"/>
                  </a:lnTo>
                  <a:lnTo>
                    <a:pt x="482932" y="392239"/>
                  </a:lnTo>
                  <a:cubicBezTo>
                    <a:pt x="480268" y="396716"/>
                    <a:pt x="477510" y="401193"/>
                    <a:pt x="474466" y="405479"/>
                  </a:cubicBezTo>
                  <a:lnTo>
                    <a:pt x="473419" y="407003"/>
                  </a:lnTo>
                  <a:lnTo>
                    <a:pt x="471612" y="407575"/>
                  </a:lnTo>
                  <a:cubicBezTo>
                    <a:pt x="475417" y="401669"/>
                    <a:pt x="479412" y="396050"/>
                    <a:pt x="482932" y="389954"/>
                  </a:cubicBezTo>
                  <a:lnTo>
                    <a:pt x="514322" y="404908"/>
                  </a:lnTo>
                  <a:lnTo>
                    <a:pt x="518697" y="396907"/>
                  </a:lnTo>
                  <a:close/>
                  <a:moveTo>
                    <a:pt x="498912" y="428625"/>
                  </a:moveTo>
                  <a:lnTo>
                    <a:pt x="500054" y="429482"/>
                  </a:lnTo>
                  <a:lnTo>
                    <a:pt x="493395" y="438341"/>
                  </a:lnTo>
                  <a:lnTo>
                    <a:pt x="464859" y="419291"/>
                  </a:lnTo>
                  <a:cubicBezTo>
                    <a:pt x="462195" y="422624"/>
                    <a:pt x="459437" y="425863"/>
                    <a:pt x="456583" y="428816"/>
                  </a:cubicBezTo>
                  <a:lnTo>
                    <a:pt x="455537" y="429959"/>
                  </a:lnTo>
                  <a:lnTo>
                    <a:pt x="453539" y="429959"/>
                  </a:lnTo>
                  <a:cubicBezTo>
                    <a:pt x="457344" y="425482"/>
                    <a:pt x="461244" y="421196"/>
                    <a:pt x="464859" y="416624"/>
                  </a:cubicBezTo>
                  <a:lnTo>
                    <a:pt x="493395" y="435674"/>
                  </a:lnTo>
                  <a:lnTo>
                    <a:pt x="498912" y="428244"/>
                  </a:lnTo>
                  <a:close/>
                  <a:moveTo>
                    <a:pt x="477510" y="454533"/>
                  </a:moveTo>
                  <a:lnTo>
                    <a:pt x="478556" y="455771"/>
                  </a:lnTo>
                  <a:lnTo>
                    <a:pt x="470946" y="463677"/>
                  </a:lnTo>
                  <a:lnTo>
                    <a:pt x="444598" y="441103"/>
                  </a:lnTo>
                  <a:cubicBezTo>
                    <a:pt x="440698" y="444817"/>
                    <a:pt x="436703" y="448532"/>
                    <a:pt x="432612" y="451961"/>
                  </a:cubicBezTo>
                  <a:lnTo>
                    <a:pt x="431566" y="452818"/>
                  </a:lnTo>
                  <a:lnTo>
                    <a:pt x="429473" y="452247"/>
                  </a:lnTo>
                  <a:cubicBezTo>
                    <a:pt x="434737" y="447992"/>
                    <a:pt x="439778" y="443516"/>
                    <a:pt x="444598" y="438817"/>
                  </a:cubicBezTo>
                  <a:lnTo>
                    <a:pt x="470946" y="461391"/>
                  </a:lnTo>
                  <a:lnTo>
                    <a:pt x="477510" y="454533"/>
                  </a:lnTo>
                  <a:close/>
                  <a:moveTo>
                    <a:pt x="450305" y="479965"/>
                  </a:moveTo>
                  <a:lnTo>
                    <a:pt x="442695" y="485966"/>
                  </a:lnTo>
                  <a:lnTo>
                    <a:pt x="419771" y="459581"/>
                  </a:lnTo>
                  <a:cubicBezTo>
                    <a:pt x="415395" y="462820"/>
                    <a:pt x="410830" y="466058"/>
                    <a:pt x="406169" y="469106"/>
                  </a:cubicBezTo>
                  <a:lnTo>
                    <a:pt x="407976" y="470345"/>
                  </a:lnTo>
                  <a:lnTo>
                    <a:pt x="408927" y="469678"/>
                  </a:lnTo>
                  <a:cubicBezTo>
                    <a:pt x="412637" y="467296"/>
                    <a:pt x="416252" y="464725"/>
                    <a:pt x="419771" y="462153"/>
                  </a:cubicBezTo>
                  <a:lnTo>
                    <a:pt x="442886" y="488156"/>
                  </a:lnTo>
                  <a:lnTo>
                    <a:pt x="451542" y="481298"/>
                  </a:lnTo>
                  <a:lnTo>
                    <a:pt x="450495" y="479870"/>
                  </a:lnTo>
                  <a:close/>
                  <a:moveTo>
                    <a:pt x="423005" y="499491"/>
                  </a:moveTo>
                  <a:lnTo>
                    <a:pt x="423956" y="501205"/>
                  </a:lnTo>
                  <a:lnTo>
                    <a:pt x="414444" y="506921"/>
                  </a:lnTo>
                  <a:lnTo>
                    <a:pt x="394754" y="478346"/>
                  </a:lnTo>
                  <a:cubicBezTo>
                    <a:pt x="389871" y="481140"/>
                    <a:pt x="384925" y="483711"/>
                    <a:pt x="379915" y="486061"/>
                  </a:cubicBezTo>
                  <a:lnTo>
                    <a:pt x="379249" y="486061"/>
                  </a:lnTo>
                  <a:lnTo>
                    <a:pt x="377822" y="484346"/>
                  </a:lnTo>
                  <a:cubicBezTo>
                    <a:pt x="383625" y="481814"/>
                    <a:pt x="389278" y="478952"/>
                    <a:pt x="394754" y="475774"/>
                  </a:cubicBezTo>
                  <a:lnTo>
                    <a:pt x="414444" y="504349"/>
                  </a:lnTo>
                  <a:lnTo>
                    <a:pt x="423005" y="499205"/>
                  </a:lnTo>
                  <a:close/>
                  <a:moveTo>
                    <a:pt x="390093" y="516731"/>
                  </a:moveTo>
                  <a:lnTo>
                    <a:pt x="380581" y="520827"/>
                  </a:lnTo>
                  <a:lnTo>
                    <a:pt x="364981" y="489680"/>
                  </a:lnTo>
                  <a:cubicBezTo>
                    <a:pt x="360510" y="491395"/>
                    <a:pt x="356040" y="493014"/>
                    <a:pt x="351474" y="494443"/>
                  </a:cubicBezTo>
                  <a:lnTo>
                    <a:pt x="350523" y="494443"/>
                  </a:lnTo>
                  <a:lnTo>
                    <a:pt x="351474" y="496443"/>
                  </a:lnTo>
                  <a:lnTo>
                    <a:pt x="351949" y="496443"/>
                  </a:lnTo>
                  <a:cubicBezTo>
                    <a:pt x="356325" y="495014"/>
                    <a:pt x="360701" y="493490"/>
                    <a:pt x="364981" y="491776"/>
                  </a:cubicBezTo>
                  <a:lnTo>
                    <a:pt x="380581" y="522922"/>
                  </a:lnTo>
                  <a:lnTo>
                    <a:pt x="390664" y="518541"/>
                  </a:lnTo>
                  <a:lnTo>
                    <a:pt x="390093" y="516731"/>
                  </a:lnTo>
                  <a:close/>
                  <a:moveTo>
                    <a:pt x="358703" y="528638"/>
                  </a:moveTo>
                  <a:lnTo>
                    <a:pt x="359179" y="530828"/>
                  </a:lnTo>
                  <a:lnTo>
                    <a:pt x="348525" y="533781"/>
                  </a:lnTo>
                  <a:lnTo>
                    <a:pt x="336920" y="501015"/>
                  </a:lnTo>
                  <a:cubicBezTo>
                    <a:pt x="331403" y="502444"/>
                    <a:pt x="325696" y="503587"/>
                    <a:pt x="320084" y="504634"/>
                  </a:cubicBezTo>
                  <a:lnTo>
                    <a:pt x="320084" y="502349"/>
                  </a:lnTo>
                  <a:cubicBezTo>
                    <a:pt x="325791" y="501396"/>
                    <a:pt x="331498" y="500158"/>
                    <a:pt x="337110" y="498729"/>
                  </a:cubicBezTo>
                  <a:lnTo>
                    <a:pt x="348715" y="531495"/>
                  </a:lnTo>
                  <a:lnTo>
                    <a:pt x="358893" y="528638"/>
                  </a:lnTo>
                  <a:close/>
                  <a:moveTo>
                    <a:pt x="322557" y="537115"/>
                  </a:moveTo>
                  <a:lnTo>
                    <a:pt x="311808" y="538639"/>
                  </a:lnTo>
                  <a:lnTo>
                    <a:pt x="304864" y="504539"/>
                  </a:lnTo>
                  <a:cubicBezTo>
                    <a:pt x="300108" y="505111"/>
                    <a:pt x="295352" y="505492"/>
                    <a:pt x="290501" y="505778"/>
                  </a:cubicBezTo>
                  <a:lnTo>
                    <a:pt x="289074" y="540449"/>
                  </a:lnTo>
                  <a:lnTo>
                    <a:pt x="278040" y="540449"/>
                  </a:lnTo>
                  <a:lnTo>
                    <a:pt x="275377" y="505682"/>
                  </a:lnTo>
                  <a:cubicBezTo>
                    <a:pt x="269479" y="505682"/>
                    <a:pt x="263677" y="505682"/>
                    <a:pt x="257874" y="504825"/>
                  </a:cubicBezTo>
                  <a:lnTo>
                    <a:pt x="251691" y="539115"/>
                  </a:lnTo>
                  <a:lnTo>
                    <a:pt x="240848" y="537782"/>
                  </a:lnTo>
                  <a:lnTo>
                    <a:pt x="240848" y="540068"/>
                  </a:lnTo>
                  <a:lnTo>
                    <a:pt x="251787" y="541401"/>
                  </a:lnTo>
                  <a:lnTo>
                    <a:pt x="257969" y="507111"/>
                  </a:lnTo>
                  <a:cubicBezTo>
                    <a:pt x="263772" y="507683"/>
                    <a:pt x="269574" y="507968"/>
                    <a:pt x="275472" y="508063"/>
                  </a:cubicBezTo>
                  <a:lnTo>
                    <a:pt x="278135" y="542734"/>
                  </a:lnTo>
                  <a:lnTo>
                    <a:pt x="289169" y="542734"/>
                  </a:lnTo>
                  <a:lnTo>
                    <a:pt x="290596" y="507968"/>
                  </a:lnTo>
                  <a:cubicBezTo>
                    <a:pt x="295447" y="507968"/>
                    <a:pt x="300108" y="507301"/>
                    <a:pt x="304959" y="506730"/>
                  </a:cubicBezTo>
                  <a:lnTo>
                    <a:pt x="311903" y="540830"/>
                  </a:lnTo>
                  <a:lnTo>
                    <a:pt x="322842" y="539305"/>
                  </a:lnTo>
                  <a:lnTo>
                    <a:pt x="322842" y="537020"/>
                  </a:lnTo>
                  <a:close/>
                  <a:moveTo>
                    <a:pt x="242655" y="505587"/>
                  </a:moveTo>
                  <a:cubicBezTo>
                    <a:pt x="237962" y="504952"/>
                    <a:pt x="233301" y="504095"/>
                    <a:pt x="228672" y="503015"/>
                  </a:cubicBezTo>
                  <a:lnTo>
                    <a:pt x="218875" y="536353"/>
                  </a:lnTo>
                  <a:lnTo>
                    <a:pt x="208126" y="533781"/>
                  </a:lnTo>
                  <a:lnTo>
                    <a:pt x="208601" y="531590"/>
                  </a:lnTo>
                  <a:lnTo>
                    <a:pt x="208601" y="531590"/>
                  </a:lnTo>
                  <a:lnTo>
                    <a:pt x="218114" y="533972"/>
                  </a:lnTo>
                  <a:lnTo>
                    <a:pt x="228482" y="500825"/>
                  </a:lnTo>
                  <a:cubicBezTo>
                    <a:pt x="233238" y="501872"/>
                    <a:pt x="237994" y="502730"/>
                    <a:pt x="242560" y="503396"/>
                  </a:cubicBezTo>
                  <a:lnTo>
                    <a:pt x="242560" y="505682"/>
                  </a:lnTo>
                  <a:close/>
                  <a:moveTo>
                    <a:pt x="213548" y="499205"/>
                  </a:moveTo>
                  <a:lnTo>
                    <a:pt x="213548" y="499205"/>
                  </a:lnTo>
                  <a:lnTo>
                    <a:pt x="214404" y="497205"/>
                  </a:lnTo>
                  <a:cubicBezTo>
                    <a:pt x="209172" y="495586"/>
                    <a:pt x="202799" y="493681"/>
                    <a:pt x="196901" y="491585"/>
                  </a:cubicBezTo>
                  <a:lnTo>
                    <a:pt x="182062" y="523018"/>
                  </a:lnTo>
                  <a:lnTo>
                    <a:pt x="172550" y="519208"/>
                  </a:lnTo>
                  <a:lnTo>
                    <a:pt x="171884" y="521208"/>
                  </a:lnTo>
                  <a:lnTo>
                    <a:pt x="182062" y="525304"/>
                  </a:lnTo>
                  <a:lnTo>
                    <a:pt x="196901" y="493871"/>
                  </a:lnTo>
                  <a:cubicBezTo>
                    <a:pt x="202323" y="495776"/>
                    <a:pt x="207745" y="497586"/>
                    <a:pt x="213167" y="499110"/>
                  </a:cubicBezTo>
                  <a:close/>
                  <a:moveTo>
                    <a:pt x="182919" y="488156"/>
                  </a:moveTo>
                  <a:cubicBezTo>
                    <a:pt x="178733" y="486346"/>
                    <a:pt x="174643" y="484346"/>
                    <a:pt x="170648" y="482346"/>
                  </a:cubicBezTo>
                  <a:lnTo>
                    <a:pt x="151624" y="511683"/>
                  </a:lnTo>
                  <a:lnTo>
                    <a:pt x="142111" y="506349"/>
                  </a:lnTo>
                  <a:lnTo>
                    <a:pt x="142968" y="504539"/>
                  </a:lnTo>
                  <a:lnTo>
                    <a:pt x="151719" y="509397"/>
                  </a:lnTo>
                  <a:lnTo>
                    <a:pt x="170743" y="480060"/>
                  </a:lnTo>
                  <a:cubicBezTo>
                    <a:pt x="175404" y="482441"/>
                    <a:pt x="180255" y="484632"/>
                    <a:pt x="185011" y="486728"/>
                  </a:cubicBezTo>
                  <a:lnTo>
                    <a:pt x="183680" y="488442"/>
                  </a:lnTo>
                  <a:lnTo>
                    <a:pt x="183014" y="488442"/>
                  </a:lnTo>
                  <a:close/>
                  <a:moveTo>
                    <a:pt x="156475" y="474440"/>
                  </a:moveTo>
                  <a:lnTo>
                    <a:pt x="157331" y="475012"/>
                  </a:lnTo>
                  <a:lnTo>
                    <a:pt x="158948" y="473774"/>
                  </a:lnTo>
                  <a:cubicBezTo>
                    <a:pt x="154002" y="470630"/>
                    <a:pt x="148009" y="467011"/>
                    <a:pt x="142682" y="463201"/>
                  </a:cubicBezTo>
                  <a:lnTo>
                    <a:pt x="120138" y="489680"/>
                  </a:lnTo>
                  <a:lnTo>
                    <a:pt x="112338" y="483870"/>
                  </a:lnTo>
                  <a:lnTo>
                    <a:pt x="111387" y="485394"/>
                  </a:lnTo>
                  <a:lnTo>
                    <a:pt x="120138" y="492062"/>
                  </a:lnTo>
                  <a:lnTo>
                    <a:pt x="142777" y="465487"/>
                  </a:lnTo>
                  <a:cubicBezTo>
                    <a:pt x="147248" y="468630"/>
                    <a:pt x="152289" y="471583"/>
                    <a:pt x="156570" y="474440"/>
                  </a:cubicBezTo>
                  <a:close/>
                  <a:moveTo>
                    <a:pt x="129460" y="455390"/>
                  </a:moveTo>
                  <a:cubicBezTo>
                    <a:pt x="126036" y="452628"/>
                    <a:pt x="122707" y="449771"/>
                    <a:pt x="119948" y="446913"/>
                  </a:cubicBezTo>
                  <a:lnTo>
                    <a:pt x="94361" y="470440"/>
                  </a:lnTo>
                  <a:lnTo>
                    <a:pt x="86465" y="462725"/>
                  </a:lnTo>
                  <a:lnTo>
                    <a:pt x="87512" y="461486"/>
                  </a:lnTo>
                  <a:lnTo>
                    <a:pt x="88653" y="462629"/>
                  </a:lnTo>
                  <a:lnTo>
                    <a:pt x="94361" y="468154"/>
                  </a:lnTo>
                  <a:lnTo>
                    <a:pt x="119948" y="444532"/>
                  </a:lnTo>
                  <a:cubicBezTo>
                    <a:pt x="123982" y="448480"/>
                    <a:pt x="128341" y="452081"/>
                    <a:pt x="132980" y="455295"/>
                  </a:cubicBezTo>
                  <a:lnTo>
                    <a:pt x="130887" y="456152"/>
                  </a:lnTo>
                  <a:lnTo>
                    <a:pt x="129841" y="455390"/>
                  </a:lnTo>
                  <a:close/>
                  <a:moveTo>
                    <a:pt x="107582" y="435197"/>
                  </a:moveTo>
                  <a:cubicBezTo>
                    <a:pt x="103873" y="431387"/>
                    <a:pt x="100258" y="427387"/>
                    <a:pt x="96929" y="423291"/>
                  </a:cubicBezTo>
                  <a:lnTo>
                    <a:pt x="68392" y="443103"/>
                  </a:lnTo>
                  <a:lnTo>
                    <a:pt x="61639" y="434435"/>
                  </a:lnTo>
                  <a:lnTo>
                    <a:pt x="62685" y="433483"/>
                  </a:lnTo>
                  <a:lnTo>
                    <a:pt x="68392" y="440817"/>
                  </a:lnTo>
                  <a:lnTo>
                    <a:pt x="96929" y="421005"/>
                  </a:lnTo>
                  <a:cubicBezTo>
                    <a:pt x="101304" y="426339"/>
                    <a:pt x="105965" y="431197"/>
                    <a:pt x="110626" y="436150"/>
                  </a:cubicBezTo>
                  <a:lnTo>
                    <a:pt x="108629" y="436150"/>
                  </a:lnTo>
                  <a:lnTo>
                    <a:pt x="107582" y="435007"/>
                  </a:lnTo>
                  <a:close/>
                  <a:moveTo>
                    <a:pt x="86465" y="409956"/>
                  </a:moveTo>
                  <a:cubicBezTo>
                    <a:pt x="83992" y="406527"/>
                    <a:pt x="81614" y="403003"/>
                    <a:pt x="79331" y="399479"/>
                  </a:cubicBezTo>
                  <a:lnTo>
                    <a:pt x="48512" y="415671"/>
                  </a:lnTo>
                  <a:lnTo>
                    <a:pt x="42900" y="406146"/>
                  </a:lnTo>
                  <a:lnTo>
                    <a:pt x="43851" y="405479"/>
                  </a:lnTo>
                  <a:lnTo>
                    <a:pt x="48512" y="413385"/>
                  </a:lnTo>
                  <a:lnTo>
                    <a:pt x="79331" y="397192"/>
                  </a:lnTo>
                  <a:cubicBezTo>
                    <a:pt x="82661" y="402241"/>
                    <a:pt x="86085" y="406717"/>
                    <a:pt x="89509" y="411956"/>
                  </a:cubicBezTo>
                  <a:lnTo>
                    <a:pt x="87702" y="411956"/>
                  </a:lnTo>
                  <a:lnTo>
                    <a:pt x="86465" y="410337"/>
                  </a:lnTo>
                  <a:close/>
                  <a:moveTo>
                    <a:pt x="70675" y="384810"/>
                  </a:moveTo>
                  <a:cubicBezTo>
                    <a:pt x="68107" y="380238"/>
                    <a:pt x="65824" y="375285"/>
                    <a:pt x="63636" y="370904"/>
                  </a:cubicBezTo>
                  <a:lnTo>
                    <a:pt x="30819" y="382619"/>
                  </a:lnTo>
                  <a:lnTo>
                    <a:pt x="26539" y="372523"/>
                  </a:lnTo>
                  <a:lnTo>
                    <a:pt x="27300" y="372523"/>
                  </a:lnTo>
                  <a:lnTo>
                    <a:pt x="28156" y="374428"/>
                  </a:lnTo>
                  <a:lnTo>
                    <a:pt x="30819" y="380714"/>
                  </a:lnTo>
                  <a:lnTo>
                    <a:pt x="63636" y="368999"/>
                  </a:lnTo>
                  <a:cubicBezTo>
                    <a:pt x="66397" y="375546"/>
                    <a:pt x="69574" y="381909"/>
                    <a:pt x="73148" y="388049"/>
                  </a:cubicBezTo>
                  <a:lnTo>
                    <a:pt x="71341" y="387096"/>
                  </a:lnTo>
                  <a:lnTo>
                    <a:pt x="70485" y="385382"/>
                  </a:lnTo>
                  <a:close/>
                  <a:moveTo>
                    <a:pt x="57168" y="354806"/>
                  </a:moveTo>
                  <a:cubicBezTo>
                    <a:pt x="55741" y="350996"/>
                    <a:pt x="54314" y="347091"/>
                    <a:pt x="53078" y="343186"/>
                  </a:cubicBezTo>
                  <a:lnTo>
                    <a:pt x="19119" y="350806"/>
                  </a:lnTo>
                  <a:lnTo>
                    <a:pt x="16076" y="340138"/>
                  </a:lnTo>
                  <a:lnTo>
                    <a:pt x="16646" y="340138"/>
                  </a:lnTo>
                  <a:lnTo>
                    <a:pt x="17312" y="342329"/>
                  </a:lnTo>
                  <a:lnTo>
                    <a:pt x="19119" y="348710"/>
                  </a:lnTo>
                  <a:lnTo>
                    <a:pt x="53078" y="341090"/>
                  </a:lnTo>
                  <a:cubicBezTo>
                    <a:pt x="54505" y="345662"/>
                    <a:pt x="56122" y="350615"/>
                    <a:pt x="57929" y="354616"/>
                  </a:cubicBezTo>
                  <a:lnTo>
                    <a:pt x="59356" y="358521"/>
                  </a:lnTo>
                  <a:lnTo>
                    <a:pt x="57929" y="356902"/>
                  </a:lnTo>
                  <a:lnTo>
                    <a:pt x="57168" y="354806"/>
                  </a:lnTo>
                  <a:close/>
                  <a:moveTo>
                    <a:pt x="48322" y="326231"/>
                  </a:moveTo>
                  <a:cubicBezTo>
                    <a:pt x="47180" y="321278"/>
                    <a:pt x="46039" y="316706"/>
                    <a:pt x="45183" y="311277"/>
                  </a:cubicBezTo>
                  <a:lnTo>
                    <a:pt x="10558" y="314135"/>
                  </a:lnTo>
                  <a:lnTo>
                    <a:pt x="8941" y="303181"/>
                  </a:lnTo>
                  <a:lnTo>
                    <a:pt x="8941" y="303181"/>
                  </a:lnTo>
                  <a:lnTo>
                    <a:pt x="10178" y="311848"/>
                  </a:lnTo>
                  <a:lnTo>
                    <a:pt x="44802" y="308991"/>
                  </a:lnTo>
                  <a:cubicBezTo>
                    <a:pt x="46134" y="316230"/>
                    <a:pt x="47846" y="323183"/>
                    <a:pt x="49463" y="330327"/>
                  </a:cubicBezTo>
                  <a:lnTo>
                    <a:pt x="48512" y="328422"/>
                  </a:lnTo>
                  <a:lnTo>
                    <a:pt x="47941" y="326231"/>
                  </a:lnTo>
                  <a:close/>
                  <a:moveTo>
                    <a:pt x="42805" y="293942"/>
                  </a:moveTo>
                  <a:cubicBezTo>
                    <a:pt x="42805" y="289941"/>
                    <a:pt x="42044" y="285940"/>
                    <a:pt x="41853" y="281845"/>
                  </a:cubicBezTo>
                  <a:lnTo>
                    <a:pt x="7134" y="280416"/>
                  </a:lnTo>
                  <a:lnTo>
                    <a:pt x="7134" y="269367"/>
                  </a:lnTo>
                  <a:lnTo>
                    <a:pt x="7134" y="269367"/>
                  </a:lnTo>
                  <a:lnTo>
                    <a:pt x="7134" y="278130"/>
                  </a:lnTo>
                  <a:lnTo>
                    <a:pt x="41853" y="279559"/>
                  </a:lnTo>
                  <a:cubicBezTo>
                    <a:pt x="41853" y="284417"/>
                    <a:pt x="42519" y="289084"/>
                    <a:pt x="42995" y="293942"/>
                  </a:cubicBezTo>
                  <a:lnTo>
                    <a:pt x="43566" y="298418"/>
                  </a:lnTo>
                  <a:lnTo>
                    <a:pt x="42995" y="296228"/>
                  </a:lnTo>
                  <a:lnTo>
                    <a:pt x="42995" y="293942"/>
                  </a:lnTo>
                  <a:close/>
                  <a:moveTo>
                    <a:pt x="42805" y="249174"/>
                  </a:moveTo>
                  <a:lnTo>
                    <a:pt x="8466" y="242983"/>
                  </a:lnTo>
                  <a:lnTo>
                    <a:pt x="8466" y="240697"/>
                  </a:lnTo>
                  <a:lnTo>
                    <a:pt x="42710" y="246983"/>
                  </a:lnTo>
                  <a:lnTo>
                    <a:pt x="42710" y="249174"/>
                  </a:lnTo>
                  <a:close/>
                  <a:moveTo>
                    <a:pt x="47466" y="220027"/>
                  </a:moveTo>
                  <a:lnTo>
                    <a:pt x="13888" y="209550"/>
                  </a:lnTo>
                  <a:lnTo>
                    <a:pt x="14459" y="207454"/>
                  </a:lnTo>
                  <a:lnTo>
                    <a:pt x="47941" y="217932"/>
                  </a:lnTo>
                  <a:lnTo>
                    <a:pt x="47941" y="220027"/>
                  </a:lnTo>
                  <a:close/>
                  <a:moveTo>
                    <a:pt x="56978" y="188881"/>
                  </a:moveTo>
                  <a:lnTo>
                    <a:pt x="24161" y="173831"/>
                  </a:lnTo>
                  <a:lnTo>
                    <a:pt x="24922" y="171926"/>
                  </a:lnTo>
                  <a:lnTo>
                    <a:pt x="57168" y="187452"/>
                  </a:lnTo>
                  <a:lnTo>
                    <a:pt x="56502" y="189452"/>
                  </a:lnTo>
                  <a:close/>
                  <a:moveTo>
                    <a:pt x="68392" y="161639"/>
                  </a:moveTo>
                  <a:lnTo>
                    <a:pt x="38714" y="142589"/>
                  </a:lnTo>
                  <a:lnTo>
                    <a:pt x="39666" y="140875"/>
                  </a:lnTo>
                  <a:lnTo>
                    <a:pt x="69819" y="159925"/>
                  </a:lnTo>
                  <a:lnTo>
                    <a:pt x="68392" y="161163"/>
                  </a:lnTo>
                  <a:close/>
                  <a:moveTo>
                    <a:pt x="85704" y="134874"/>
                  </a:moveTo>
                  <a:lnTo>
                    <a:pt x="58214" y="111538"/>
                  </a:lnTo>
                  <a:lnTo>
                    <a:pt x="59261" y="110109"/>
                  </a:lnTo>
                  <a:lnTo>
                    <a:pt x="60402" y="111062"/>
                  </a:lnTo>
                  <a:lnTo>
                    <a:pt x="86751" y="133445"/>
                  </a:lnTo>
                  <a:lnTo>
                    <a:pt x="85704" y="134874"/>
                  </a:lnTo>
                  <a:close/>
                  <a:moveTo>
                    <a:pt x="104158" y="111919"/>
                  </a:moveTo>
                  <a:lnTo>
                    <a:pt x="105109" y="110776"/>
                  </a:lnTo>
                  <a:lnTo>
                    <a:pt x="81234" y="85249"/>
                  </a:lnTo>
                  <a:lnTo>
                    <a:pt x="80187" y="84106"/>
                  </a:lnTo>
                  <a:lnTo>
                    <a:pt x="79141" y="85249"/>
                  </a:lnTo>
                  <a:lnTo>
                    <a:pt x="103682" y="111919"/>
                  </a:lnTo>
                  <a:close/>
                  <a:moveTo>
                    <a:pt x="127558" y="89630"/>
                  </a:moveTo>
                  <a:lnTo>
                    <a:pt x="106346" y="59531"/>
                  </a:lnTo>
                  <a:lnTo>
                    <a:pt x="107392" y="58769"/>
                  </a:lnTo>
                  <a:lnTo>
                    <a:pt x="128129" y="88868"/>
                  </a:lnTo>
                  <a:lnTo>
                    <a:pt x="127082" y="89630"/>
                  </a:lnTo>
                  <a:close/>
                  <a:moveTo>
                    <a:pt x="151338" y="72390"/>
                  </a:moveTo>
                  <a:lnTo>
                    <a:pt x="134312" y="39815"/>
                  </a:lnTo>
                  <a:lnTo>
                    <a:pt x="135263" y="39243"/>
                  </a:lnTo>
                  <a:lnTo>
                    <a:pt x="152194" y="71819"/>
                  </a:lnTo>
                  <a:lnTo>
                    <a:pt x="151338" y="72390"/>
                  </a:lnTo>
                  <a:close/>
                  <a:moveTo>
                    <a:pt x="179875" y="56769"/>
                  </a:moveTo>
                  <a:lnTo>
                    <a:pt x="167414" y="22003"/>
                  </a:lnTo>
                  <a:lnTo>
                    <a:pt x="168175" y="22003"/>
                  </a:lnTo>
                  <a:lnTo>
                    <a:pt x="168936" y="24098"/>
                  </a:lnTo>
                  <a:lnTo>
                    <a:pt x="180541" y="56769"/>
                  </a:lnTo>
                  <a:lnTo>
                    <a:pt x="179875" y="56769"/>
                  </a:lnTo>
                  <a:close/>
                  <a:moveTo>
                    <a:pt x="207175" y="46101"/>
                  </a:moveTo>
                  <a:lnTo>
                    <a:pt x="199089" y="10001"/>
                  </a:lnTo>
                  <a:lnTo>
                    <a:pt x="199565" y="10001"/>
                  </a:lnTo>
                  <a:lnTo>
                    <a:pt x="207650" y="46101"/>
                  </a:lnTo>
                  <a:close/>
                  <a:moveTo>
                    <a:pt x="349857" y="7144"/>
                  </a:moveTo>
                  <a:lnTo>
                    <a:pt x="349857" y="7144"/>
                  </a:lnTo>
                  <a:lnTo>
                    <a:pt x="343484" y="41338"/>
                  </a:lnTo>
                  <a:lnTo>
                    <a:pt x="343484" y="43529"/>
                  </a:lnTo>
                  <a:lnTo>
                    <a:pt x="343484" y="43529"/>
                  </a:lnTo>
                  <a:lnTo>
                    <a:pt x="350237" y="7144"/>
                  </a:lnTo>
                  <a:close/>
                  <a:moveTo>
                    <a:pt x="279277" y="227457"/>
                  </a:moveTo>
                  <a:cubicBezTo>
                    <a:pt x="302547" y="227447"/>
                    <a:pt x="321602" y="245979"/>
                    <a:pt x="322271" y="269272"/>
                  </a:cubicBezTo>
                  <a:lnTo>
                    <a:pt x="322272" y="268224"/>
                  </a:lnTo>
                  <a:cubicBezTo>
                    <a:pt x="320040" y="244552"/>
                    <a:pt x="299067" y="227173"/>
                    <a:pt x="275427" y="229407"/>
                  </a:cubicBezTo>
                  <a:cubicBezTo>
                    <a:pt x="254875" y="231350"/>
                    <a:pt x="238602" y="247644"/>
                    <a:pt x="236662" y="268224"/>
                  </a:cubicBezTo>
                  <a:lnTo>
                    <a:pt x="236662" y="269081"/>
                  </a:lnTo>
                  <a:cubicBezTo>
                    <a:pt x="237282" y="245767"/>
                    <a:pt x="256366" y="227207"/>
                    <a:pt x="279657" y="227267"/>
                  </a:cubicBezTo>
                  <a:close/>
                  <a:moveTo>
                    <a:pt x="431471" y="178213"/>
                  </a:moveTo>
                  <a:lnTo>
                    <a:pt x="432517" y="180118"/>
                  </a:lnTo>
                  <a:lnTo>
                    <a:pt x="434515" y="181546"/>
                  </a:lnTo>
                  <a:lnTo>
                    <a:pt x="432517" y="177737"/>
                  </a:lnTo>
                  <a:cubicBezTo>
                    <a:pt x="391052" y="107092"/>
                    <a:pt x="306859" y="73817"/>
                    <a:pt x="228387" y="97060"/>
                  </a:cubicBezTo>
                  <a:lnTo>
                    <a:pt x="230099" y="98869"/>
                  </a:lnTo>
                  <a:lnTo>
                    <a:pt x="231050" y="98869"/>
                  </a:lnTo>
                  <a:cubicBezTo>
                    <a:pt x="308163" y="77310"/>
                    <a:pt x="390169" y="109877"/>
                    <a:pt x="431566" y="178498"/>
                  </a:cubicBezTo>
                  <a:close/>
                  <a:moveTo>
                    <a:pt x="359464" y="269081"/>
                  </a:moveTo>
                  <a:cubicBezTo>
                    <a:pt x="359799" y="293224"/>
                    <a:pt x="349331" y="316250"/>
                    <a:pt x="330928" y="331851"/>
                  </a:cubicBezTo>
                  <a:lnTo>
                    <a:pt x="330167" y="332518"/>
                  </a:lnTo>
                  <a:lnTo>
                    <a:pt x="328835" y="331280"/>
                  </a:lnTo>
                  <a:cubicBezTo>
                    <a:pt x="339958" y="322548"/>
                    <a:pt x="348560" y="311009"/>
                    <a:pt x="353757" y="297847"/>
                  </a:cubicBezTo>
                  <a:cubicBezTo>
                    <a:pt x="357408" y="288754"/>
                    <a:pt x="359374" y="279071"/>
                    <a:pt x="359559" y="269272"/>
                  </a:cubicBezTo>
                  <a:close/>
                  <a:moveTo>
                    <a:pt x="457249" y="269081"/>
                  </a:moveTo>
                  <a:cubicBezTo>
                    <a:pt x="457142" y="252968"/>
                    <a:pt x="454838" y="236945"/>
                    <a:pt x="450400" y="221456"/>
                  </a:cubicBezTo>
                  <a:lnTo>
                    <a:pt x="358893" y="260794"/>
                  </a:lnTo>
                  <a:lnTo>
                    <a:pt x="358893" y="260794"/>
                  </a:lnTo>
                  <a:lnTo>
                    <a:pt x="358893" y="258794"/>
                  </a:lnTo>
                  <a:lnTo>
                    <a:pt x="450971" y="219265"/>
                  </a:lnTo>
                  <a:cubicBezTo>
                    <a:pt x="455587" y="235464"/>
                    <a:pt x="457893" y="252236"/>
                    <a:pt x="457820" y="269081"/>
                  </a:cubicBezTo>
                  <a:close/>
                  <a:moveTo>
                    <a:pt x="288599" y="350520"/>
                  </a:moveTo>
                  <a:lnTo>
                    <a:pt x="328645" y="444246"/>
                  </a:lnTo>
                  <a:lnTo>
                    <a:pt x="329501" y="444246"/>
                  </a:lnTo>
                  <a:lnTo>
                    <a:pt x="288599" y="348520"/>
                  </a:lnTo>
                  <a:cubicBezTo>
                    <a:pt x="261364" y="351845"/>
                    <a:pt x="234310" y="341080"/>
                    <a:pt x="216782" y="319945"/>
                  </a:cubicBezTo>
                  <a:lnTo>
                    <a:pt x="123753" y="359473"/>
                  </a:lnTo>
                  <a:lnTo>
                    <a:pt x="125751" y="360902"/>
                  </a:lnTo>
                  <a:lnTo>
                    <a:pt x="217257" y="321755"/>
                  </a:lnTo>
                  <a:cubicBezTo>
                    <a:pt x="225875" y="332171"/>
                    <a:pt x="236961" y="340259"/>
                    <a:pt x="249504" y="345281"/>
                  </a:cubicBezTo>
                  <a:cubicBezTo>
                    <a:pt x="262036" y="350364"/>
                    <a:pt x="275654" y="352167"/>
                    <a:pt x="289074" y="350520"/>
                  </a:cubicBezTo>
                  <a:close/>
                  <a:moveTo>
                    <a:pt x="198804" y="277940"/>
                  </a:moveTo>
                  <a:cubicBezTo>
                    <a:pt x="198612" y="275053"/>
                    <a:pt x="198612" y="272158"/>
                    <a:pt x="198804" y="269272"/>
                  </a:cubicBezTo>
                  <a:cubicBezTo>
                    <a:pt x="198804" y="272139"/>
                    <a:pt x="198995" y="275003"/>
                    <a:pt x="199375" y="277844"/>
                  </a:cubicBezTo>
                  <a:lnTo>
                    <a:pt x="199375" y="282321"/>
                  </a:lnTo>
                  <a:lnTo>
                    <a:pt x="199375" y="280225"/>
                  </a:lnTo>
                  <a:lnTo>
                    <a:pt x="199375" y="277940"/>
                  </a:lnTo>
                  <a:close/>
                  <a:moveTo>
                    <a:pt x="227911" y="208407"/>
                  </a:moveTo>
                  <a:lnTo>
                    <a:pt x="188626" y="116681"/>
                  </a:lnTo>
                  <a:cubicBezTo>
                    <a:pt x="134637" y="148515"/>
                    <a:pt x="101249" y="206346"/>
                    <a:pt x="100639" y="269081"/>
                  </a:cubicBezTo>
                  <a:cubicBezTo>
                    <a:pt x="100410" y="205495"/>
                    <a:pt x="133908" y="146567"/>
                    <a:pt x="188626" y="114300"/>
                  </a:cubicBezTo>
                  <a:lnTo>
                    <a:pt x="229243" y="209550"/>
                  </a:ln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33" name="Freeform 32">
              <a:extLst>
                <a:ext uri="{FF2B5EF4-FFF2-40B4-BE49-F238E27FC236}">
                  <a16:creationId xmlns="" xmlns:a16="http://schemas.microsoft.com/office/drawing/2014/main" id="{F6BD33CC-42DA-2547-9522-E033F3506665}"/>
                </a:ext>
              </a:extLst>
            </p:cNvPr>
            <p:cNvSpPr/>
            <p:nvPr/>
          </p:nvSpPr>
          <p:spPr>
            <a:xfrm>
              <a:off x="4134209" y="4115552"/>
              <a:ext cx="627110" cy="627958"/>
            </a:xfrm>
            <a:custGeom>
              <a:avLst/>
              <a:gdLst>
                <a:gd name="connsiteX0" fmla="*/ 376871 w 551704"/>
                <a:gd name="connsiteY0" fmla="*/ 24670 h 552450"/>
                <a:gd name="connsiteX1" fmla="*/ 387144 w 551704"/>
                <a:gd name="connsiteY1" fmla="*/ 28766 h 552450"/>
                <a:gd name="connsiteX2" fmla="*/ 385813 w 551704"/>
                <a:gd name="connsiteY2" fmla="*/ 30575 h 552450"/>
                <a:gd name="connsiteX3" fmla="*/ 376871 w 551704"/>
                <a:gd name="connsiteY3" fmla="*/ 26956 h 552450"/>
                <a:gd name="connsiteX4" fmla="*/ 362032 w 551704"/>
                <a:gd name="connsiteY4" fmla="*/ 58484 h 552450"/>
                <a:gd name="connsiteX5" fmla="*/ 344625 w 551704"/>
                <a:gd name="connsiteY5" fmla="*/ 52864 h 552450"/>
                <a:gd name="connsiteX6" fmla="*/ 345481 w 551704"/>
                <a:gd name="connsiteY6" fmla="*/ 50768 h 552450"/>
                <a:gd name="connsiteX7" fmla="*/ 362032 w 551704"/>
                <a:gd name="connsiteY7" fmla="*/ 56198 h 552450"/>
                <a:gd name="connsiteX8" fmla="*/ 376871 w 551704"/>
                <a:gd name="connsiteY8" fmla="*/ 24670 h 552450"/>
                <a:gd name="connsiteX9" fmla="*/ 376205 w 551704"/>
                <a:gd name="connsiteY9" fmla="*/ 61913 h 552450"/>
                <a:gd name="connsiteX10" fmla="*/ 374874 w 551704"/>
                <a:gd name="connsiteY10" fmla="*/ 63627 h 552450"/>
                <a:gd name="connsiteX11" fmla="*/ 389142 w 551704"/>
                <a:gd name="connsiteY11" fmla="*/ 70295 h 552450"/>
                <a:gd name="connsiteX12" fmla="*/ 408166 w 551704"/>
                <a:gd name="connsiteY12" fmla="*/ 40862 h 552450"/>
                <a:gd name="connsiteX13" fmla="*/ 416061 w 551704"/>
                <a:gd name="connsiteY13" fmla="*/ 45244 h 552450"/>
                <a:gd name="connsiteX14" fmla="*/ 417773 w 551704"/>
                <a:gd name="connsiteY14" fmla="*/ 43910 h 552450"/>
                <a:gd name="connsiteX15" fmla="*/ 408261 w 551704"/>
                <a:gd name="connsiteY15" fmla="*/ 38576 h 552450"/>
                <a:gd name="connsiteX16" fmla="*/ 389237 w 551704"/>
                <a:gd name="connsiteY16" fmla="*/ 68009 h 552450"/>
                <a:gd name="connsiteX17" fmla="*/ 376300 w 551704"/>
                <a:gd name="connsiteY17" fmla="*/ 61913 h 552450"/>
                <a:gd name="connsiteX18" fmla="*/ 402459 w 551704"/>
                <a:gd name="connsiteY18" fmla="*/ 75343 h 552450"/>
                <a:gd name="connsiteX19" fmla="*/ 417108 w 551704"/>
                <a:gd name="connsiteY19" fmla="*/ 84868 h 552450"/>
                <a:gd name="connsiteX20" fmla="*/ 439461 w 551704"/>
                <a:gd name="connsiteY20" fmla="*/ 58293 h 552450"/>
                <a:gd name="connsiteX21" fmla="*/ 448307 w 551704"/>
                <a:gd name="connsiteY21" fmla="*/ 64960 h 552450"/>
                <a:gd name="connsiteX22" fmla="*/ 446310 w 551704"/>
                <a:gd name="connsiteY22" fmla="*/ 65723 h 552450"/>
                <a:gd name="connsiteX23" fmla="*/ 439461 w 551704"/>
                <a:gd name="connsiteY23" fmla="*/ 60579 h 552450"/>
                <a:gd name="connsiteX24" fmla="*/ 417012 w 551704"/>
                <a:gd name="connsiteY24" fmla="*/ 87154 h 552450"/>
                <a:gd name="connsiteX25" fmla="*/ 400652 w 551704"/>
                <a:gd name="connsiteY25" fmla="*/ 76581 h 552450"/>
                <a:gd name="connsiteX26" fmla="*/ 402364 w 551704"/>
                <a:gd name="connsiteY26" fmla="*/ 75343 h 552450"/>
                <a:gd name="connsiteX27" fmla="*/ 429283 w 551704"/>
                <a:gd name="connsiteY27" fmla="*/ 94393 h 552450"/>
                <a:gd name="connsiteX28" fmla="*/ 427286 w 551704"/>
                <a:gd name="connsiteY28" fmla="*/ 95060 h 552450"/>
                <a:gd name="connsiteX29" fmla="*/ 440222 w 551704"/>
                <a:gd name="connsiteY29" fmla="*/ 105918 h 552450"/>
                <a:gd name="connsiteX30" fmla="*/ 465715 w 551704"/>
                <a:gd name="connsiteY30" fmla="*/ 82391 h 552450"/>
                <a:gd name="connsiteX31" fmla="*/ 471517 w 551704"/>
                <a:gd name="connsiteY31" fmla="*/ 88011 h 552450"/>
                <a:gd name="connsiteX32" fmla="*/ 473705 w 551704"/>
                <a:gd name="connsiteY32" fmla="*/ 88011 h 552450"/>
                <a:gd name="connsiteX33" fmla="*/ 465715 w 551704"/>
                <a:gd name="connsiteY33" fmla="*/ 80391 h 552450"/>
                <a:gd name="connsiteX34" fmla="*/ 440222 w 551704"/>
                <a:gd name="connsiteY34" fmla="*/ 103918 h 552450"/>
                <a:gd name="connsiteX35" fmla="*/ 429283 w 551704"/>
                <a:gd name="connsiteY35" fmla="*/ 94393 h 552450"/>
                <a:gd name="connsiteX36" fmla="*/ 451161 w 551704"/>
                <a:gd name="connsiteY36" fmla="*/ 114205 h 552450"/>
                <a:gd name="connsiteX37" fmla="*/ 462861 w 551704"/>
                <a:gd name="connsiteY37" fmla="*/ 127159 h 552450"/>
                <a:gd name="connsiteX38" fmla="*/ 491397 w 551704"/>
                <a:gd name="connsiteY38" fmla="*/ 107347 h 552450"/>
                <a:gd name="connsiteX39" fmla="*/ 498246 w 551704"/>
                <a:gd name="connsiteY39" fmla="*/ 116015 h 552450"/>
                <a:gd name="connsiteX40" fmla="*/ 496058 w 551704"/>
                <a:gd name="connsiteY40" fmla="*/ 116015 h 552450"/>
                <a:gd name="connsiteX41" fmla="*/ 491397 w 551704"/>
                <a:gd name="connsiteY41" fmla="*/ 110109 h 552450"/>
                <a:gd name="connsiteX42" fmla="*/ 462861 w 551704"/>
                <a:gd name="connsiteY42" fmla="*/ 129921 h 552450"/>
                <a:gd name="connsiteX43" fmla="*/ 449068 w 551704"/>
                <a:gd name="connsiteY43" fmla="*/ 114776 h 552450"/>
                <a:gd name="connsiteX44" fmla="*/ 451161 w 551704"/>
                <a:gd name="connsiteY44" fmla="*/ 114776 h 552450"/>
                <a:gd name="connsiteX45" fmla="*/ 472183 w 551704"/>
                <a:gd name="connsiteY45" fmla="*/ 139160 h 552450"/>
                <a:gd name="connsiteX46" fmla="*/ 480363 w 551704"/>
                <a:gd name="connsiteY46" fmla="*/ 150971 h 552450"/>
                <a:gd name="connsiteX47" fmla="*/ 511183 w 551704"/>
                <a:gd name="connsiteY47" fmla="*/ 134874 h 552450"/>
                <a:gd name="connsiteX48" fmla="*/ 516890 w 551704"/>
                <a:gd name="connsiteY48" fmla="*/ 144399 h 552450"/>
                <a:gd name="connsiteX49" fmla="*/ 514892 w 551704"/>
                <a:gd name="connsiteY49" fmla="*/ 143447 h 552450"/>
                <a:gd name="connsiteX50" fmla="*/ 511183 w 551704"/>
                <a:gd name="connsiteY50" fmla="*/ 137255 h 552450"/>
                <a:gd name="connsiteX51" fmla="*/ 480363 w 551704"/>
                <a:gd name="connsiteY51" fmla="*/ 153353 h 552450"/>
                <a:gd name="connsiteX52" fmla="*/ 470185 w 551704"/>
                <a:gd name="connsiteY52" fmla="*/ 138779 h 552450"/>
                <a:gd name="connsiteX53" fmla="*/ 472183 w 551704"/>
                <a:gd name="connsiteY53" fmla="*/ 138779 h 552450"/>
                <a:gd name="connsiteX54" fmla="*/ 496154 w 551704"/>
                <a:gd name="connsiteY54" fmla="*/ 179642 h 552450"/>
                <a:gd name="connsiteX55" fmla="*/ 528875 w 551704"/>
                <a:gd name="connsiteY55" fmla="*/ 167831 h 552450"/>
                <a:gd name="connsiteX56" fmla="*/ 533251 w 551704"/>
                <a:gd name="connsiteY56" fmla="*/ 178022 h 552450"/>
                <a:gd name="connsiteX57" fmla="*/ 531634 w 551704"/>
                <a:gd name="connsiteY57" fmla="*/ 176498 h 552450"/>
                <a:gd name="connsiteX58" fmla="*/ 528875 w 551704"/>
                <a:gd name="connsiteY58" fmla="*/ 170212 h 552450"/>
                <a:gd name="connsiteX59" fmla="*/ 496534 w 551704"/>
                <a:gd name="connsiteY59" fmla="*/ 181547 h 552450"/>
                <a:gd name="connsiteX60" fmla="*/ 487022 w 551704"/>
                <a:gd name="connsiteY60" fmla="*/ 162497 h 552450"/>
                <a:gd name="connsiteX61" fmla="*/ 488829 w 551704"/>
                <a:gd name="connsiteY61" fmla="*/ 163735 h 552450"/>
                <a:gd name="connsiteX62" fmla="*/ 496819 w 551704"/>
                <a:gd name="connsiteY62" fmla="*/ 179356 h 552450"/>
                <a:gd name="connsiteX63" fmla="*/ 502907 w 551704"/>
                <a:gd name="connsiteY63" fmla="*/ 195548 h 552450"/>
                <a:gd name="connsiteX64" fmla="*/ 506902 w 551704"/>
                <a:gd name="connsiteY64" fmla="*/ 207169 h 552450"/>
                <a:gd name="connsiteX65" fmla="*/ 540861 w 551704"/>
                <a:gd name="connsiteY65" fmla="*/ 199549 h 552450"/>
                <a:gd name="connsiteX66" fmla="*/ 543904 w 551704"/>
                <a:gd name="connsiteY66" fmla="*/ 210122 h 552450"/>
                <a:gd name="connsiteX67" fmla="*/ 542763 w 551704"/>
                <a:gd name="connsiteY67" fmla="*/ 208217 h 552450"/>
                <a:gd name="connsiteX68" fmla="*/ 540861 w 551704"/>
                <a:gd name="connsiteY68" fmla="*/ 201835 h 552450"/>
                <a:gd name="connsiteX69" fmla="*/ 506902 w 551704"/>
                <a:gd name="connsiteY69" fmla="*/ 209455 h 552450"/>
                <a:gd name="connsiteX70" fmla="*/ 502146 w 551704"/>
                <a:gd name="connsiteY70" fmla="*/ 195929 h 552450"/>
                <a:gd name="connsiteX71" fmla="*/ 500814 w 551704"/>
                <a:gd name="connsiteY71" fmla="*/ 191929 h 552450"/>
                <a:gd name="connsiteX72" fmla="*/ 502146 w 551704"/>
                <a:gd name="connsiteY72" fmla="*/ 193643 h 552450"/>
                <a:gd name="connsiteX73" fmla="*/ 502907 w 551704"/>
                <a:gd name="connsiteY73" fmla="*/ 195548 h 552450"/>
                <a:gd name="connsiteX74" fmla="*/ 511658 w 551704"/>
                <a:gd name="connsiteY74" fmla="*/ 224123 h 552450"/>
                <a:gd name="connsiteX75" fmla="*/ 514797 w 551704"/>
                <a:gd name="connsiteY75" fmla="*/ 239173 h 552450"/>
                <a:gd name="connsiteX76" fmla="*/ 549517 w 551704"/>
                <a:gd name="connsiteY76" fmla="*/ 236315 h 552450"/>
                <a:gd name="connsiteX77" fmla="*/ 551039 w 551704"/>
                <a:gd name="connsiteY77" fmla="*/ 247174 h 552450"/>
                <a:gd name="connsiteX78" fmla="*/ 550373 w 551704"/>
                <a:gd name="connsiteY78" fmla="*/ 245078 h 552450"/>
                <a:gd name="connsiteX79" fmla="*/ 549517 w 551704"/>
                <a:gd name="connsiteY79" fmla="*/ 238601 h 552450"/>
                <a:gd name="connsiteX80" fmla="*/ 514797 w 551704"/>
                <a:gd name="connsiteY80" fmla="*/ 241459 h 552450"/>
                <a:gd name="connsiteX81" fmla="*/ 511183 w 551704"/>
                <a:gd name="connsiteY81" fmla="*/ 224314 h 552450"/>
                <a:gd name="connsiteX82" fmla="*/ 510232 w 551704"/>
                <a:gd name="connsiteY82" fmla="*/ 220028 h 552450"/>
                <a:gd name="connsiteX83" fmla="*/ 511183 w 551704"/>
                <a:gd name="connsiteY83" fmla="*/ 222028 h 552450"/>
                <a:gd name="connsiteX84" fmla="*/ 511658 w 551704"/>
                <a:gd name="connsiteY84" fmla="*/ 224123 h 552450"/>
                <a:gd name="connsiteX85" fmla="*/ 517270 w 551704"/>
                <a:gd name="connsiteY85" fmla="*/ 256413 h 552450"/>
                <a:gd name="connsiteX86" fmla="*/ 518222 w 551704"/>
                <a:gd name="connsiteY86" fmla="*/ 268510 h 552450"/>
                <a:gd name="connsiteX87" fmla="*/ 552846 w 551704"/>
                <a:gd name="connsiteY87" fmla="*/ 270034 h 552450"/>
                <a:gd name="connsiteX88" fmla="*/ 552846 w 551704"/>
                <a:gd name="connsiteY88" fmla="*/ 280988 h 552450"/>
                <a:gd name="connsiteX89" fmla="*/ 552846 w 551704"/>
                <a:gd name="connsiteY89" fmla="*/ 280988 h 552450"/>
                <a:gd name="connsiteX90" fmla="*/ 552846 w 551704"/>
                <a:gd name="connsiteY90" fmla="*/ 272320 h 552450"/>
                <a:gd name="connsiteX91" fmla="*/ 518222 w 551704"/>
                <a:gd name="connsiteY91" fmla="*/ 270796 h 552450"/>
                <a:gd name="connsiteX92" fmla="*/ 516985 w 551704"/>
                <a:gd name="connsiteY92" fmla="*/ 256508 h 552450"/>
                <a:gd name="connsiteX93" fmla="*/ 516985 w 551704"/>
                <a:gd name="connsiteY93" fmla="*/ 251936 h 552450"/>
                <a:gd name="connsiteX94" fmla="*/ 516985 w 551704"/>
                <a:gd name="connsiteY94" fmla="*/ 254127 h 552450"/>
                <a:gd name="connsiteX95" fmla="*/ 516985 w 551704"/>
                <a:gd name="connsiteY95" fmla="*/ 256413 h 552450"/>
                <a:gd name="connsiteX96" fmla="*/ 517270 w 551704"/>
                <a:gd name="connsiteY96" fmla="*/ 301276 h 552450"/>
                <a:gd name="connsiteX97" fmla="*/ 551419 w 551704"/>
                <a:gd name="connsiteY97" fmla="*/ 307467 h 552450"/>
                <a:gd name="connsiteX98" fmla="*/ 550943 w 551704"/>
                <a:gd name="connsiteY98" fmla="*/ 309658 h 552450"/>
                <a:gd name="connsiteX99" fmla="*/ 516985 w 551704"/>
                <a:gd name="connsiteY99" fmla="*/ 303467 h 552450"/>
                <a:gd name="connsiteX100" fmla="*/ 516985 w 551704"/>
                <a:gd name="connsiteY100" fmla="*/ 301276 h 552450"/>
                <a:gd name="connsiteX101" fmla="*/ 512895 w 551704"/>
                <a:gd name="connsiteY101" fmla="*/ 330422 h 552450"/>
                <a:gd name="connsiteX102" fmla="*/ 545997 w 551704"/>
                <a:gd name="connsiteY102" fmla="*/ 340900 h 552450"/>
                <a:gd name="connsiteX103" fmla="*/ 545046 w 551704"/>
                <a:gd name="connsiteY103" fmla="*/ 342805 h 552450"/>
                <a:gd name="connsiteX104" fmla="*/ 512134 w 551704"/>
                <a:gd name="connsiteY104" fmla="*/ 332518 h 552450"/>
                <a:gd name="connsiteX105" fmla="*/ 512895 w 551704"/>
                <a:gd name="connsiteY105" fmla="*/ 330422 h 552450"/>
                <a:gd name="connsiteX106" fmla="*/ 503858 w 551704"/>
                <a:gd name="connsiteY106" fmla="*/ 361855 h 552450"/>
                <a:gd name="connsiteX107" fmla="*/ 535249 w 551704"/>
                <a:gd name="connsiteY107" fmla="*/ 376714 h 552450"/>
                <a:gd name="connsiteX108" fmla="*/ 533727 w 551704"/>
                <a:gd name="connsiteY108" fmla="*/ 378333 h 552450"/>
                <a:gd name="connsiteX109" fmla="*/ 502527 w 551704"/>
                <a:gd name="connsiteY109" fmla="*/ 363569 h 552450"/>
                <a:gd name="connsiteX110" fmla="*/ 503858 w 551704"/>
                <a:gd name="connsiteY110" fmla="*/ 361855 h 552450"/>
                <a:gd name="connsiteX111" fmla="*/ 492063 w 551704"/>
                <a:gd name="connsiteY111" fmla="*/ 389001 h 552450"/>
                <a:gd name="connsiteX112" fmla="*/ 521361 w 551704"/>
                <a:gd name="connsiteY112" fmla="*/ 408051 h 552450"/>
                <a:gd name="connsiteX113" fmla="*/ 519458 w 551704"/>
                <a:gd name="connsiteY113" fmla="*/ 409099 h 552450"/>
                <a:gd name="connsiteX114" fmla="*/ 490446 w 551704"/>
                <a:gd name="connsiteY114" fmla="*/ 390620 h 552450"/>
                <a:gd name="connsiteX115" fmla="*/ 492063 w 551704"/>
                <a:gd name="connsiteY115" fmla="*/ 389382 h 552450"/>
                <a:gd name="connsiteX116" fmla="*/ 475227 w 551704"/>
                <a:gd name="connsiteY116" fmla="*/ 417005 h 552450"/>
                <a:gd name="connsiteX117" fmla="*/ 501766 w 551704"/>
                <a:gd name="connsiteY117" fmla="*/ 439484 h 552450"/>
                <a:gd name="connsiteX118" fmla="*/ 499578 w 551704"/>
                <a:gd name="connsiteY118" fmla="*/ 439484 h 552450"/>
                <a:gd name="connsiteX119" fmla="*/ 473324 w 551704"/>
                <a:gd name="connsiteY119" fmla="*/ 417195 h 552450"/>
                <a:gd name="connsiteX120" fmla="*/ 475227 w 551704"/>
                <a:gd name="connsiteY120" fmla="*/ 416528 h 552450"/>
                <a:gd name="connsiteX121" fmla="*/ 456773 w 551704"/>
                <a:gd name="connsiteY121" fmla="*/ 440150 h 552450"/>
                <a:gd name="connsiteX122" fmla="*/ 480268 w 551704"/>
                <a:gd name="connsiteY122" fmla="*/ 465773 h 552450"/>
                <a:gd name="connsiteX123" fmla="*/ 478176 w 551704"/>
                <a:gd name="connsiteY123" fmla="*/ 465773 h 552450"/>
                <a:gd name="connsiteX124" fmla="*/ 454776 w 551704"/>
                <a:gd name="connsiteY124" fmla="*/ 440341 h 552450"/>
                <a:gd name="connsiteX125" fmla="*/ 433278 w 551704"/>
                <a:gd name="connsiteY125" fmla="*/ 462820 h 552450"/>
                <a:gd name="connsiteX126" fmla="*/ 453063 w 551704"/>
                <a:gd name="connsiteY126" fmla="*/ 491395 h 552450"/>
                <a:gd name="connsiteX127" fmla="*/ 450971 w 551704"/>
                <a:gd name="connsiteY127" fmla="*/ 490728 h 552450"/>
                <a:gd name="connsiteX128" fmla="*/ 431281 w 551704"/>
                <a:gd name="connsiteY128" fmla="*/ 462153 h 552450"/>
                <a:gd name="connsiteX129" fmla="*/ 433278 w 551704"/>
                <a:gd name="connsiteY129" fmla="*/ 462820 h 552450"/>
                <a:gd name="connsiteX130" fmla="*/ 409498 w 551704"/>
                <a:gd name="connsiteY130" fmla="*/ 480346 h 552450"/>
                <a:gd name="connsiteX131" fmla="*/ 425669 w 551704"/>
                <a:gd name="connsiteY131" fmla="*/ 511207 h 552450"/>
                <a:gd name="connsiteX132" fmla="*/ 423766 w 551704"/>
                <a:gd name="connsiteY132" fmla="*/ 509969 h 552450"/>
                <a:gd name="connsiteX133" fmla="*/ 407976 w 551704"/>
                <a:gd name="connsiteY133" fmla="*/ 478441 h 552450"/>
                <a:gd name="connsiteX134" fmla="*/ 409783 w 551704"/>
                <a:gd name="connsiteY134" fmla="*/ 479584 h 552450"/>
                <a:gd name="connsiteX135" fmla="*/ 380961 w 551704"/>
                <a:gd name="connsiteY135" fmla="*/ 496157 h 552450"/>
                <a:gd name="connsiteX136" fmla="*/ 392661 w 551704"/>
                <a:gd name="connsiteY136" fmla="*/ 528923 h 552450"/>
                <a:gd name="connsiteX137" fmla="*/ 391235 w 551704"/>
                <a:gd name="connsiteY137" fmla="*/ 527209 h 552450"/>
                <a:gd name="connsiteX138" fmla="*/ 379440 w 551704"/>
                <a:gd name="connsiteY138" fmla="*/ 494443 h 552450"/>
                <a:gd name="connsiteX139" fmla="*/ 380961 w 551704"/>
                <a:gd name="connsiteY139" fmla="*/ 496157 h 552450"/>
                <a:gd name="connsiteX140" fmla="*/ 353852 w 551704"/>
                <a:gd name="connsiteY140" fmla="*/ 506254 h 552450"/>
                <a:gd name="connsiteX141" fmla="*/ 361462 w 551704"/>
                <a:gd name="connsiteY141" fmla="*/ 540353 h 552450"/>
                <a:gd name="connsiteX142" fmla="*/ 360415 w 551704"/>
                <a:gd name="connsiteY142" fmla="*/ 538258 h 552450"/>
                <a:gd name="connsiteX143" fmla="*/ 352901 w 551704"/>
                <a:gd name="connsiteY143" fmla="*/ 504254 h 552450"/>
                <a:gd name="connsiteX144" fmla="*/ 353852 w 551704"/>
                <a:gd name="connsiteY144" fmla="*/ 506254 h 552450"/>
                <a:gd name="connsiteX145" fmla="*/ 243035 w 551704"/>
                <a:gd name="connsiteY145" fmla="*/ 549878 h 552450"/>
                <a:gd name="connsiteX146" fmla="*/ 244938 w 551704"/>
                <a:gd name="connsiteY146" fmla="*/ 517398 h 552450"/>
                <a:gd name="connsiteX147" fmla="*/ 244938 w 551704"/>
                <a:gd name="connsiteY147" fmla="*/ 517398 h 552450"/>
                <a:gd name="connsiteX148" fmla="*/ 243226 w 551704"/>
                <a:gd name="connsiteY148" fmla="*/ 547592 h 552450"/>
                <a:gd name="connsiteX149" fmla="*/ 243226 w 551704"/>
                <a:gd name="connsiteY149" fmla="*/ 549878 h 552450"/>
                <a:gd name="connsiteX150" fmla="*/ 209838 w 551704"/>
                <a:gd name="connsiteY150" fmla="*/ 543115 h 552450"/>
                <a:gd name="connsiteX151" fmla="*/ 216211 w 551704"/>
                <a:gd name="connsiteY151" fmla="*/ 508826 h 552450"/>
                <a:gd name="connsiteX152" fmla="*/ 217067 w 551704"/>
                <a:gd name="connsiteY152" fmla="*/ 506825 h 552450"/>
                <a:gd name="connsiteX153" fmla="*/ 210694 w 551704"/>
                <a:gd name="connsiteY153" fmla="*/ 540925 h 552450"/>
                <a:gd name="connsiteX154" fmla="*/ 209838 w 551704"/>
                <a:gd name="connsiteY154" fmla="*/ 543115 h 552450"/>
                <a:gd name="connsiteX155" fmla="*/ 174548 w 551704"/>
                <a:gd name="connsiteY155" fmla="*/ 530828 h 552450"/>
                <a:gd name="connsiteX156" fmla="*/ 185487 w 551704"/>
                <a:gd name="connsiteY156" fmla="*/ 497777 h 552450"/>
                <a:gd name="connsiteX157" fmla="*/ 186819 w 551704"/>
                <a:gd name="connsiteY157" fmla="*/ 496062 h 552450"/>
                <a:gd name="connsiteX158" fmla="*/ 175880 w 551704"/>
                <a:gd name="connsiteY158" fmla="*/ 529019 h 552450"/>
                <a:gd name="connsiteX159" fmla="*/ 174548 w 551704"/>
                <a:gd name="connsiteY159" fmla="*/ 530828 h 552450"/>
                <a:gd name="connsiteX160" fmla="*/ 144585 w 551704"/>
                <a:gd name="connsiteY160" fmla="*/ 515684 h 552450"/>
                <a:gd name="connsiteX161" fmla="*/ 159519 w 551704"/>
                <a:gd name="connsiteY161" fmla="*/ 484251 h 552450"/>
                <a:gd name="connsiteX162" fmla="*/ 161136 w 551704"/>
                <a:gd name="connsiteY162" fmla="*/ 483108 h 552450"/>
                <a:gd name="connsiteX163" fmla="*/ 146297 w 551704"/>
                <a:gd name="connsiteY163" fmla="*/ 514350 h 552450"/>
                <a:gd name="connsiteX164" fmla="*/ 144585 w 551704"/>
                <a:gd name="connsiteY164" fmla="*/ 515684 h 552450"/>
                <a:gd name="connsiteX165" fmla="*/ 113575 w 551704"/>
                <a:gd name="connsiteY165" fmla="*/ 494729 h 552450"/>
                <a:gd name="connsiteX166" fmla="*/ 132599 w 551704"/>
                <a:gd name="connsiteY166" fmla="*/ 465677 h 552450"/>
                <a:gd name="connsiteX167" fmla="*/ 134692 w 551704"/>
                <a:gd name="connsiteY167" fmla="*/ 464820 h 552450"/>
                <a:gd name="connsiteX168" fmla="*/ 115668 w 551704"/>
                <a:gd name="connsiteY168" fmla="*/ 493967 h 552450"/>
                <a:gd name="connsiteX169" fmla="*/ 113670 w 551704"/>
                <a:gd name="connsiteY169" fmla="*/ 494729 h 552450"/>
                <a:gd name="connsiteX170" fmla="*/ 87512 w 551704"/>
                <a:gd name="connsiteY170" fmla="*/ 472250 h 552450"/>
                <a:gd name="connsiteX171" fmla="*/ 109960 w 551704"/>
                <a:gd name="connsiteY171" fmla="*/ 445865 h 552450"/>
                <a:gd name="connsiteX172" fmla="*/ 112053 w 551704"/>
                <a:gd name="connsiteY172" fmla="*/ 445865 h 552450"/>
                <a:gd name="connsiteX173" fmla="*/ 89604 w 551704"/>
                <a:gd name="connsiteY173" fmla="*/ 472250 h 552450"/>
                <a:gd name="connsiteX174" fmla="*/ 87512 w 551704"/>
                <a:gd name="connsiteY174" fmla="*/ 472250 h 552450"/>
                <a:gd name="connsiteX175" fmla="*/ 62970 w 551704"/>
                <a:gd name="connsiteY175" fmla="*/ 443675 h 552450"/>
                <a:gd name="connsiteX176" fmla="*/ 89319 w 551704"/>
                <a:gd name="connsiteY176" fmla="*/ 421291 h 552450"/>
                <a:gd name="connsiteX177" fmla="*/ 91317 w 551704"/>
                <a:gd name="connsiteY177" fmla="*/ 421958 h 552450"/>
                <a:gd name="connsiteX178" fmla="*/ 65444 w 551704"/>
                <a:gd name="connsiteY178" fmla="*/ 444913 h 552450"/>
                <a:gd name="connsiteX179" fmla="*/ 63351 w 551704"/>
                <a:gd name="connsiteY179" fmla="*/ 444436 h 552450"/>
                <a:gd name="connsiteX180" fmla="*/ 43946 w 551704"/>
                <a:gd name="connsiteY180" fmla="*/ 415100 h 552450"/>
                <a:gd name="connsiteX181" fmla="*/ 72483 w 551704"/>
                <a:gd name="connsiteY181" fmla="*/ 395383 h 552450"/>
                <a:gd name="connsiteX182" fmla="*/ 74385 w 551704"/>
                <a:gd name="connsiteY182" fmla="*/ 396431 h 552450"/>
                <a:gd name="connsiteX183" fmla="*/ 45849 w 551704"/>
                <a:gd name="connsiteY183" fmla="*/ 416052 h 552450"/>
                <a:gd name="connsiteX184" fmla="*/ 43946 w 551704"/>
                <a:gd name="connsiteY184" fmla="*/ 415100 h 552450"/>
                <a:gd name="connsiteX185" fmla="*/ 27585 w 551704"/>
                <a:gd name="connsiteY185" fmla="*/ 381476 h 552450"/>
                <a:gd name="connsiteX186" fmla="*/ 58690 w 551704"/>
                <a:gd name="connsiteY186" fmla="*/ 365855 h 552450"/>
                <a:gd name="connsiteX187" fmla="*/ 60117 w 551704"/>
                <a:gd name="connsiteY187" fmla="*/ 367475 h 552450"/>
                <a:gd name="connsiteX188" fmla="*/ 30439 w 551704"/>
                <a:gd name="connsiteY188" fmla="*/ 383191 h 552450"/>
                <a:gd name="connsiteX189" fmla="*/ 28822 w 551704"/>
                <a:gd name="connsiteY189" fmla="*/ 381762 h 552450"/>
                <a:gd name="connsiteX190" fmla="*/ 16836 w 551704"/>
                <a:gd name="connsiteY190" fmla="*/ 349282 h 552450"/>
                <a:gd name="connsiteX191" fmla="*/ 49558 w 551704"/>
                <a:gd name="connsiteY191" fmla="*/ 337757 h 552450"/>
                <a:gd name="connsiteX192" fmla="*/ 50605 w 551704"/>
                <a:gd name="connsiteY192" fmla="*/ 339662 h 552450"/>
                <a:gd name="connsiteX193" fmla="*/ 18073 w 551704"/>
                <a:gd name="connsiteY193" fmla="*/ 351187 h 552450"/>
                <a:gd name="connsiteX194" fmla="*/ 16836 w 551704"/>
                <a:gd name="connsiteY194" fmla="*/ 349282 h 552450"/>
                <a:gd name="connsiteX195" fmla="*/ 9702 w 551704"/>
                <a:gd name="connsiteY195" fmla="*/ 312515 h 552450"/>
                <a:gd name="connsiteX196" fmla="*/ 43756 w 551704"/>
                <a:gd name="connsiteY196" fmla="*/ 305562 h 552450"/>
                <a:gd name="connsiteX197" fmla="*/ 44327 w 551704"/>
                <a:gd name="connsiteY197" fmla="*/ 307753 h 552450"/>
                <a:gd name="connsiteX198" fmla="*/ 10368 w 551704"/>
                <a:gd name="connsiteY198" fmla="*/ 314706 h 552450"/>
                <a:gd name="connsiteX199" fmla="*/ 9702 w 551704"/>
                <a:gd name="connsiteY199" fmla="*/ 312515 h 552450"/>
                <a:gd name="connsiteX200" fmla="*/ 7705 w 551704"/>
                <a:gd name="connsiteY200" fmla="*/ 281083 h 552450"/>
                <a:gd name="connsiteX201" fmla="*/ 7705 w 551704"/>
                <a:gd name="connsiteY201" fmla="*/ 278702 h 552450"/>
                <a:gd name="connsiteX202" fmla="*/ 42329 w 551704"/>
                <a:gd name="connsiteY202" fmla="*/ 276035 h 552450"/>
                <a:gd name="connsiteX203" fmla="*/ 42995 w 551704"/>
                <a:gd name="connsiteY203" fmla="*/ 260795 h 552450"/>
                <a:gd name="connsiteX204" fmla="*/ 42995 w 551704"/>
                <a:gd name="connsiteY204" fmla="*/ 258509 h 552450"/>
                <a:gd name="connsiteX205" fmla="*/ 42995 w 551704"/>
                <a:gd name="connsiteY205" fmla="*/ 256223 h 552450"/>
                <a:gd name="connsiteX206" fmla="*/ 41758 w 551704"/>
                <a:gd name="connsiteY206" fmla="*/ 278321 h 552450"/>
                <a:gd name="connsiteX207" fmla="*/ 7134 w 551704"/>
                <a:gd name="connsiteY207" fmla="*/ 281083 h 552450"/>
                <a:gd name="connsiteX208" fmla="*/ 9037 w 551704"/>
                <a:gd name="connsiteY208" fmla="*/ 252508 h 552450"/>
                <a:gd name="connsiteX209" fmla="*/ 10368 w 551704"/>
                <a:gd name="connsiteY209" fmla="*/ 241554 h 552450"/>
                <a:gd name="connsiteX210" fmla="*/ 44992 w 551704"/>
                <a:gd name="connsiteY210" fmla="*/ 243650 h 552450"/>
                <a:gd name="connsiteX211" fmla="*/ 47561 w 551704"/>
                <a:gd name="connsiteY211" fmla="*/ 229553 h 552450"/>
                <a:gd name="connsiteX212" fmla="*/ 48512 w 551704"/>
                <a:gd name="connsiteY212" fmla="*/ 227362 h 552450"/>
                <a:gd name="connsiteX213" fmla="*/ 44992 w 551704"/>
                <a:gd name="connsiteY213" fmla="*/ 245936 h 552450"/>
                <a:gd name="connsiteX214" fmla="*/ 11415 w 551704"/>
                <a:gd name="connsiteY214" fmla="*/ 244221 h 552450"/>
                <a:gd name="connsiteX215" fmla="*/ 10654 w 551704"/>
                <a:gd name="connsiteY215" fmla="*/ 250698 h 552450"/>
                <a:gd name="connsiteX216" fmla="*/ 10083 w 551704"/>
                <a:gd name="connsiteY216" fmla="*/ 252889 h 552450"/>
                <a:gd name="connsiteX217" fmla="*/ 14458 w 551704"/>
                <a:gd name="connsiteY217" fmla="*/ 219075 h 552450"/>
                <a:gd name="connsiteX218" fmla="*/ 17122 w 551704"/>
                <a:gd name="connsiteY218" fmla="*/ 208407 h 552450"/>
                <a:gd name="connsiteX219" fmla="*/ 51270 w 551704"/>
                <a:gd name="connsiteY219" fmla="*/ 214694 h 552450"/>
                <a:gd name="connsiteX220" fmla="*/ 56692 w 551704"/>
                <a:gd name="connsiteY220" fmla="*/ 198025 h 552450"/>
                <a:gd name="connsiteX221" fmla="*/ 58024 w 551704"/>
                <a:gd name="connsiteY221" fmla="*/ 196406 h 552450"/>
                <a:gd name="connsiteX222" fmla="*/ 51270 w 551704"/>
                <a:gd name="connsiteY222" fmla="*/ 216980 h 552450"/>
                <a:gd name="connsiteX223" fmla="*/ 17122 w 551704"/>
                <a:gd name="connsiteY223" fmla="*/ 210693 h 552450"/>
                <a:gd name="connsiteX224" fmla="*/ 15505 w 551704"/>
                <a:gd name="connsiteY224" fmla="*/ 217075 h 552450"/>
                <a:gd name="connsiteX225" fmla="*/ 14458 w 551704"/>
                <a:gd name="connsiteY225" fmla="*/ 219075 h 552450"/>
                <a:gd name="connsiteX226" fmla="*/ 25968 w 551704"/>
                <a:gd name="connsiteY226" fmla="*/ 183166 h 552450"/>
                <a:gd name="connsiteX227" fmla="*/ 30439 w 551704"/>
                <a:gd name="connsiteY227" fmla="*/ 173641 h 552450"/>
                <a:gd name="connsiteX228" fmla="*/ 63446 w 551704"/>
                <a:gd name="connsiteY228" fmla="*/ 184595 h 552450"/>
                <a:gd name="connsiteX229" fmla="*/ 69629 w 551704"/>
                <a:gd name="connsiteY229" fmla="*/ 171641 h 552450"/>
                <a:gd name="connsiteX230" fmla="*/ 71341 w 551704"/>
                <a:gd name="connsiteY230" fmla="*/ 170593 h 552450"/>
                <a:gd name="connsiteX231" fmla="*/ 63446 w 551704"/>
                <a:gd name="connsiteY231" fmla="*/ 186881 h 552450"/>
                <a:gd name="connsiteX232" fmla="*/ 30439 w 551704"/>
                <a:gd name="connsiteY232" fmla="*/ 175641 h 552450"/>
                <a:gd name="connsiteX233" fmla="*/ 27966 w 551704"/>
                <a:gd name="connsiteY233" fmla="*/ 181928 h 552450"/>
                <a:gd name="connsiteX234" fmla="*/ 26349 w 551704"/>
                <a:gd name="connsiteY234" fmla="*/ 183547 h 552450"/>
                <a:gd name="connsiteX235" fmla="*/ 39951 w 551704"/>
                <a:gd name="connsiteY235" fmla="*/ 152686 h 552450"/>
                <a:gd name="connsiteX236" fmla="*/ 45278 w 551704"/>
                <a:gd name="connsiteY236" fmla="*/ 143161 h 552450"/>
                <a:gd name="connsiteX237" fmla="*/ 76668 w 551704"/>
                <a:gd name="connsiteY237" fmla="*/ 158115 h 552450"/>
                <a:gd name="connsiteX238" fmla="*/ 86180 w 551704"/>
                <a:gd name="connsiteY238" fmla="*/ 143351 h 552450"/>
                <a:gd name="connsiteX239" fmla="*/ 88273 w 551704"/>
                <a:gd name="connsiteY239" fmla="*/ 143351 h 552450"/>
                <a:gd name="connsiteX240" fmla="*/ 76763 w 551704"/>
                <a:gd name="connsiteY240" fmla="*/ 160877 h 552450"/>
                <a:gd name="connsiteX241" fmla="*/ 45183 w 551704"/>
                <a:gd name="connsiteY241" fmla="*/ 145066 h 552450"/>
                <a:gd name="connsiteX242" fmla="*/ 41758 w 551704"/>
                <a:gd name="connsiteY242" fmla="*/ 151352 h 552450"/>
                <a:gd name="connsiteX243" fmla="*/ 39856 w 551704"/>
                <a:gd name="connsiteY243" fmla="*/ 152400 h 552450"/>
                <a:gd name="connsiteX244" fmla="*/ 59641 w 551704"/>
                <a:gd name="connsiteY244" fmla="*/ 120872 h 552450"/>
                <a:gd name="connsiteX245" fmla="*/ 66205 w 551704"/>
                <a:gd name="connsiteY245" fmla="*/ 112014 h 552450"/>
                <a:gd name="connsiteX246" fmla="*/ 94741 w 551704"/>
                <a:gd name="connsiteY246" fmla="*/ 131064 h 552450"/>
                <a:gd name="connsiteX247" fmla="*/ 104253 w 551704"/>
                <a:gd name="connsiteY247" fmla="*/ 120110 h 552450"/>
                <a:gd name="connsiteX248" fmla="*/ 106536 w 551704"/>
                <a:gd name="connsiteY248" fmla="*/ 120110 h 552450"/>
                <a:gd name="connsiteX249" fmla="*/ 95121 w 551704"/>
                <a:gd name="connsiteY249" fmla="*/ 133445 h 552450"/>
                <a:gd name="connsiteX250" fmla="*/ 66585 w 551704"/>
                <a:gd name="connsiteY250" fmla="*/ 114395 h 552450"/>
                <a:gd name="connsiteX251" fmla="*/ 62114 w 551704"/>
                <a:gd name="connsiteY251" fmla="*/ 120396 h 552450"/>
                <a:gd name="connsiteX252" fmla="*/ 60022 w 551704"/>
                <a:gd name="connsiteY252" fmla="*/ 120968 h 552450"/>
                <a:gd name="connsiteX253" fmla="*/ 81043 w 551704"/>
                <a:gd name="connsiteY253" fmla="*/ 94583 h 552450"/>
                <a:gd name="connsiteX254" fmla="*/ 88653 w 551704"/>
                <a:gd name="connsiteY254" fmla="*/ 86678 h 552450"/>
                <a:gd name="connsiteX255" fmla="*/ 115097 w 551704"/>
                <a:gd name="connsiteY255" fmla="*/ 109252 h 552450"/>
                <a:gd name="connsiteX256" fmla="*/ 128033 w 551704"/>
                <a:gd name="connsiteY256" fmla="*/ 97536 h 552450"/>
                <a:gd name="connsiteX257" fmla="*/ 130031 w 551704"/>
                <a:gd name="connsiteY257" fmla="*/ 98108 h 552450"/>
                <a:gd name="connsiteX258" fmla="*/ 115097 w 551704"/>
                <a:gd name="connsiteY258" fmla="*/ 111538 h 552450"/>
                <a:gd name="connsiteX259" fmla="*/ 88653 w 551704"/>
                <a:gd name="connsiteY259" fmla="*/ 88964 h 552450"/>
                <a:gd name="connsiteX260" fmla="*/ 83231 w 551704"/>
                <a:gd name="connsiteY260" fmla="*/ 94583 h 552450"/>
                <a:gd name="connsiteX261" fmla="*/ 108153 w 551704"/>
                <a:gd name="connsiteY261" fmla="*/ 68866 h 552450"/>
                <a:gd name="connsiteX262" fmla="*/ 110246 w 551704"/>
                <a:gd name="connsiteY262" fmla="*/ 69628 h 552450"/>
                <a:gd name="connsiteX263" fmla="*/ 116809 w 551704"/>
                <a:gd name="connsiteY263" fmla="*/ 64389 h 552450"/>
                <a:gd name="connsiteX264" fmla="*/ 139924 w 551704"/>
                <a:gd name="connsiteY264" fmla="*/ 90392 h 552450"/>
                <a:gd name="connsiteX265" fmla="*/ 153526 w 551704"/>
                <a:gd name="connsiteY265" fmla="*/ 80867 h 552450"/>
                <a:gd name="connsiteX266" fmla="*/ 151719 w 551704"/>
                <a:gd name="connsiteY266" fmla="*/ 79820 h 552450"/>
                <a:gd name="connsiteX267" fmla="*/ 139924 w 551704"/>
                <a:gd name="connsiteY267" fmla="*/ 87916 h 552450"/>
                <a:gd name="connsiteX268" fmla="*/ 116809 w 551704"/>
                <a:gd name="connsiteY268" fmla="*/ 61913 h 552450"/>
                <a:gd name="connsiteX269" fmla="*/ 108153 w 551704"/>
                <a:gd name="connsiteY269" fmla="*/ 68675 h 552450"/>
                <a:gd name="connsiteX270" fmla="*/ 135643 w 551704"/>
                <a:gd name="connsiteY270" fmla="*/ 49149 h 552450"/>
                <a:gd name="connsiteX271" fmla="*/ 145155 w 551704"/>
                <a:gd name="connsiteY271" fmla="*/ 43434 h 552450"/>
                <a:gd name="connsiteX272" fmla="*/ 164845 w 551704"/>
                <a:gd name="connsiteY272" fmla="*/ 72009 h 552450"/>
                <a:gd name="connsiteX273" fmla="*/ 180350 w 551704"/>
                <a:gd name="connsiteY273" fmla="*/ 64103 h 552450"/>
                <a:gd name="connsiteX274" fmla="*/ 181777 w 551704"/>
                <a:gd name="connsiteY274" fmla="*/ 65723 h 552450"/>
                <a:gd name="connsiteX275" fmla="*/ 164845 w 551704"/>
                <a:gd name="connsiteY275" fmla="*/ 74295 h 552450"/>
                <a:gd name="connsiteX276" fmla="*/ 145155 w 551704"/>
                <a:gd name="connsiteY276" fmla="*/ 45720 h 552450"/>
                <a:gd name="connsiteX277" fmla="*/ 137546 w 551704"/>
                <a:gd name="connsiteY277" fmla="*/ 50292 h 552450"/>
                <a:gd name="connsiteX278" fmla="*/ 135738 w 551704"/>
                <a:gd name="connsiteY278" fmla="*/ 49149 h 552450"/>
                <a:gd name="connsiteX279" fmla="*/ 168555 w 551704"/>
                <a:gd name="connsiteY279" fmla="*/ 31337 h 552450"/>
                <a:gd name="connsiteX280" fmla="*/ 169982 w 551704"/>
                <a:gd name="connsiteY280" fmla="*/ 33052 h 552450"/>
                <a:gd name="connsiteX281" fmla="*/ 178733 w 551704"/>
                <a:gd name="connsiteY281" fmla="*/ 29337 h 552450"/>
                <a:gd name="connsiteX282" fmla="*/ 194333 w 551704"/>
                <a:gd name="connsiteY282" fmla="*/ 60484 h 552450"/>
                <a:gd name="connsiteX283" fmla="*/ 208792 w 551704"/>
                <a:gd name="connsiteY283" fmla="*/ 55340 h 552450"/>
                <a:gd name="connsiteX284" fmla="*/ 207840 w 551704"/>
                <a:gd name="connsiteY284" fmla="*/ 53340 h 552450"/>
                <a:gd name="connsiteX285" fmla="*/ 194333 w 551704"/>
                <a:gd name="connsiteY285" fmla="*/ 58198 h 552450"/>
                <a:gd name="connsiteX286" fmla="*/ 178733 w 551704"/>
                <a:gd name="connsiteY286" fmla="*/ 27051 h 552450"/>
                <a:gd name="connsiteX287" fmla="*/ 168555 w 551704"/>
                <a:gd name="connsiteY287" fmla="*/ 31337 h 552450"/>
                <a:gd name="connsiteX288" fmla="*/ 200231 w 551704"/>
                <a:gd name="connsiteY288" fmla="*/ 19336 h 552450"/>
                <a:gd name="connsiteX289" fmla="*/ 210789 w 551704"/>
                <a:gd name="connsiteY289" fmla="*/ 16288 h 552450"/>
                <a:gd name="connsiteX290" fmla="*/ 222394 w 551704"/>
                <a:gd name="connsiteY290" fmla="*/ 49149 h 552450"/>
                <a:gd name="connsiteX291" fmla="*/ 239326 w 551704"/>
                <a:gd name="connsiteY291" fmla="*/ 45434 h 552450"/>
                <a:gd name="connsiteX292" fmla="*/ 239326 w 551704"/>
                <a:gd name="connsiteY292" fmla="*/ 47720 h 552450"/>
                <a:gd name="connsiteX293" fmla="*/ 222204 w 551704"/>
                <a:gd name="connsiteY293" fmla="*/ 51435 h 552450"/>
                <a:gd name="connsiteX294" fmla="*/ 211170 w 551704"/>
                <a:gd name="connsiteY294" fmla="*/ 18574 h 552450"/>
                <a:gd name="connsiteX295" fmla="*/ 201657 w 551704"/>
                <a:gd name="connsiteY295" fmla="*/ 21241 h 552450"/>
                <a:gd name="connsiteX296" fmla="*/ 200706 w 551704"/>
                <a:gd name="connsiteY296" fmla="*/ 19241 h 552450"/>
                <a:gd name="connsiteX297" fmla="*/ 236757 w 551704"/>
                <a:gd name="connsiteY297" fmla="*/ 13049 h 552450"/>
                <a:gd name="connsiteX298" fmla="*/ 247506 w 551704"/>
                <a:gd name="connsiteY298" fmla="*/ 11525 h 552450"/>
                <a:gd name="connsiteX299" fmla="*/ 254545 w 551704"/>
                <a:gd name="connsiteY299" fmla="*/ 45530 h 552450"/>
                <a:gd name="connsiteX300" fmla="*/ 268813 w 551704"/>
                <a:gd name="connsiteY300" fmla="*/ 44387 h 552450"/>
                <a:gd name="connsiteX301" fmla="*/ 270240 w 551704"/>
                <a:gd name="connsiteY301" fmla="*/ 9620 h 552450"/>
                <a:gd name="connsiteX302" fmla="*/ 281274 w 551704"/>
                <a:gd name="connsiteY302" fmla="*/ 9620 h 552450"/>
                <a:gd name="connsiteX303" fmla="*/ 284033 w 551704"/>
                <a:gd name="connsiteY303" fmla="*/ 44291 h 552450"/>
                <a:gd name="connsiteX304" fmla="*/ 301440 w 551704"/>
                <a:gd name="connsiteY304" fmla="*/ 45149 h 552450"/>
                <a:gd name="connsiteX305" fmla="*/ 307623 w 551704"/>
                <a:gd name="connsiteY305" fmla="*/ 10954 h 552450"/>
                <a:gd name="connsiteX306" fmla="*/ 318467 w 551704"/>
                <a:gd name="connsiteY306" fmla="*/ 12287 h 552450"/>
                <a:gd name="connsiteX307" fmla="*/ 318467 w 551704"/>
                <a:gd name="connsiteY307" fmla="*/ 9811 h 552450"/>
                <a:gd name="connsiteX308" fmla="*/ 307528 w 551704"/>
                <a:gd name="connsiteY308" fmla="*/ 8477 h 552450"/>
                <a:gd name="connsiteX309" fmla="*/ 301345 w 551704"/>
                <a:gd name="connsiteY309" fmla="*/ 42672 h 552450"/>
                <a:gd name="connsiteX310" fmla="*/ 283938 w 551704"/>
                <a:gd name="connsiteY310" fmla="*/ 41815 h 552450"/>
                <a:gd name="connsiteX311" fmla="*/ 281179 w 551704"/>
                <a:gd name="connsiteY311" fmla="*/ 7144 h 552450"/>
                <a:gd name="connsiteX312" fmla="*/ 270145 w 551704"/>
                <a:gd name="connsiteY312" fmla="*/ 7144 h 552450"/>
                <a:gd name="connsiteX313" fmla="*/ 268718 w 551704"/>
                <a:gd name="connsiteY313" fmla="*/ 41910 h 552450"/>
                <a:gd name="connsiteX314" fmla="*/ 254450 w 551704"/>
                <a:gd name="connsiteY314" fmla="*/ 43053 h 552450"/>
                <a:gd name="connsiteX315" fmla="*/ 247411 w 551704"/>
                <a:gd name="connsiteY315" fmla="*/ 8954 h 552450"/>
                <a:gd name="connsiteX316" fmla="*/ 236567 w 551704"/>
                <a:gd name="connsiteY316" fmla="*/ 10573 h 552450"/>
                <a:gd name="connsiteX317" fmla="*/ 236567 w 551704"/>
                <a:gd name="connsiteY317" fmla="*/ 12859 h 552450"/>
                <a:gd name="connsiteX318" fmla="*/ 316659 w 551704"/>
                <a:gd name="connsiteY318" fmla="*/ 44577 h 552450"/>
                <a:gd name="connsiteX319" fmla="*/ 316659 w 551704"/>
                <a:gd name="connsiteY319" fmla="*/ 46768 h 552450"/>
                <a:gd name="connsiteX320" fmla="*/ 330737 w 551704"/>
                <a:gd name="connsiteY320" fmla="*/ 49435 h 552450"/>
                <a:gd name="connsiteX321" fmla="*/ 341201 w 551704"/>
                <a:gd name="connsiteY321" fmla="*/ 16193 h 552450"/>
                <a:gd name="connsiteX322" fmla="*/ 350713 w 551704"/>
                <a:gd name="connsiteY322" fmla="*/ 18669 h 552450"/>
                <a:gd name="connsiteX323" fmla="*/ 351569 w 551704"/>
                <a:gd name="connsiteY323" fmla="*/ 16574 h 552450"/>
                <a:gd name="connsiteX324" fmla="*/ 340915 w 551704"/>
                <a:gd name="connsiteY324" fmla="*/ 13907 h 552450"/>
                <a:gd name="connsiteX325" fmla="*/ 330452 w 551704"/>
                <a:gd name="connsiteY325" fmla="*/ 47149 h 552450"/>
                <a:gd name="connsiteX326" fmla="*/ 316469 w 551704"/>
                <a:gd name="connsiteY326" fmla="*/ 44577 h 552450"/>
                <a:gd name="connsiteX327" fmla="*/ 323793 w 551704"/>
                <a:gd name="connsiteY327" fmla="*/ 280988 h 552450"/>
                <a:gd name="connsiteX328" fmla="*/ 276949 w 551704"/>
                <a:gd name="connsiteY328" fmla="*/ 319804 h 552450"/>
                <a:gd name="connsiteX329" fmla="*/ 238184 w 551704"/>
                <a:gd name="connsiteY329" fmla="*/ 280988 h 552450"/>
                <a:gd name="connsiteX330" fmla="*/ 238184 w 551704"/>
                <a:gd name="connsiteY330" fmla="*/ 282131 h 552450"/>
                <a:gd name="connsiteX331" fmla="*/ 276949 w 551704"/>
                <a:gd name="connsiteY331" fmla="*/ 329039 h 552450"/>
                <a:gd name="connsiteX332" fmla="*/ 323793 w 551704"/>
                <a:gd name="connsiteY332" fmla="*/ 290222 h 552450"/>
                <a:gd name="connsiteX333" fmla="*/ 323793 w 551704"/>
                <a:gd name="connsiteY333" fmla="*/ 282131 h 552450"/>
                <a:gd name="connsiteX334" fmla="*/ 323793 w 551704"/>
                <a:gd name="connsiteY334" fmla="*/ 280988 h 552450"/>
                <a:gd name="connsiteX335" fmla="*/ 310667 w 551704"/>
                <a:gd name="connsiteY335" fmla="*/ 204788 h 552450"/>
                <a:gd name="connsiteX336" fmla="*/ 342913 w 551704"/>
                <a:gd name="connsiteY336" fmla="*/ 228410 h 552450"/>
                <a:gd name="connsiteX337" fmla="*/ 434420 w 551704"/>
                <a:gd name="connsiteY337" fmla="*/ 189167 h 552450"/>
                <a:gd name="connsiteX338" fmla="*/ 436417 w 551704"/>
                <a:gd name="connsiteY338" fmla="*/ 190595 h 552450"/>
                <a:gd name="connsiteX339" fmla="*/ 342913 w 551704"/>
                <a:gd name="connsiteY339" fmla="*/ 230791 h 552450"/>
                <a:gd name="connsiteX340" fmla="*/ 271096 w 551704"/>
                <a:gd name="connsiteY340" fmla="*/ 202216 h 552450"/>
                <a:gd name="connsiteX341" fmla="*/ 230194 w 551704"/>
                <a:gd name="connsiteY341" fmla="*/ 106966 h 552450"/>
                <a:gd name="connsiteX342" fmla="*/ 231906 w 551704"/>
                <a:gd name="connsiteY342" fmla="*/ 108680 h 552450"/>
                <a:gd name="connsiteX343" fmla="*/ 271096 w 551704"/>
                <a:gd name="connsiteY343" fmla="*/ 200406 h 552450"/>
                <a:gd name="connsiteX344" fmla="*/ 310667 w 551704"/>
                <a:gd name="connsiteY344" fmla="*/ 205550 h 552450"/>
                <a:gd name="connsiteX345" fmla="*/ 361271 w 551704"/>
                <a:gd name="connsiteY345" fmla="*/ 280988 h 552450"/>
                <a:gd name="connsiteX346" fmla="*/ 360130 w 551704"/>
                <a:gd name="connsiteY346" fmla="*/ 268129 h 552450"/>
                <a:gd name="connsiteX347" fmla="*/ 360701 w 551704"/>
                <a:gd name="connsiteY347" fmla="*/ 270224 h 552450"/>
                <a:gd name="connsiteX348" fmla="*/ 361271 w 551704"/>
                <a:gd name="connsiteY348" fmla="*/ 280988 h 552450"/>
                <a:gd name="connsiteX349" fmla="*/ 331879 w 551704"/>
                <a:gd name="connsiteY349" fmla="*/ 342043 h 552450"/>
                <a:gd name="connsiteX350" fmla="*/ 371069 w 551704"/>
                <a:gd name="connsiteY350" fmla="*/ 433673 h 552450"/>
                <a:gd name="connsiteX351" fmla="*/ 459056 w 551704"/>
                <a:gd name="connsiteY351" fmla="*/ 281273 h 552450"/>
                <a:gd name="connsiteX352" fmla="*/ 446215 w 551704"/>
                <a:gd name="connsiteY352" fmla="*/ 348615 h 552450"/>
                <a:gd name="connsiteX353" fmla="*/ 371069 w 551704"/>
                <a:gd name="connsiteY353" fmla="*/ 436055 h 552450"/>
                <a:gd name="connsiteX354" fmla="*/ 330452 w 551704"/>
                <a:gd name="connsiteY354" fmla="*/ 340805 h 552450"/>
                <a:gd name="connsiteX355" fmla="*/ 331879 w 551704"/>
                <a:gd name="connsiteY355" fmla="*/ 341948 h 552450"/>
                <a:gd name="connsiteX356" fmla="*/ 128224 w 551704"/>
                <a:gd name="connsiteY356" fmla="*/ 372142 h 552450"/>
                <a:gd name="connsiteX357" fmla="*/ 127082 w 551704"/>
                <a:gd name="connsiteY357" fmla="*/ 370237 h 552450"/>
                <a:gd name="connsiteX358" fmla="*/ 125085 w 551704"/>
                <a:gd name="connsiteY358" fmla="*/ 368713 h 552450"/>
                <a:gd name="connsiteX359" fmla="*/ 127082 w 551704"/>
                <a:gd name="connsiteY359" fmla="*/ 372618 h 552450"/>
                <a:gd name="connsiteX360" fmla="*/ 329596 w 551704"/>
                <a:gd name="connsiteY360" fmla="*/ 453771 h 552450"/>
                <a:gd name="connsiteX361" fmla="*/ 331308 w 551704"/>
                <a:gd name="connsiteY361" fmla="*/ 453771 h 552450"/>
                <a:gd name="connsiteX362" fmla="*/ 329596 w 551704"/>
                <a:gd name="connsiteY362" fmla="*/ 451961 h 552450"/>
                <a:gd name="connsiteX363" fmla="*/ 328740 w 551704"/>
                <a:gd name="connsiteY363" fmla="*/ 451961 h 552450"/>
                <a:gd name="connsiteX364" fmla="*/ 128224 w 551704"/>
                <a:gd name="connsiteY364" fmla="*/ 372332 h 552450"/>
                <a:gd name="connsiteX365" fmla="*/ 200326 w 551704"/>
                <a:gd name="connsiteY365" fmla="*/ 280702 h 552450"/>
                <a:gd name="connsiteX366" fmla="*/ 229623 w 551704"/>
                <a:gd name="connsiteY366" fmla="*/ 219932 h 552450"/>
                <a:gd name="connsiteX367" fmla="*/ 231050 w 551704"/>
                <a:gd name="connsiteY367" fmla="*/ 218694 h 552450"/>
                <a:gd name="connsiteX368" fmla="*/ 229623 w 551704"/>
                <a:gd name="connsiteY368" fmla="*/ 217551 h 552450"/>
                <a:gd name="connsiteX369" fmla="*/ 228862 w 551704"/>
                <a:gd name="connsiteY369" fmla="*/ 218218 h 552450"/>
                <a:gd name="connsiteX370" fmla="*/ 206033 w 551704"/>
                <a:gd name="connsiteY370" fmla="*/ 249841 h 552450"/>
                <a:gd name="connsiteX371" fmla="*/ 200326 w 551704"/>
                <a:gd name="connsiteY371" fmla="*/ 280702 h 552450"/>
                <a:gd name="connsiteX372" fmla="*/ 102446 w 551704"/>
                <a:gd name="connsiteY372" fmla="*/ 281273 h 552450"/>
                <a:gd name="connsiteX373" fmla="*/ 109295 w 551704"/>
                <a:gd name="connsiteY373" fmla="*/ 328898 h 552450"/>
                <a:gd name="connsiteX374" fmla="*/ 200801 w 551704"/>
                <a:gd name="connsiteY374" fmla="*/ 289655 h 552450"/>
                <a:gd name="connsiteX375" fmla="*/ 201372 w 551704"/>
                <a:gd name="connsiteY375" fmla="*/ 291751 h 552450"/>
                <a:gd name="connsiteX376" fmla="*/ 109295 w 551704"/>
                <a:gd name="connsiteY376" fmla="*/ 331184 h 552450"/>
                <a:gd name="connsiteX377" fmla="*/ 102446 w 551704"/>
                <a:gd name="connsiteY377" fmla="*/ 281273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Lst>
              <a:rect l="l" t="t" r="r" b="b"/>
              <a:pathLst>
                <a:path w="551704" h="552450">
                  <a:moveTo>
                    <a:pt x="376871" y="24670"/>
                  </a:moveTo>
                  <a:lnTo>
                    <a:pt x="387144" y="28766"/>
                  </a:lnTo>
                  <a:lnTo>
                    <a:pt x="385813" y="30575"/>
                  </a:lnTo>
                  <a:lnTo>
                    <a:pt x="376871" y="26956"/>
                  </a:lnTo>
                  <a:lnTo>
                    <a:pt x="362032" y="58484"/>
                  </a:lnTo>
                  <a:cubicBezTo>
                    <a:pt x="356515" y="56483"/>
                    <a:pt x="350142" y="54483"/>
                    <a:pt x="344625" y="52864"/>
                  </a:cubicBezTo>
                  <a:lnTo>
                    <a:pt x="345481" y="50768"/>
                  </a:lnTo>
                  <a:cubicBezTo>
                    <a:pt x="350808" y="52292"/>
                    <a:pt x="356801" y="54293"/>
                    <a:pt x="362032" y="56198"/>
                  </a:cubicBezTo>
                  <a:lnTo>
                    <a:pt x="376871" y="24670"/>
                  </a:lnTo>
                  <a:close/>
                  <a:moveTo>
                    <a:pt x="376205" y="61913"/>
                  </a:moveTo>
                  <a:lnTo>
                    <a:pt x="374874" y="63627"/>
                  </a:lnTo>
                  <a:cubicBezTo>
                    <a:pt x="379249" y="65532"/>
                    <a:pt x="384861" y="68104"/>
                    <a:pt x="389142" y="70295"/>
                  </a:cubicBezTo>
                  <a:lnTo>
                    <a:pt x="408166" y="40862"/>
                  </a:lnTo>
                  <a:lnTo>
                    <a:pt x="416061" y="45244"/>
                  </a:lnTo>
                  <a:lnTo>
                    <a:pt x="417773" y="43910"/>
                  </a:lnTo>
                  <a:lnTo>
                    <a:pt x="408261" y="38576"/>
                  </a:lnTo>
                  <a:lnTo>
                    <a:pt x="389237" y="68009"/>
                  </a:lnTo>
                  <a:cubicBezTo>
                    <a:pt x="385527" y="66104"/>
                    <a:pt x="380486" y="63722"/>
                    <a:pt x="376300" y="61913"/>
                  </a:cubicBezTo>
                  <a:close/>
                  <a:moveTo>
                    <a:pt x="402459" y="75343"/>
                  </a:moveTo>
                  <a:cubicBezTo>
                    <a:pt x="407215" y="78105"/>
                    <a:pt x="413017" y="81915"/>
                    <a:pt x="417108" y="84868"/>
                  </a:cubicBezTo>
                  <a:lnTo>
                    <a:pt x="439461" y="58293"/>
                  </a:lnTo>
                  <a:lnTo>
                    <a:pt x="448307" y="64960"/>
                  </a:lnTo>
                  <a:lnTo>
                    <a:pt x="446310" y="65723"/>
                  </a:lnTo>
                  <a:lnTo>
                    <a:pt x="439461" y="60579"/>
                  </a:lnTo>
                  <a:lnTo>
                    <a:pt x="417012" y="87154"/>
                  </a:lnTo>
                  <a:cubicBezTo>
                    <a:pt x="412352" y="83915"/>
                    <a:pt x="405598" y="79629"/>
                    <a:pt x="400652" y="76581"/>
                  </a:cubicBezTo>
                  <a:lnTo>
                    <a:pt x="402364" y="75343"/>
                  </a:lnTo>
                  <a:close/>
                  <a:moveTo>
                    <a:pt x="429283" y="94393"/>
                  </a:moveTo>
                  <a:lnTo>
                    <a:pt x="427286" y="95060"/>
                  </a:lnTo>
                  <a:cubicBezTo>
                    <a:pt x="431090" y="98108"/>
                    <a:pt x="436798" y="102870"/>
                    <a:pt x="440222" y="105918"/>
                  </a:cubicBezTo>
                  <a:lnTo>
                    <a:pt x="465715" y="82391"/>
                  </a:lnTo>
                  <a:lnTo>
                    <a:pt x="471517" y="88011"/>
                  </a:lnTo>
                  <a:lnTo>
                    <a:pt x="473705" y="88011"/>
                  </a:lnTo>
                  <a:lnTo>
                    <a:pt x="465715" y="80391"/>
                  </a:lnTo>
                  <a:lnTo>
                    <a:pt x="440222" y="103918"/>
                  </a:lnTo>
                  <a:cubicBezTo>
                    <a:pt x="437368" y="101346"/>
                    <a:pt x="432803" y="97346"/>
                    <a:pt x="429283" y="94393"/>
                  </a:cubicBezTo>
                  <a:close/>
                  <a:moveTo>
                    <a:pt x="451161" y="114205"/>
                  </a:moveTo>
                  <a:cubicBezTo>
                    <a:pt x="454871" y="118015"/>
                    <a:pt x="459722" y="123730"/>
                    <a:pt x="462861" y="127159"/>
                  </a:cubicBezTo>
                  <a:lnTo>
                    <a:pt x="491397" y="107347"/>
                  </a:lnTo>
                  <a:lnTo>
                    <a:pt x="498246" y="116015"/>
                  </a:lnTo>
                  <a:lnTo>
                    <a:pt x="496058" y="116015"/>
                  </a:lnTo>
                  <a:lnTo>
                    <a:pt x="491397" y="110109"/>
                  </a:lnTo>
                  <a:lnTo>
                    <a:pt x="462861" y="129921"/>
                  </a:lnTo>
                  <a:cubicBezTo>
                    <a:pt x="459151" y="125444"/>
                    <a:pt x="453349" y="118967"/>
                    <a:pt x="449068" y="114776"/>
                  </a:cubicBezTo>
                  <a:lnTo>
                    <a:pt x="451161" y="114776"/>
                  </a:lnTo>
                  <a:close/>
                  <a:moveTo>
                    <a:pt x="472183" y="139160"/>
                  </a:moveTo>
                  <a:cubicBezTo>
                    <a:pt x="474751" y="142685"/>
                    <a:pt x="478366" y="147923"/>
                    <a:pt x="480363" y="150971"/>
                  </a:cubicBezTo>
                  <a:lnTo>
                    <a:pt x="511183" y="134874"/>
                  </a:lnTo>
                  <a:lnTo>
                    <a:pt x="516890" y="144399"/>
                  </a:lnTo>
                  <a:lnTo>
                    <a:pt x="514892" y="143447"/>
                  </a:lnTo>
                  <a:lnTo>
                    <a:pt x="511183" y="137255"/>
                  </a:lnTo>
                  <a:lnTo>
                    <a:pt x="480363" y="153353"/>
                  </a:lnTo>
                  <a:cubicBezTo>
                    <a:pt x="477795" y="149352"/>
                    <a:pt x="473039" y="142589"/>
                    <a:pt x="470185" y="138779"/>
                  </a:cubicBezTo>
                  <a:lnTo>
                    <a:pt x="472183" y="138779"/>
                  </a:lnTo>
                  <a:close/>
                  <a:moveTo>
                    <a:pt x="496154" y="179642"/>
                  </a:moveTo>
                  <a:lnTo>
                    <a:pt x="528875" y="167831"/>
                  </a:lnTo>
                  <a:lnTo>
                    <a:pt x="533251" y="178022"/>
                  </a:lnTo>
                  <a:lnTo>
                    <a:pt x="531634" y="176498"/>
                  </a:lnTo>
                  <a:lnTo>
                    <a:pt x="528875" y="170212"/>
                  </a:lnTo>
                  <a:lnTo>
                    <a:pt x="496534" y="181547"/>
                  </a:lnTo>
                  <a:cubicBezTo>
                    <a:pt x="493490" y="174974"/>
                    <a:pt x="489971" y="168783"/>
                    <a:pt x="487022" y="162497"/>
                  </a:cubicBezTo>
                  <a:lnTo>
                    <a:pt x="488829" y="163735"/>
                  </a:lnTo>
                  <a:cubicBezTo>
                    <a:pt x="491683" y="168783"/>
                    <a:pt x="494346" y="174022"/>
                    <a:pt x="496819" y="179356"/>
                  </a:cubicBezTo>
                  <a:close/>
                  <a:moveTo>
                    <a:pt x="502907" y="195548"/>
                  </a:moveTo>
                  <a:cubicBezTo>
                    <a:pt x="504334" y="199358"/>
                    <a:pt x="505666" y="203264"/>
                    <a:pt x="506902" y="207169"/>
                  </a:cubicBezTo>
                  <a:lnTo>
                    <a:pt x="540861" y="199549"/>
                  </a:lnTo>
                  <a:lnTo>
                    <a:pt x="543904" y="210122"/>
                  </a:lnTo>
                  <a:lnTo>
                    <a:pt x="542763" y="208217"/>
                  </a:lnTo>
                  <a:lnTo>
                    <a:pt x="540861" y="201835"/>
                  </a:lnTo>
                  <a:lnTo>
                    <a:pt x="506902" y="209455"/>
                  </a:lnTo>
                  <a:cubicBezTo>
                    <a:pt x="505475" y="204883"/>
                    <a:pt x="503858" y="199930"/>
                    <a:pt x="502146" y="195929"/>
                  </a:cubicBezTo>
                  <a:lnTo>
                    <a:pt x="500814" y="191929"/>
                  </a:lnTo>
                  <a:lnTo>
                    <a:pt x="502146" y="193643"/>
                  </a:lnTo>
                  <a:lnTo>
                    <a:pt x="502907" y="195548"/>
                  </a:lnTo>
                  <a:close/>
                  <a:moveTo>
                    <a:pt x="511658" y="224123"/>
                  </a:moveTo>
                  <a:cubicBezTo>
                    <a:pt x="512895" y="229076"/>
                    <a:pt x="513941" y="233648"/>
                    <a:pt x="514797" y="239173"/>
                  </a:cubicBezTo>
                  <a:lnTo>
                    <a:pt x="549517" y="236315"/>
                  </a:lnTo>
                  <a:lnTo>
                    <a:pt x="551039" y="247174"/>
                  </a:lnTo>
                  <a:lnTo>
                    <a:pt x="550373" y="245078"/>
                  </a:lnTo>
                  <a:lnTo>
                    <a:pt x="549517" y="238601"/>
                  </a:lnTo>
                  <a:lnTo>
                    <a:pt x="514797" y="241459"/>
                  </a:lnTo>
                  <a:cubicBezTo>
                    <a:pt x="513846" y="235649"/>
                    <a:pt x="512610" y="230029"/>
                    <a:pt x="511183" y="224314"/>
                  </a:cubicBezTo>
                  <a:lnTo>
                    <a:pt x="510232" y="220028"/>
                  </a:lnTo>
                  <a:lnTo>
                    <a:pt x="511183" y="222028"/>
                  </a:lnTo>
                  <a:lnTo>
                    <a:pt x="511658" y="224123"/>
                  </a:lnTo>
                  <a:close/>
                  <a:moveTo>
                    <a:pt x="517270" y="256413"/>
                  </a:moveTo>
                  <a:cubicBezTo>
                    <a:pt x="517270" y="260509"/>
                    <a:pt x="517936" y="264509"/>
                    <a:pt x="518222" y="268510"/>
                  </a:cubicBezTo>
                  <a:lnTo>
                    <a:pt x="552846" y="270034"/>
                  </a:lnTo>
                  <a:lnTo>
                    <a:pt x="552846" y="280988"/>
                  </a:lnTo>
                  <a:lnTo>
                    <a:pt x="552846" y="280988"/>
                  </a:lnTo>
                  <a:lnTo>
                    <a:pt x="552846" y="272320"/>
                  </a:lnTo>
                  <a:lnTo>
                    <a:pt x="518222" y="270796"/>
                  </a:lnTo>
                  <a:cubicBezTo>
                    <a:pt x="518222" y="266033"/>
                    <a:pt x="517556" y="261271"/>
                    <a:pt x="516985" y="256508"/>
                  </a:cubicBezTo>
                  <a:lnTo>
                    <a:pt x="516985" y="251936"/>
                  </a:lnTo>
                  <a:lnTo>
                    <a:pt x="516985" y="254127"/>
                  </a:lnTo>
                  <a:lnTo>
                    <a:pt x="516985" y="256413"/>
                  </a:lnTo>
                  <a:close/>
                  <a:moveTo>
                    <a:pt x="517270" y="301276"/>
                  </a:moveTo>
                  <a:lnTo>
                    <a:pt x="551419" y="307467"/>
                  </a:lnTo>
                  <a:lnTo>
                    <a:pt x="550943" y="309658"/>
                  </a:lnTo>
                  <a:lnTo>
                    <a:pt x="516985" y="303467"/>
                  </a:lnTo>
                  <a:lnTo>
                    <a:pt x="516985" y="301276"/>
                  </a:lnTo>
                  <a:close/>
                  <a:moveTo>
                    <a:pt x="512895" y="330422"/>
                  </a:moveTo>
                  <a:lnTo>
                    <a:pt x="545997" y="340900"/>
                  </a:lnTo>
                  <a:lnTo>
                    <a:pt x="545046" y="342805"/>
                  </a:lnTo>
                  <a:lnTo>
                    <a:pt x="512134" y="332518"/>
                  </a:lnTo>
                  <a:lnTo>
                    <a:pt x="512895" y="330422"/>
                  </a:lnTo>
                  <a:close/>
                  <a:moveTo>
                    <a:pt x="503858" y="361855"/>
                  </a:moveTo>
                  <a:lnTo>
                    <a:pt x="535249" y="376714"/>
                  </a:lnTo>
                  <a:lnTo>
                    <a:pt x="533727" y="378333"/>
                  </a:lnTo>
                  <a:lnTo>
                    <a:pt x="502527" y="363569"/>
                  </a:lnTo>
                  <a:lnTo>
                    <a:pt x="503858" y="361855"/>
                  </a:lnTo>
                  <a:close/>
                  <a:moveTo>
                    <a:pt x="492063" y="389001"/>
                  </a:moveTo>
                  <a:lnTo>
                    <a:pt x="521361" y="408051"/>
                  </a:lnTo>
                  <a:lnTo>
                    <a:pt x="519458" y="409099"/>
                  </a:lnTo>
                  <a:lnTo>
                    <a:pt x="490446" y="390620"/>
                  </a:lnTo>
                  <a:lnTo>
                    <a:pt x="492063" y="389382"/>
                  </a:lnTo>
                  <a:close/>
                  <a:moveTo>
                    <a:pt x="475227" y="417005"/>
                  </a:moveTo>
                  <a:lnTo>
                    <a:pt x="501766" y="439484"/>
                  </a:lnTo>
                  <a:lnTo>
                    <a:pt x="499578" y="439484"/>
                  </a:lnTo>
                  <a:lnTo>
                    <a:pt x="473324" y="417195"/>
                  </a:lnTo>
                  <a:lnTo>
                    <a:pt x="475227" y="416528"/>
                  </a:lnTo>
                  <a:close/>
                  <a:moveTo>
                    <a:pt x="456773" y="440150"/>
                  </a:moveTo>
                  <a:lnTo>
                    <a:pt x="480268" y="465773"/>
                  </a:lnTo>
                  <a:lnTo>
                    <a:pt x="478176" y="465773"/>
                  </a:lnTo>
                  <a:lnTo>
                    <a:pt x="454776" y="440341"/>
                  </a:lnTo>
                  <a:close/>
                  <a:moveTo>
                    <a:pt x="433278" y="462820"/>
                  </a:moveTo>
                  <a:lnTo>
                    <a:pt x="453063" y="491395"/>
                  </a:lnTo>
                  <a:lnTo>
                    <a:pt x="450971" y="490728"/>
                  </a:lnTo>
                  <a:lnTo>
                    <a:pt x="431281" y="462153"/>
                  </a:lnTo>
                  <a:lnTo>
                    <a:pt x="433278" y="462820"/>
                  </a:lnTo>
                  <a:close/>
                  <a:moveTo>
                    <a:pt x="409498" y="480346"/>
                  </a:moveTo>
                  <a:lnTo>
                    <a:pt x="425669" y="511207"/>
                  </a:lnTo>
                  <a:lnTo>
                    <a:pt x="423766" y="509969"/>
                  </a:lnTo>
                  <a:lnTo>
                    <a:pt x="407976" y="478441"/>
                  </a:lnTo>
                  <a:lnTo>
                    <a:pt x="409783" y="479584"/>
                  </a:lnTo>
                  <a:close/>
                  <a:moveTo>
                    <a:pt x="380961" y="496157"/>
                  </a:moveTo>
                  <a:lnTo>
                    <a:pt x="392661" y="528923"/>
                  </a:lnTo>
                  <a:lnTo>
                    <a:pt x="391235" y="527209"/>
                  </a:lnTo>
                  <a:lnTo>
                    <a:pt x="379440" y="494443"/>
                  </a:lnTo>
                  <a:lnTo>
                    <a:pt x="380961" y="496157"/>
                  </a:lnTo>
                  <a:close/>
                  <a:moveTo>
                    <a:pt x="353852" y="506254"/>
                  </a:moveTo>
                  <a:lnTo>
                    <a:pt x="361462" y="540353"/>
                  </a:lnTo>
                  <a:lnTo>
                    <a:pt x="360415" y="538258"/>
                  </a:lnTo>
                  <a:lnTo>
                    <a:pt x="352901" y="504254"/>
                  </a:lnTo>
                  <a:lnTo>
                    <a:pt x="353852" y="506254"/>
                  </a:lnTo>
                  <a:close/>
                  <a:moveTo>
                    <a:pt x="243035" y="549878"/>
                  </a:moveTo>
                  <a:lnTo>
                    <a:pt x="244938" y="517398"/>
                  </a:lnTo>
                  <a:lnTo>
                    <a:pt x="244938" y="517398"/>
                  </a:lnTo>
                  <a:lnTo>
                    <a:pt x="243226" y="547592"/>
                  </a:lnTo>
                  <a:lnTo>
                    <a:pt x="243226" y="549878"/>
                  </a:lnTo>
                  <a:close/>
                  <a:moveTo>
                    <a:pt x="209838" y="543115"/>
                  </a:moveTo>
                  <a:lnTo>
                    <a:pt x="216211" y="508826"/>
                  </a:lnTo>
                  <a:lnTo>
                    <a:pt x="217067" y="506825"/>
                  </a:lnTo>
                  <a:lnTo>
                    <a:pt x="210694" y="540925"/>
                  </a:lnTo>
                  <a:lnTo>
                    <a:pt x="209838" y="543115"/>
                  </a:lnTo>
                  <a:close/>
                  <a:moveTo>
                    <a:pt x="174548" y="530828"/>
                  </a:moveTo>
                  <a:lnTo>
                    <a:pt x="185487" y="497777"/>
                  </a:lnTo>
                  <a:lnTo>
                    <a:pt x="186819" y="496062"/>
                  </a:lnTo>
                  <a:lnTo>
                    <a:pt x="175880" y="529019"/>
                  </a:lnTo>
                  <a:lnTo>
                    <a:pt x="174548" y="530828"/>
                  </a:lnTo>
                  <a:close/>
                  <a:moveTo>
                    <a:pt x="144585" y="515684"/>
                  </a:moveTo>
                  <a:lnTo>
                    <a:pt x="159519" y="484251"/>
                  </a:lnTo>
                  <a:lnTo>
                    <a:pt x="161136" y="483108"/>
                  </a:lnTo>
                  <a:lnTo>
                    <a:pt x="146297" y="514350"/>
                  </a:lnTo>
                  <a:lnTo>
                    <a:pt x="144585" y="515684"/>
                  </a:lnTo>
                  <a:close/>
                  <a:moveTo>
                    <a:pt x="113575" y="494729"/>
                  </a:moveTo>
                  <a:lnTo>
                    <a:pt x="132599" y="465677"/>
                  </a:lnTo>
                  <a:lnTo>
                    <a:pt x="134692" y="464820"/>
                  </a:lnTo>
                  <a:lnTo>
                    <a:pt x="115668" y="493967"/>
                  </a:lnTo>
                  <a:lnTo>
                    <a:pt x="113670" y="494729"/>
                  </a:lnTo>
                  <a:close/>
                  <a:moveTo>
                    <a:pt x="87512" y="472250"/>
                  </a:moveTo>
                  <a:lnTo>
                    <a:pt x="109960" y="445865"/>
                  </a:lnTo>
                  <a:lnTo>
                    <a:pt x="112053" y="445865"/>
                  </a:lnTo>
                  <a:lnTo>
                    <a:pt x="89604" y="472250"/>
                  </a:lnTo>
                  <a:lnTo>
                    <a:pt x="87512" y="472250"/>
                  </a:lnTo>
                  <a:close/>
                  <a:moveTo>
                    <a:pt x="62970" y="443675"/>
                  </a:moveTo>
                  <a:lnTo>
                    <a:pt x="89319" y="421291"/>
                  </a:lnTo>
                  <a:lnTo>
                    <a:pt x="91317" y="421958"/>
                  </a:lnTo>
                  <a:lnTo>
                    <a:pt x="65444" y="444913"/>
                  </a:lnTo>
                  <a:lnTo>
                    <a:pt x="63351" y="444436"/>
                  </a:lnTo>
                  <a:close/>
                  <a:moveTo>
                    <a:pt x="43946" y="415100"/>
                  </a:moveTo>
                  <a:lnTo>
                    <a:pt x="72483" y="395383"/>
                  </a:lnTo>
                  <a:lnTo>
                    <a:pt x="74385" y="396431"/>
                  </a:lnTo>
                  <a:lnTo>
                    <a:pt x="45849" y="416052"/>
                  </a:lnTo>
                  <a:lnTo>
                    <a:pt x="43946" y="415100"/>
                  </a:lnTo>
                  <a:close/>
                  <a:moveTo>
                    <a:pt x="27585" y="381476"/>
                  </a:moveTo>
                  <a:lnTo>
                    <a:pt x="58690" y="365855"/>
                  </a:lnTo>
                  <a:lnTo>
                    <a:pt x="60117" y="367475"/>
                  </a:lnTo>
                  <a:lnTo>
                    <a:pt x="30439" y="383191"/>
                  </a:lnTo>
                  <a:lnTo>
                    <a:pt x="28822" y="381762"/>
                  </a:lnTo>
                  <a:close/>
                  <a:moveTo>
                    <a:pt x="16836" y="349282"/>
                  </a:moveTo>
                  <a:lnTo>
                    <a:pt x="49558" y="337757"/>
                  </a:lnTo>
                  <a:lnTo>
                    <a:pt x="50605" y="339662"/>
                  </a:lnTo>
                  <a:lnTo>
                    <a:pt x="18073" y="351187"/>
                  </a:lnTo>
                  <a:lnTo>
                    <a:pt x="16836" y="349282"/>
                  </a:lnTo>
                  <a:close/>
                  <a:moveTo>
                    <a:pt x="9702" y="312515"/>
                  </a:moveTo>
                  <a:lnTo>
                    <a:pt x="43756" y="305562"/>
                  </a:lnTo>
                  <a:lnTo>
                    <a:pt x="44327" y="307753"/>
                  </a:lnTo>
                  <a:lnTo>
                    <a:pt x="10368" y="314706"/>
                  </a:lnTo>
                  <a:lnTo>
                    <a:pt x="9702" y="312515"/>
                  </a:lnTo>
                  <a:close/>
                  <a:moveTo>
                    <a:pt x="7705" y="281083"/>
                  </a:moveTo>
                  <a:lnTo>
                    <a:pt x="7705" y="278702"/>
                  </a:lnTo>
                  <a:lnTo>
                    <a:pt x="42329" y="276035"/>
                  </a:lnTo>
                  <a:cubicBezTo>
                    <a:pt x="42329" y="270986"/>
                    <a:pt x="42329" y="265843"/>
                    <a:pt x="42995" y="260795"/>
                  </a:cubicBezTo>
                  <a:lnTo>
                    <a:pt x="42995" y="258509"/>
                  </a:lnTo>
                  <a:lnTo>
                    <a:pt x="42995" y="256223"/>
                  </a:lnTo>
                  <a:cubicBezTo>
                    <a:pt x="42424" y="263652"/>
                    <a:pt x="41853" y="270891"/>
                    <a:pt x="41758" y="278321"/>
                  </a:cubicBezTo>
                  <a:lnTo>
                    <a:pt x="7134" y="281083"/>
                  </a:lnTo>
                  <a:close/>
                  <a:moveTo>
                    <a:pt x="9037" y="252508"/>
                  </a:moveTo>
                  <a:lnTo>
                    <a:pt x="10368" y="241554"/>
                  </a:lnTo>
                  <a:lnTo>
                    <a:pt x="44992" y="243650"/>
                  </a:lnTo>
                  <a:cubicBezTo>
                    <a:pt x="45563" y="240316"/>
                    <a:pt x="46609" y="234125"/>
                    <a:pt x="47561" y="229553"/>
                  </a:cubicBezTo>
                  <a:lnTo>
                    <a:pt x="48512" y="227362"/>
                  </a:lnTo>
                  <a:cubicBezTo>
                    <a:pt x="47561" y="232124"/>
                    <a:pt x="45753" y="241173"/>
                    <a:pt x="44992" y="245936"/>
                  </a:cubicBezTo>
                  <a:lnTo>
                    <a:pt x="11415" y="244221"/>
                  </a:lnTo>
                  <a:lnTo>
                    <a:pt x="10654" y="250698"/>
                  </a:lnTo>
                  <a:lnTo>
                    <a:pt x="10083" y="252889"/>
                  </a:lnTo>
                  <a:close/>
                  <a:moveTo>
                    <a:pt x="14458" y="219075"/>
                  </a:moveTo>
                  <a:lnTo>
                    <a:pt x="17122" y="208407"/>
                  </a:lnTo>
                  <a:lnTo>
                    <a:pt x="51270" y="214694"/>
                  </a:lnTo>
                  <a:cubicBezTo>
                    <a:pt x="52507" y="210407"/>
                    <a:pt x="54790" y="203073"/>
                    <a:pt x="56692" y="198025"/>
                  </a:cubicBezTo>
                  <a:lnTo>
                    <a:pt x="58024" y="196406"/>
                  </a:lnTo>
                  <a:cubicBezTo>
                    <a:pt x="56027" y="201930"/>
                    <a:pt x="52888" y="211455"/>
                    <a:pt x="51270" y="216980"/>
                  </a:cubicBezTo>
                  <a:lnTo>
                    <a:pt x="17122" y="210693"/>
                  </a:lnTo>
                  <a:lnTo>
                    <a:pt x="15505" y="217075"/>
                  </a:lnTo>
                  <a:lnTo>
                    <a:pt x="14458" y="219075"/>
                  </a:lnTo>
                  <a:close/>
                  <a:moveTo>
                    <a:pt x="25968" y="183166"/>
                  </a:moveTo>
                  <a:lnTo>
                    <a:pt x="30439" y="173641"/>
                  </a:lnTo>
                  <a:lnTo>
                    <a:pt x="63446" y="184595"/>
                  </a:lnTo>
                  <a:cubicBezTo>
                    <a:pt x="64968" y="181261"/>
                    <a:pt x="67536" y="175070"/>
                    <a:pt x="69629" y="171641"/>
                  </a:cubicBezTo>
                  <a:lnTo>
                    <a:pt x="71341" y="170593"/>
                  </a:lnTo>
                  <a:cubicBezTo>
                    <a:pt x="68868" y="174784"/>
                    <a:pt x="65348" y="182499"/>
                    <a:pt x="63446" y="186881"/>
                  </a:cubicBezTo>
                  <a:lnTo>
                    <a:pt x="30439" y="175641"/>
                  </a:lnTo>
                  <a:lnTo>
                    <a:pt x="27966" y="181928"/>
                  </a:lnTo>
                  <a:lnTo>
                    <a:pt x="26349" y="183547"/>
                  </a:lnTo>
                  <a:close/>
                  <a:moveTo>
                    <a:pt x="39951" y="152686"/>
                  </a:moveTo>
                  <a:lnTo>
                    <a:pt x="45278" y="143161"/>
                  </a:lnTo>
                  <a:lnTo>
                    <a:pt x="76668" y="158115"/>
                  </a:lnTo>
                  <a:cubicBezTo>
                    <a:pt x="79046" y="154019"/>
                    <a:pt x="83041" y="147733"/>
                    <a:pt x="86180" y="143351"/>
                  </a:cubicBezTo>
                  <a:lnTo>
                    <a:pt x="88273" y="143351"/>
                  </a:lnTo>
                  <a:cubicBezTo>
                    <a:pt x="84943" y="148114"/>
                    <a:pt x="79712" y="155829"/>
                    <a:pt x="76763" y="160877"/>
                  </a:cubicBezTo>
                  <a:lnTo>
                    <a:pt x="45183" y="145066"/>
                  </a:lnTo>
                  <a:lnTo>
                    <a:pt x="41758" y="151352"/>
                  </a:lnTo>
                  <a:lnTo>
                    <a:pt x="39856" y="152400"/>
                  </a:lnTo>
                  <a:close/>
                  <a:moveTo>
                    <a:pt x="59641" y="120872"/>
                  </a:moveTo>
                  <a:lnTo>
                    <a:pt x="66205" y="112014"/>
                  </a:lnTo>
                  <a:lnTo>
                    <a:pt x="94741" y="131064"/>
                  </a:lnTo>
                  <a:cubicBezTo>
                    <a:pt x="97119" y="128111"/>
                    <a:pt x="101114" y="123349"/>
                    <a:pt x="104253" y="120110"/>
                  </a:cubicBezTo>
                  <a:lnTo>
                    <a:pt x="106536" y="120110"/>
                  </a:lnTo>
                  <a:cubicBezTo>
                    <a:pt x="103302" y="123635"/>
                    <a:pt x="98165" y="129635"/>
                    <a:pt x="95121" y="133445"/>
                  </a:cubicBezTo>
                  <a:lnTo>
                    <a:pt x="66585" y="114395"/>
                  </a:lnTo>
                  <a:lnTo>
                    <a:pt x="62114" y="120396"/>
                  </a:lnTo>
                  <a:lnTo>
                    <a:pt x="60022" y="120968"/>
                  </a:lnTo>
                  <a:close/>
                  <a:moveTo>
                    <a:pt x="81043" y="94583"/>
                  </a:moveTo>
                  <a:lnTo>
                    <a:pt x="88653" y="86678"/>
                  </a:lnTo>
                  <a:lnTo>
                    <a:pt x="115097" y="109252"/>
                  </a:lnTo>
                  <a:cubicBezTo>
                    <a:pt x="118616" y="105728"/>
                    <a:pt x="123943" y="100965"/>
                    <a:pt x="128033" y="97536"/>
                  </a:cubicBezTo>
                  <a:lnTo>
                    <a:pt x="130031" y="98108"/>
                  </a:lnTo>
                  <a:cubicBezTo>
                    <a:pt x="125560" y="101822"/>
                    <a:pt x="119282" y="107633"/>
                    <a:pt x="115097" y="111538"/>
                  </a:cubicBezTo>
                  <a:lnTo>
                    <a:pt x="88653" y="88964"/>
                  </a:lnTo>
                  <a:lnTo>
                    <a:pt x="83231" y="94583"/>
                  </a:lnTo>
                  <a:close/>
                  <a:moveTo>
                    <a:pt x="108153" y="68866"/>
                  </a:moveTo>
                  <a:lnTo>
                    <a:pt x="110246" y="69628"/>
                  </a:lnTo>
                  <a:lnTo>
                    <a:pt x="116809" y="64389"/>
                  </a:lnTo>
                  <a:lnTo>
                    <a:pt x="139924" y="90392"/>
                  </a:lnTo>
                  <a:cubicBezTo>
                    <a:pt x="143824" y="87535"/>
                    <a:pt x="149436" y="83725"/>
                    <a:pt x="153526" y="80867"/>
                  </a:cubicBezTo>
                  <a:lnTo>
                    <a:pt x="151719" y="79820"/>
                  </a:lnTo>
                  <a:cubicBezTo>
                    <a:pt x="147914" y="82201"/>
                    <a:pt x="143253" y="85535"/>
                    <a:pt x="139924" y="87916"/>
                  </a:cubicBezTo>
                  <a:lnTo>
                    <a:pt x="116809" y="61913"/>
                  </a:lnTo>
                  <a:lnTo>
                    <a:pt x="108153" y="68675"/>
                  </a:lnTo>
                  <a:close/>
                  <a:moveTo>
                    <a:pt x="135643" y="49149"/>
                  </a:moveTo>
                  <a:lnTo>
                    <a:pt x="145155" y="43434"/>
                  </a:lnTo>
                  <a:lnTo>
                    <a:pt x="164845" y="72009"/>
                  </a:lnTo>
                  <a:cubicBezTo>
                    <a:pt x="169506" y="69437"/>
                    <a:pt x="175499" y="66389"/>
                    <a:pt x="180350" y="64103"/>
                  </a:cubicBezTo>
                  <a:lnTo>
                    <a:pt x="181777" y="65723"/>
                  </a:lnTo>
                  <a:cubicBezTo>
                    <a:pt x="176545" y="68199"/>
                    <a:pt x="169982" y="71533"/>
                    <a:pt x="164845" y="74295"/>
                  </a:cubicBezTo>
                  <a:lnTo>
                    <a:pt x="145155" y="45720"/>
                  </a:lnTo>
                  <a:lnTo>
                    <a:pt x="137546" y="50292"/>
                  </a:lnTo>
                  <a:lnTo>
                    <a:pt x="135738" y="49149"/>
                  </a:lnTo>
                  <a:close/>
                  <a:moveTo>
                    <a:pt x="168555" y="31337"/>
                  </a:moveTo>
                  <a:lnTo>
                    <a:pt x="169982" y="33052"/>
                  </a:lnTo>
                  <a:lnTo>
                    <a:pt x="178733" y="29337"/>
                  </a:lnTo>
                  <a:lnTo>
                    <a:pt x="194333" y="60484"/>
                  </a:lnTo>
                  <a:cubicBezTo>
                    <a:pt x="198709" y="58769"/>
                    <a:pt x="203845" y="56769"/>
                    <a:pt x="208792" y="55340"/>
                  </a:cubicBezTo>
                  <a:lnTo>
                    <a:pt x="207840" y="53340"/>
                  </a:lnTo>
                  <a:cubicBezTo>
                    <a:pt x="203560" y="54769"/>
                    <a:pt x="198328" y="56579"/>
                    <a:pt x="194333" y="58198"/>
                  </a:cubicBezTo>
                  <a:lnTo>
                    <a:pt x="178733" y="27051"/>
                  </a:lnTo>
                  <a:lnTo>
                    <a:pt x="168555" y="31337"/>
                  </a:lnTo>
                  <a:close/>
                  <a:moveTo>
                    <a:pt x="200231" y="19336"/>
                  </a:moveTo>
                  <a:lnTo>
                    <a:pt x="210789" y="16288"/>
                  </a:lnTo>
                  <a:lnTo>
                    <a:pt x="222394" y="49149"/>
                  </a:lnTo>
                  <a:cubicBezTo>
                    <a:pt x="228006" y="47720"/>
                    <a:pt x="233618" y="46482"/>
                    <a:pt x="239326" y="45434"/>
                  </a:cubicBezTo>
                  <a:lnTo>
                    <a:pt x="239326" y="47720"/>
                  </a:lnTo>
                  <a:cubicBezTo>
                    <a:pt x="233491" y="48736"/>
                    <a:pt x="227784" y="49975"/>
                    <a:pt x="222204" y="51435"/>
                  </a:cubicBezTo>
                  <a:lnTo>
                    <a:pt x="211170" y="18574"/>
                  </a:lnTo>
                  <a:lnTo>
                    <a:pt x="201657" y="21241"/>
                  </a:lnTo>
                  <a:lnTo>
                    <a:pt x="200706" y="19241"/>
                  </a:lnTo>
                  <a:close/>
                  <a:moveTo>
                    <a:pt x="236757" y="13049"/>
                  </a:moveTo>
                  <a:lnTo>
                    <a:pt x="247506" y="11525"/>
                  </a:lnTo>
                  <a:lnTo>
                    <a:pt x="254545" y="45530"/>
                  </a:lnTo>
                  <a:cubicBezTo>
                    <a:pt x="259301" y="45022"/>
                    <a:pt x="264057" y="44641"/>
                    <a:pt x="268813" y="44387"/>
                  </a:cubicBezTo>
                  <a:lnTo>
                    <a:pt x="270240" y="9620"/>
                  </a:lnTo>
                  <a:lnTo>
                    <a:pt x="281274" y="9620"/>
                  </a:lnTo>
                  <a:lnTo>
                    <a:pt x="284033" y="44291"/>
                  </a:lnTo>
                  <a:cubicBezTo>
                    <a:pt x="289803" y="44291"/>
                    <a:pt x="295606" y="44577"/>
                    <a:pt x="301440" y="45149"/>
                  </a:cubicBezTo>
                  <a:lnTo>
                    <a:pt x="307623" y="10954"/>
                  </a:lnTo>
                  <a:lnTo>
                    <a:pt x="318467" y="12287"/>
                  </a:lnTo>
                  <a:lnTo>
                    <a:pt x="318467" y="9811"/>
                  </a:lnTo>
                  <a:lnTo>
                    <a:pt x="307528" y="8477"/>
                  </a:lnTo>
                  <a:lnTo>
                    <a:pt x="301345" y="42672"/>
                  </a:lnTo>
                  <a:cubicBezTo>
                    <a:pt x="295511" y="42228"/>
                    <a:pt x="289708" y="41942"/>
                    <a:pt x="283938" y="41815"/>
                  </a:cubicBezTo>
                  <a:lnTo>
                    <a:pt x="281179" y="7144"/>
                  </a:lnTo>
                  <a:lnTo>
                    <a:pt x="270145" y="7144"/>
                  </a:lnTo>
                  <a:lnTo>
                    <a:pt x="268718" y="41910"/>
                  </a:lnTo>
                  <a:cubicBezTo>
                    <a:pt x="263962" y="41910"/>
                    <a:pt x="259206" y="42291"/>
                    <a:pt x="254450" y="43053"/>
                  </a:cubicBezTo>
                  <a:lnTo>
                    <a:pt x="247411" y="8954"/>
                  </a:lnTo>
                  <a:lnTo>
                    <a:pt x="236567" y="10573"/>
                  </a:lnTo>
                  <a:lnTo>
                    <a:pt x="236567" y="12859"/>
                  </a:lnTo>
                  <a:close/>
                  <a:moveTo>
                    <a:pt x="316659" y="44577"/>
                  </a:moveTo>
                  <a:lnTo>
                    <a:pt x="316659" y="46768"/>
                  </a:lnTo>
                  <a:cubicBezTo>
                    <a:pt x="321320" y="47530"/>
                    <a:pt x="326171" y="48387"/>
                    <a:pt x="330737" y="49435"/>
                  </a:cubicBezTo>
                  <a:lnTo>
                    <a:pt x="341201" y="16193"/>
                  </a:lnTo>
                  <a:lnTo>
                    <a:pt x="350713" y="18669"/>
                  </a:lnTo>
                  <a:lnTo>
                    <a:pt x="351569" y="16574"/>
                  </a:lnTo>
                  <a:lnTo>
                    <a:pt x="340915" y="13907"/>
                  </a:lnTo>
                  <a:lnTo>
                    <a:pt x="330452" y="47149"/>
                  </a:lnTo>
                  <a:cubicBezTo>
                    <a:pt x="325759" y="46133"/>
                    <a:pt x="321098" y="45276"/>
                    <a:pt x="316469" y="44577"/>
                  </a:cubicBezTo>
                  <a:close/>
                  <a:moveTo>
                    <a:pt x="323793" y="280988"/>
                  </a:moveTo>
                  <a:cubicBezTo>
                    <a:pt x="321562" y="304660"/>
                    <a:pt x="300589" y="322039"/>
                    <a:pt x="276949" y="319804"/>
                  </a:cubicBezTo>
                  <a:cubicBezTo>
                    <a:pt x="256397" y="317862"/>
                    <a:pt x="240124" y="301567"/>
                    <a:pt x="238184" y="280988"/>
                  </a:cubicBezTo>
                  <a:lnTo>
                    <a:pt x="238184" y="282131"/>
                  </a:lnTo>
                  <a:cubicBezTo>
                    <a:pt x="235953" y="305803"/>
                    <a:pt x="253308" y="326804"/>
                    <a:pt x="276949" y="329039"/>
                  </a:cubicBezTo>
                  <a:cubicBezTo>
                    <a:pt x="300589" y="331273"/>
                    <a:pt x="321562" y="313894"/>
                    <a:pt x="323793" y="290222"/>
                  </a:cubicBezTo>
                  <a:cubicBezTo>
                    <a:pt x="324047" y="287531"/>
                    <a:pt x="324047" y="284822"/>
                    <a:pt x="323793" y="282131"/>
                  </a:cubicBezTo>
                  <a:lnTo>
                    <a:pt x="323793" y="280988"/>
                  </a:lnTo>
                  <a:close/>
                  <a:moveTo>
                    <a:pt x="310667" y="204788"/>
                  </a:moveTo>
                  <a:cubicBezTo>
                    <a:pt x="323230" y="209818"/>
                    <a:pt x="334321" y="217943"/>
                    <a:pt x="342913" y="228410"/>
                  </a:cubicBezTo>
                  <a:lnTo>
                    <a:pt x="434420" y="189167"/>
                  </a:lnTo>
                  <a:lnTo>
                    <a:pt x="436417" y="190595"/>
                  </a:lnTo>
                  <a:lnTo>
                    <a:pt x="342913" y="230791"/>
                  </a:lnTo>
                  <a:cubicBezTo>
                    <a:pt x="325353" y="209700"/>
                    <a:pt x="298323" y="198945"/>
                    <a:pt x="271096" y="202216"/>
                  </a:cubicBezTo>
                  <a:lnTo>
                    <a:pt x="230194" y="106966"/>
                  </a:lnTo>
                  <a:lnTo>
                    <a:pt x="231906" y="108680"/>
                  </a:lnTo>
                  <a:lnTo>
                    <a:pt x="271096" y="200406"/>
                  </a:lnTo>
                  <a:cubicBezTo>
                    <a:pt x="284508" y="198767"/>
                    <a:pt x="298117" y="200536"/>
                    <a:pt x="310667" y="205550"/>
                  </a:cubicBezTo>
                  <a:close/>
                  <a:moveTo>
                    <a:pt x="361271" y="280988"/>
                  </a:moveTo>
                  <a:cubicBezTo>
                    <a:pt x="361131" y="276683"/>
                    <a:pt x="360750" y="272390"/>
                    <a:pt x="360130" y="268129"/>
                  </a:cubicBezTo>
                  <a:lnTo>
                    <a:pt x="360701" y="270224"/>
                  </a:lnTo>
                  <a:cubicBezTo>
                    <a:pt x="361128" y="273796"/>
                    <a:pt x="361318" y="277391"/>
                    <a:pt x="361271" y="280988"/>
                  </a:cubicBezTo>
                  <a:close/>
                  <a:moveTo>
                    <a:pt x="331879" y="342043"/>
                  </a:moveTo>
                  <a:lnTo>
                    <a:pt x="371069" y="433673"/>
                  </a:lnTo>
                  <a:cubicBezTo>
                    <a:pt x="425086" y="401867"/>
                    <a:pt x="458484" y="344019"/>
                    <a:pt x="459056" y="281273"/>
                  </a:cubicBezTo>
                  <a:cubicBezTo>
                    <a:pt x="459157" y="304340"/>
                    <a:pt x="454796" y="327208"/>
                    <a:pt x="446215" y="348615"/>
                  </a:cubicBezTo>
                  <a:cubicBezTo>
                    <a:pt x="431635" y="385356"/>
                    <a:pt x="405177" y="416142"/>
                    <a:pt x="371069" y="436055"/>
                  </a:cubicBezTo>
                  <a:lnTo>
                    <a:pt x="330452" y="340805"/>
                  </a:lnTo>
                  <a:lnTo>
                    <a:pt x="331879" y="341948"/>
                  </a:lnTo>
                  <a:close/>
                  <a:moveTo>
                    <a:pt x="128224" y="372142"/>
                  </a:moveTo>
                  <a:lnTo>
                    <a:pt x="127082" y="370237"/>
                  </a:lnTo>
                  <a:lnTo>
                    <a:pt x="125085" y="368713"/>
                  </a:lnTo>
                  <a:lnTo>
                    <a:pt x="127082" y="372618"/>
                  </a:lnTo>
                  <a:cubicBezTo>
                    <a:pt x="168228" y="442723"/>
                    <a:pt x="251510" y="476096"/>
                    <a:pt x="329596" y="453771"/>
                  </a:cubicBezTo>
                  <a:lnTo>
                    <a:pt x="331308" y="453771"/>
                  </a:lnTo>
                  <a:lnTo>
                    <a:pt x="329596" y="451961"/>
                  </a:lnTo>
                  <a:lnTo>
                    <a:pt x="328740" y="451961"/>
                  </a:lnTo>
                  <a:cubicBezTo>
                    <a:pt x="251631" y="473452"/>
                    <a:pt x="169665" y="440902"/>
                    <a:pt x="128224" y="372332"/>
                  </a:cubicBezTo>
                  <a:close/>
                  <a:moveTo>
                    <a:pt x="200326" y="280702"/>
                  </a:moveTo>
                  <a:cubicBezTo>
                    <a:pt x="200653" y="257107"/>
                    <a:pt x="211377" y="234864"/>
                    <a:pt x="229623" y="219932"/>
                  </a:cubicBezTo>
                  <a:lnTo>
                    <a:pt x="231050" y="218694"/>
                  </a:lnTo>
                  <a:lnTo>
                    <a:pt x="229623" y="217551"/>
                  </a:lnTo>
                  <a:lnTo>
                    <a:pt x="228862" y="218218"/>
                  </a:lnTo>
                  <a:cubicBezTo>
                    <a:pt x="218803" y="226748"/>
                    <a:pt x="210968" y="237601"/>
                    <a:pt x="206033" y="249841"/>
                  </a:cubicBezTo>
                  <a:cubicBezTo>
                    <a:pt x="202117" y="259650"/>
                    <a:pt x="200177" y="270139"/>
                    <a:pt x="200326" y="280702"/>
                  </a:cubicBezTo>
                  <a:close/>
                  <a:moveTo>
                    <a:pt x="102446" y="281273"/>
                  </a:moveTo>
                  <a:cubicBezTo>
                    <a:pt x="102591" y="297384"/>
                    <a:pt x="104895" y="313401"/>
                    <a:pt x="109295" y="328898"/>
                  </a:cubicBezTo>
                  <a:lnTo>
                    <a:pt x="200801" y="289655"/>
                  </a:lnTo>
                  <a:lnTo>
                    <a:pt x="201372" y="291751"/>
                  </a:lnTo>
                  <a:lnTo>
                    <a:pt x="109295" y="331184"/>
                  </a:lnTo>
                  <a:cubicBezTo>
                    <a:pt x="104699" y="314948"/>
                    <a:pt x="102394" y="298149"/>
                    <a:pt x="102446" y="281273"/>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34" name="Freeform 33">
              <a:extLst>
                <a:ext uri="{FF2B5EF4-FFF2-40B4-BE49-F238E27FC236}">
                  <a16:creationId xmlns="" xmlns:a16="http://schemas.microsoft.com/office/drawing/2014/main" id="{0EA856F2-5CA4-1947-B692-7C68C17D26AE}"/>
                </a:ext>
              </a:extLst>
            </p:cNvPr>
            <p:cNvSpPr/>
            <p:nvPr/>
          </p:nvSpPr>
          <p:spPr>
            <a:xfrm>
              <a:off x="4593838" y="3546492"/>
              <a:ext cx="800107" cy="801188"/>
            </a:xfrm>
            <a:custGeom>
              <a:avLst/>
              <a:gdLst>
                <a:gd name="connsiteX0" fmla="*/ 280799 w 703898"/>
                <a:gd name="connsiteY0" fmla="*/ 14478 h 704850"/>
                <a:gd name="connsiteX1" fmla="*/ 330452 w 703898"/>
                <a:gd name="connsiteY1" fmla="*/ 7144 h 704850"/>
                <a:gd name="connsiteX2" fmla="*/ 354042 w 703898"/>
                <a:gd name="connsiteY2" fmla="*/ 75819 h 704850"/>
                <a:gd name="connsiteX3" fmla="*/ 423195 w 703898"/>
                <a:gd name="connsiteY3" fmla="*/ 83915 h 704850"/>
                <a:gd name="connsiteX4" fmla="*/ 461815 w 703898"/>
                <a:gd name="connsiteY4" fmla="*/ 22479 h 704850"/>
                <a:gd name="connsiteX5" fmla="*/ 508519 w 703898"/>
                <a:gd name="connsiteY5" fmla="*/ 41529 h 704850"/>
                <a:gd name="connsiteX6" fmla="*/ 494632 w 703898"/>
                <a:gd name="connsiteY6" fmla="*/ 112300 h 704850"/>
                <a:gd name="connsiteX7" fmla="*/ 550468 w 703898"/>
                <a:gd name="connsiteY7" fmla="*/ 153829 h 704850"/>
                <a:gd name="connsiteX8" fmla="*/ 614675 w 703898"/>
                <a:gd name="connsiteY8" fmla="*/ 120015 h 704850"/>
                <a:gd name="connsiteX9" fmla="*/ 645780 w 703898"/>
                <a:gd name="connsiteY9" fmla="*/ 159925 h 704850"/>
                <a:gd name="connsiteX10" fmla="*/ 598219 w 703898"/>
                <a:gd name="connsiteY10" fmla="*/ 214694 h 704850"/>
                <a:gd name="connsiteX11" fmla="*/ 625709 w 703898"/>
                <a:gd name="connsiteY11" fmla="*/ 278606 h 704850"/>
                <a:gd name="connsiteX12" fmla="*/ 698192 w 703898"/>
                <a:gd name="connsiteY12" fmla="*/ 281464 h 704850"/>
                <a:gd name="connsiteX13" fmla="*/ 705516 w 703898"/>
                <a:gd name="connsiteY13" fmla="*/ 331280 h 704850"/>
                <a:gd name="connsiteX14" fmla="*/ 636933 w 703898"/>
                <a:gd name="connsiteY14" fmla="*/ 354806 h 704850"/>
                <a:gd name="connsiteX15" fmla="*/ 628848 w 703898"/>
                <a:gd name="connsiteY15" fmla="*/ 424053 h 704850"/>
                <a:gd name="connsiteX16" fmla="*/ 690201 w 703898"/>
                <a:gd name="connsiteY16" fmla="*/ 462820 h 704850"/>
                <a:gd name="connsiteX17" fmla="*/ 671177 w 703898"/>
                <a:gd name="connsiteY17" fmla="*/ 509492 h 704850"/>
                <a:gd name="connsiteX18" fmla="*/ 599931 w 703898"/>
                <a:gd name="connsiteY18" fmla="*/ 495586 h 704850"/>
                <a:gd name="connsiteX19" fmla="*/ 558458 w 703898"/>
                <a:gd name="connsiteY19" fmla="*/ 551498 h 704850"/>
                <a:gd name="connsiteX20" fmla="*/ 592226 w 703898"/>
                <a:gd name="connsiteY20" fmla="*/ 615791 h 704850"/>
                <a:gd name="connsiteX21" fmla="*/ 552846 w 703898"/>
                <a:gd name="connsiteY21" fmla="*/ 646938 h 704850"/>
                <a:gd name="connsiteX22" fmla="*/ 498151 w 703898"/>
                <a:gd name="connsiteY22" fmla="*/ 599313 h 704850"/>
                <a:gd name="connsiteX23" fmla="*/ 434610 w 703898"/>
                <a:gd name="connsiteY23" fmla="*/ 626650 h 704850"/>
                <a:gd name="connsiteX24" fmla="*/ 431852 w 703898"/>
                <a:gd name="connsiteY24" fmla="*/ 699326 h 704850"/>
                <a:gd name="connsiteX25" fmla="*/ 382103 w 703898"/>
                <a:gd name="connsiteY25" fmla="*/ 706565 h 704850"/>
                <a:gd name="connsiteX26" fmla="*/ 358513 w 703898"/>
                <a:gd name="connsiteY26" fmla="*/ 637699 h 704850"/>
                <a:gd name="connsiteX27" fmla="*/ 289359 w 703898"/>
                <a:gd name="connsiteY27" fmla="*/ 629603 h 704850"/>
                <a:gd name="connsiteX28" fmla="*/ 250645 w 703898"/>
                <a:gd name="connsiteY28" fmla="*/ 691039 h 704850"/>
                <a:gd name="connsiteX29" fmla="*/ 204036 w 703898"/>
                <a:gd name="connsiteY29" fmla="*/ 671989 h 704850"/>
                <a:gd name="connsiteX30" fmla="*/ 217923 w 703898"/>
                <a:gd name="connsiteY30" fmla="*/ 600742 h 704850"/>
                <a:gd name="connsiteX31" fmla="*/ 162277 w 703898"/>
                <a:gd name="connsiteY31" fmla="*/ 559975 h 704850"/>
                <a:gd name="connsiteX32" fmla="*/ 98070 w 703898"/>
                <a:gd name="connsiteY32" fmla="*/ 593789 h 704850"/>
                <a:gd name="connsiteX33" fmla="*/ 66870 w 703898"/>
                <a:gd name="connsiteY33" fmla="*/ 554355 h 704850"/>
                <a:gd name="connsiteX34" fmla="*/ 114431 w 703898"/>
                <a:gd name="connsiteY34" fmla="*/ 499682 h 704850"/>
                <a:gd name="connsiteX35" fmla="*/ 86846 w 703898"/>
                <a:gd name="connsiteY35" fmla="*/ 435673 h 704850"/>
                <a:gd name="connsiteX36" fmla="*/ 14363 w 703898"/>
                <a:gd name="connsiteY36" fmla="*/ 432816 h 704850"/>
                <a:gd name="connsiteX37" fmla="*/ 7134 w 703898"/>
                <a:gd name="connsiteY37" fmla="*/ 383096 h 704850"/>
                <a:gd name="connsiteX38" fmla="*/ 75717 w 703898"/>
                <a:gd name="connsiteY38" fmla="*/ 359473 h 704850"/>
                <a:gd name="connsiteX39" fmla="*/ 83707 w 703898"/>
                <a:gd name="connsiteY39" fmla="*/ 290227 h 704850"/>
                <a:gd name="connsiteX40" fmla="*/ 22449 w 703898"/>
                <a:gd name="connsiteY40" fmla="*/ 251460 h 704850"/>
                <a:gd name="connsiteX41" fmla="*/ 40997 w 703898"/>
                <a:gd name="connsiteY41" fmla="*/ 204788 h 704850"/>
                <a:gd name="connsiteX42" fmla="*/ 112148 w 703898"/>
                <a:gd name="connsiteY42" fmla="*/ 218694 h 704850"/>
                <a:gd name="connsiteX43" fmla="*/ 153716 w 703898"/>
                <a:gd name="connsiteY43" fmla="*/ 162782 h 704850"/>
                <a:gd name="connsiteX44" fmla="*/ 119948 w 703898"/>
                <a:gd name="connsiteY44" fmla="*/ 98489 h 704850"/>
                <a:gd name="connsiteX45" fmla="*/ 159233 w 703898"/>
                <a:gd name="connsiteY45" fmla="*/ 67342 h 704850"/>
                <a:gd name="connsiteX46" fmla="*/ 213928 w 703898"/>
                <a:gd name="connsiteY46" fmla="*/ 114967 h 704850"/>
                <a:gd name="connsiteX47" fmla="*/ 277850 w 703898"/>
                <a:gd name="connsiteY47" fmla="*/ 87440 h 704850"/>
                <a:gd name="connsiteX48" fmla="*/ 280704 w 703898"/>
                <a:gd name="connsiteY48" fmla="*/ 14859 h 704850"/>
                <a:gd name="connsiteX49" fmla="*/ 511658 w 703898"/>
                <a:gd name="connsiteY49" fmla="*/ 182690 h 704850"/>
                <a:gd name="connsiteX50" fmla="*/ 474466 w 703898"/>
                <a:gd name="connsiteY50" fmla="*/ 232696 h 704850"/>
                <a:gd name="connsiteX51" fmla="*/ 504144 w 703898"/>
                <a:gd name="connsiteY51" fmla="*/ 443389 h 704850"/>
                <a:gd name="connsiteX52" fmla="*/ 553987 w 703898"/>
                <a:gd name="connsiteY52" fmla="*/ 480536 h 704850"/>
                <a:gd name="connsiteX53" fmla="*/ 511658 w 703898"/>
                <a:gd name="connsiteY53" fmla="*/ 182690 h 704850"/>
                <a:gd name="connsiteX54" fmla="*/ 442790 w 703898"/>
                <a:gd name="connsiteY54" fmla="*/ 208788 h 704850"/>
                <a:gd name="connsiteX55" fmla="*/ 479983 w 703898"/>
                <a:gd name="connsiteY55" fmla="*/ 158877 h 704850"/>
                <a:gd name="connsiteX56" fmla="*/ 181206 w 703898"/>
                <a:gd name="connsiteY56" fmla="*/ 202787 h 704850"/>
                <a:gd name="connsiteX57" fmla="*/ 231050 w 703898"/>
                <a:gd name="connsiteY57" fmla="*/ 239935 h 704850"/>
                <a:gd name="connsiteX58" fmla="*/ 442790 w 703898"/>
                <a:gd name="connsiteY58" fmla="*/ 208788 h 704850"/>
                <a:gd name="connsiteX59" fmla="*/ 271572 w 703898"/>
                <a:gd name="connsiteY59" fmla="*/ 505778 h 704850"/>
                <a:gd name="connsiteX60" fmla="*/ 234855 w 703898"/>
                <a:gd name="connsiteY60" fmla="*/ 555784 h 704850"/>
                <a:gd name="connsiteX61" fmla="*/ 530207 w 703898"/>
                <a:gd name="connsiteY61" fmla="*/ 512350 h 704850"/>
                <a:gd name="connsiteX62" fmla="*/ 480268 w 703898"/>
                <a:gd name="connsiteY62" fmla="*/ 475202 h 704850"/>
                <a:gd name="connsiteX63" fmla="*/ 271667 w 703898"/>
                <a:gd name="connsiteY63" fmla="*/ 505873 h 704850"/>
                <a:gd name="connsiteX64" fmla="*/ 202418 w 703898"/>
                <a:gd name="connsiteY64" fmla="*/ 532162 h 704850"/>
                <a:gd name="connsiteX65" fmla="*/ 239611 w 703898"/>
                <a:gd name="connsiteY65" fmla="*/ 482251 h 704850"/>
                <a:gd name="connsiteX66" fmla="*/ 207460 w 703898"/>
                <a:gd name="connsiteY66" fmla="*/ 271939 h 704850"/>
                <a:gd name="connsiteX67" fmla="*/ 157521 w 703898"/>
                <a:gd name="connsiteY67" fmla="*/ 234696 h 704850"/>
                <a:gd name="connsiteX68" fmla="*/ 202418 w 703898"/>
                <a:gd name="connsiteY68" fmla="*/ 532162 h 704850"/>
                <a:gd name="connsiteX69" fmla="*/ 339489 w 703898"/>
                <a:gd name="connsiteY69" fmla="*/ 241745 h 704850"/>
                <a:gd name="connsiteX70" fmla="*/ 241603 w 703898"/>
                <a:gd name="connsiteY70" fmla="*/ 373653 h 704850"/>
                <a:gd name="connsiteX71" fmla="*/ 373333 w 703898"/>
                <a:gd name="connsiteY71" fmla="*/ 471670 h 704850"/>
                <a:gd name="connsiteX72" fmla="*/ 471232 w 703898"/>
                <a:gd name="connsiteY72" fmla="*/ 339852 h 704850"/>
                <a:gd name="connsiteX73" fmla="*/ 339489 w 703898"/>
                <a:gd name="connsiteY73" fmla="*/ 241745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703898" h="704850">
                  <a:moveTo>
                    <a:pt x="280799" y="14478"/>
                  </a:moveTo>
                  <a:lnTo>
                    <a:pt x="330452" y="7144"/>
                  </a:lnTo>
                  <a:lnTo>
                    <a:pt x="354042" y="75819"/>
                  </a:lnTo>
                  <a:cubicBezTo>
                    <a:pt x="377341" y="75606"/>
                    <a:pt x="400574" y="78326"/>
                    <a:pt x="423195" y="83915"/>
                  </a:cubicBezTo>
                  <a:lnTo>
                    <a:pt x="461815" y="22479"/>
                  </a:lnTo>
                  <a:lnTo>
                    <a:pt x="508519" y="41529"/>
                  </a:lnTo>
                  <a:lnTo>
                    <a:pt x="494632" y="112300"/>
                  </a:lnTo>
                  <a:cubicBezTo>
                    <a:pt x="514895" y="123765"/>
                    <a:pt x="533652" y="137715"/>
                    <a:pt x="550468" y="153829"/>
                  </a:cubicBezTo>
                  <a:lnTo>
                    <a:pt x="614675" y="120015"/>
                  </a:lnTo>
                  <a:lnTo>
                    <a:pt x="645780" y="159925"/>
                  </a:lnTo>
                  <a:lnTo>
                    <a:pt x="598219" y="214694"/>
                  </a:lnTo>
                  <a:cubicBezTo>
                    <a:pt x="610025" y="234758"/>
                    <a:pt x="619261" y="256231"/>
                    <a:pt x="625709" y="278606"/>
                  </a:cubicBezTo>
                  <a:lnTo>
                    <a:pt x="698192" y="281464"/>
                  </a:lnTo>
                  <a:lnTo>
                    <a:pt x="705516" y="331280"/>
                  </a:lnTo>
                  <a:lnTo>
                    <a:pt x="636933" y="354806"/>
                  </a:lnTo>
                  <a:cubicBezTo>
                    <a:pt x="637146" y="378137"/>
                    <a:pt x="634430" y="401401"/>
                    <a:pt x="628848" y="424053"/>
                  </a:cubicBezTo>
                  <a:lnTo>
                    <a:pt x="690201" y="462820"/>
                  </a:lnTo>
                  <a:lnTo>
                    <a:pt x="671177" y="509492"/>
                  </a:lnTo>
                  <a:lnTo>
                    <a:pt x="599931" y="495586"/>
                  </a:lnTo>
                  <a:cubicBezTo>
                    <a:pt x="588482" y="515877"/>
                    <a:pt x="574550" y="534659"/>
                    <a:pt x="558458" y="551498"/>
                  </a:cubicBezTo>
                  <a:lnTo>
                    <a:pt x="592226" y="615791"/>
                  </a:lnTo>
                  <a:lnTo>
                    <a:pt x="552846" y="646938"/>
                  </a:lnTo>
                  <a:lnTo>
                    <a:pt x="498151" y="599313"/>
                  </a:lnTo>
                  <a:cubicBezTo>
                    <a:pt x="478200" y="611058"/>
                    <a:pt x="456852" y="620243"/>
                    <a:pt x="434610" y="626650"/>
                  </a:cubicBezTo>
                  <a:lnTo>
                    <a:pt x="431852" y="699326"/>
                  </a:lnTo>
                  <a:lnTo>
                    <a:pt x="382103" y="706565"/>
                  </a:lnTo>
                  <a:lnTo>
                    <a:pt x="358513" y="637699"/>
                  </a:lnTo>
                  <a:cubicBezTo>
                    <a:pt x="335214" y="637912"/>
                    <a:pt x="311981" y="635192"/>
                    <a:pt x="289359" y="629603"/>
                  </a:cubicBezTo>
                  <a:lnTo>
                    <a:pt x="250645" y="691039"/>
                  </a:lnTo>
                  <a:lnTo>
                    <a:pt x="204036" y="671989"/>
                  </a:lnTo>
                  <a:lnTo>
                    <a:pt x="217923" y="600742"/>
                  </a:lnTo>
                  <a:cubicBezTo>
                    <a:pt x="197790" y="589466"/>
                    <a:pt x="179104" y="575776"/>
                    <a:pt x="162277" y="559975"/>
                  </a:cubicBezTo>
                  <a:lnTo>
                    <a:pt x="98070" y="593789"/>
                  </a:lnTo>
                  <a:lnTo>
                    <a:pt x="66870" y="554355"/>
                  </a:lnTo>
                  <a:lnTo>
                    <a:pt x="114431" y="499682"/>
                  </a:lnTo>
                  <a:cubicBezTo>
                    <a:pt x="102650" y="479559"/>
                    <a:pt x="93385" y="458062"/>
                    <a:pt x="86846" y="435673"/>
                  </a:cubicBezTo>
                  <a:lnTo>
                    <a:pt x="14363" y="432816"/>
                  </a:lnTo>
                  <a:lnTo>
                    <a:pt x="7134" y="383096"/>
                  </a:lnTo>
                  <a:lnTo>
                    <a:pt x="75717" y="359473"/>
                  </a:lnTo>
                  <a:cubicBezTo>
                    <a:pt x="75519" y="336150"/>
                    <a:pt x="78203" y="312891"/>
                    <a:pt x="83707" y="290227"/>
                  </a:cubicBezTo>
                  <a:lnTo>
                    <a:pt x="22449" y="251460"/>
                  </a:lnTo>
                  <a:lnTo>
                    <a:pt x="40997" y="204788"/>
                  </a:lnTo>
                  <a:lnTo>
                    <a:pt x="112148" y="218694"/>
                  </a:lnTo>
                  <a:cubicBezTo>
                    <a:pt x="123663" y="198421"/>
                    <a:pt x="137623" y="179642"/>
                    <a:pt x="153716" y="162782"/>
                  </a:cubicBezTo>
                  <a:lnTo>
                    <a:pt x="119948" y="98489"/>
                  </a:lnTo>
                  <a:lnTo>
                    <a:pt x="159233" y="67342"/>
                  </a:lnTo>
                  <a:lnTo>
                    <a:pt x="213928" y="114967"/>
                  </a:lnTo>
                  <a:cubicBezTo>
                    <a:pt x="234007" y="103160"/>
                    <a:pt x="255481" y="93913"/>
                    <a:pt x="277850" y="87440"/>
                  </a:cubicBezTo>
                  <a:lnTo>
                    <a:pt x="280704" y="14859"/>
                  </a:lnTo>
                  <a:close/>
                  <a:moveTo>
                    <a:pt x="511658" y="182690"/>
                  </a:moveTo>
                  <a:lnTo>
                    <a:pt x="474466" y="232696"/>
                  </a:lnTo>
                  <a:cubicBezTo>
                    <a:pt x="531948" y="287541"/>
                    <a:pt x="544233" y="374762"/>
                    <a:pt x="504144" y="443389"/>
                  </a:cubicBezTo>
                  <a:lnTo>
                    <a:pt x="553987" y="480536"/>
                  </a:lnTo>
                  <a:cubicBezTo>
                    <a:pt x="614159" y="384172"/>
                    <a:pt x="596288" y="258420"/>
                    <a:pt x="511658" y="182690"/>
                  </a:cubicBezTo>
                  <a:close/>
                  <a:moveTo>
                    <a:pt x="442790" y="208788"/>
                  </a:moveTo>
                  <a:lnTo>
                    <a:pt x="479983" y="158877"/>
                  </a:lnTo>
                  <a:cubicBezTo>
                    <a:pt x="383109" y="98184"/>
                    <a:pt x="256578" y="116780"/>
                    <a:pt x="181206" y="202787"/>
                  </a:cubicBezTo>
                  <a:lnTo>
                    <a:pt x="231050" y="239935"/>
                  </a:lnTo>
                  <a:cubicBezTo>
                    <a:pt x="285658" y="181220"/>
                    <a:pt x="373627" y="168280"/>
                    <a:pt x="442790" y="208788"/>
                  </a:cubicBezTo>
                  <a:close/>
                  <a:moveTo>
                    <a:pt x="271572" y="505778"/>
                  </a:moveTo>
                  <a:lnTo>
                    <a:pt x="234855" y="555784"/>
                  </a:lnTo>
                  <a:cubicBezTo>
                    <a:pt x="330877" y="614552"/>
                    <a:pt x="455113" y="596282"/>
                    <a:pt x="530207" y="512350"/>
                  </a:cubicBezTo>
                  <a:lnTo>
                    <a:pt x="480268" y="475202"/>
                  </a:lnTo>
                  <a:cubicBezTo>
                    <a:pt x="426011" y="532167"/>
                    <a:pt x="339987" y="544815"/>
                    <a:pt x="271667" y="505873"/>
                  </a:cubicBezTo>
                  <a:close/>
                  <a:moveTo>
                    <a:pt x="202418" y="532162"/>
                  </a:moveTo>
                  <a:lnTo>
                    <a:pt x="239611" y="482251"/>
                  </a:lnTo>
                  <a:cubicBezTo>
                    <a:pt x="181497" y="428089"/>
                    <a:pt x="168188" y="341029"/>
                    <a:pt x="207460" y="271939"/>
                  </a:cubicBezTo>
                  <a:lnTo>
                    <a:pt x="157521" y="234696"/>
                  </a:lnTo>
                  <a:cubicBezTo>
                    <a:pt x="98267" y="331593"/>
                    <a:pt x="117214" y="457127"/>
                    <a:pt x="202418" y="532162"/>
                  </a:cubicBezTo>
                  <a:close/>
                  <a:moveTo>
                    <a:pt x="339489" y="241745"/>
                  </a:moveTo>
                  <a:cubicBezTo>
                    <a:pt x="276082" y="251103"/>
                    <a:pt x="232257" y="310160"/>
                    <a:pt x="241603" y="373653"/>
                  </a:cubicBezTo>
                  <a:cubicBezTo>
                    <a:pt x="250949" y="437145"/>
                    <a:pt x="309926" y="481029"/>
                    <a:pt x="373333" y="471670"/>
                  </a:cubicBezTo>
                  <a:cubicBezTo>
                    <a:pt x="436705" y="462317"/>
                    <a:pt x="480523" y="403316"/>
                    <a:pt x="471232" y="339852"/>
                  </a:cubicBezTo>
                  <a:cubicBezTo>
                    <a:pt x="461833" y="276376"/>
                    <a:pt x="402902" y="232491"/>
                    <a:pt x="339489" y="241745"/>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35" name="Freeform 34">
              <a:extLst>
                <a:ext uri="{FF2B5EF4-FFF2-40B4-BE49-F238E27FC236}">
                  <a16:creationId xmlns="" xmlns:a16="http://schemas.microsoft.com/office/drawing/2014/main" id="{75C61088-6B29-C04A-A215-FC5BFE97EA1C}"/>
                </a:ext>
              </a:extLst>
            </p:cNvPr>
            <p:cNvSpPr/>
            <p:nvPr/>
          </p:nvSpPr>
          <p:spPr>
            <a:xfrm>
              <a:off x="4593946" y="3584819"/>
              <a:ext cx="800107" cy="768707"/>
            </a:xfrm>
            <a:custGeom>
              <a:avLst/>
              <a:gdLst>
                <a:gd name="connsiteX0" fmla="*/ 508044 w 703898"/>
                <a:gd name="connsiteY0" fmla="*/ 7144 h 676275"/>
                <a:gd name="connsiteX1" fmla="*/ 508044 w 703898"/>
                <a:gd name="connsiteY1" fmla="*/ 7144 h 676275"/>
                <a:gd name="connsiteX2" fmla="*/ 493680 w 703898"/>
                <a:gd name="connsiteY2" fmla="*/ 80486 h 676275"/>
                <a:gd name="connsiteX3" fmla="*/ 493680 w 703898"/>
                <a:gd name="connsiteY3" fmla="*/ 80486 h 676275"/>
                <a:gd name="connsiteX4" fmla="*/ 508044 w 703898"/>
                <a:gd name="connsiteY4" fmla="*/ 7144 h 676275"/>
                <a:gd name="connsiteX5" fmla="*/ 644733 w 703898"/>
                <a:gd name="connsiteY5" fmla="*/ 124587 h 676275"/>
                <a:gd name="connsiteX6" fmla="*/ 645684 w 703898"/>
                <a:gd name="connsiteY6" fmla="*/ 125825 h 676275"/>
                <a:gd name="connsiteX7" fmla="*/ 598124 w 703898"/>
                <a:gd name="connsiteY7" fmla="*/ 180880 h 676275"/>
                <a:gd name="connsiteX8" fmla="*/ 596792 w 703898"/>
                <a:gd name="connsiteY8" fmla="*/ 180023 h 676275"/>
                <a:gd name="connsiteX9" fmla="*/ 645019 w 703898"/>
                <a:gd name="connsiteY9" fmla="*/ 124587 h 676275"/>
                <a:gd name="connsiteX10" fmla="*/ 705135 w 703898"/>
                <a:gd name="connsiteY10" fmla="*/ 294989 h 676275"/>
                <a:gd name="connsiteX11" fmla="*/ 705135 w 703898"/>
                <a:gd name="connsiteY11" fmla="*/ 297180 h 676275"/>
                <a:gd name="connsiteX12" fmla="*/ 636553 w 703898"/>
                <a:gd name="connsiteY12" fmla="*/ 320707 h 676275"/>
                <a:gd name="connsiteX13" fmla="*/ 636553 w 703898"/>
                <a:gd name="connsiteY13" fmla="*/ 318421 h 676275"/>
                <a:gd name="connsiteX14" fmla="*/ 704850 w 703898"/>
                <a:gd name="connsiteY14" fmla="*/ 294989 h 676275"/>
                <a:gd name="connsiteX15" fmla="*/ 636838 w 703898"/>
                <a:gd name="connsiteY15" fmla="*/ 322898 h 676275"/>
                <a:gd name="connsiteX16" fmla="*/ 629228 w 703898"/>
                <a:gd name="connsiteY16" fmla="*/ 387953 h 676275"/>
                <a:gd name="connsiteX17" fmla="*/ 628753 w 703898"/>
                <a:gd name="connsiteY17" fmla="*/ 390049 h 676275"/>
                <a:gd name="connsiteX18" fmla="*/ 627802 w 703898"/>
                <a:gd name="connsiteY18" fmla="*/ 391668 h 676275"/>
                <a:gd name="connsiteX19" fmla="*/ 628753 w 703898"/>
                <a:gd name="connsiteY19" fmla="*/ 387667 h 676275"/>
                <a:gd name="connsiteX20" fmla="*/ 636838 w 703898"/>
                <a:gd name="connsiteY20" fmla="*/ 322897 h 676275"/>
                <a:gd name="connsiteX21" fmla="*/ 689345 w 703898"/>
                <a:gd name="connsiteY21" fmla="*/ 428244 h 676275"/>
                <a:gd name="connsiteX22" fmla="*/ 690106 w 703898"/>
                <a:gd name="connsiteY22" fmla="*/ 428720 h 676275"/>
                <a:gd name="connsiteX23" fmla="*/ 671082 w 703898"/>
                <a:gd name="connsiteY23" fmla="*/ 475393 h 676275"/>
                <a:gd name="connsiteX24" fmla="*/ 599836 w 703898"/>
                <a:gd name="connsiteY24" fmla="*/ 461486 h 676275"/>
                <a:gd name="connsiteX25" fmla="*/ 559600 w 703898"/>
                <a:gd name="connsiteY25" fmla="*/ 516731 h 676275"/>
                <a:gd name="connsiteX26" fmla="*/ 558839 w 703898"/>
                <a:gd name="connsiteY26" fmla="*/ 517588 h 676275"/>
                <a:gd name="connsiteX27" fmla="*/ 557317 w 703898"/>
                <a:gd name="connsiteY27" fmla="*/ 516827 h 676275"/>
                <a:gd name="connsiteX28" fmla="*/ 558839 w 703898"/>
                <a:gd name="connsiteY28" fmla="*/ 515303 h 676275"/>
                <a:gd name="connsiteX29" fmla="*/ 600312 w 703898"/>
                <a:gd name="connsiteY29" fmla="*/ 459581 h 676275"/>
                <a:gd name="connsiteX30" fmla="*/ 671558 w 703898"/>
                <a:gd name="connsiteY30" fmla="*/ 473488 h 676275"/>
                <a:gd name="connsiteX31" fmla="*/ 689345 w 703898"/>
                <a:gd name="connsiteY31" fmla="*/ 428625 h 676275"/>
                <a:gd name="connsiteX32" fmla="*/ 591751 w 703898"/>
                <a:gd name="connsiteY32" fmla="*/ 580073 h 676275"/>
                <a:gd name="connsiteX33" fmla="*/ 592607 w 703898"/>
                <a:gd name="connsiteY33" fmla="*/ 581692 h 676275"/>
                <a:gd name="connsiteX34" fmla="*/ 553226 w 703898"/>
                <a:gd name="connsiteY34" fmla="*/ 612838 h 676275"/>
                <a:gd name="connsiteX35" fmla="*/ 498532 w 703898"/>
                <a:gd name="connsiteY35" fmla="*/ 565213 h 676275"/>
                <a:gd name="connsiteX36" fmla="*/ 434515 w 703898"/>
                <a:gd name="connsiteY36" fmla="*/ 592931 h 676275"/>
                <a:gd name="connsiteX37" fmla="*/ 431661 w 703898"/>
                <a:gd name="connsiteY37" fmla="*/ 665607 h 676275"/>
                <a:gd name="connsiteX38" fmla="*/ 381913 w 703898"/>
                <a:gd name="connsiteY38" fmla="*/ 672846 h 676275"/>
                <a:gd name="connsiteX39" fmla="*/ 358418 w 703898"/>
                <a:gd name="connsiteY39" fmla="*/ 603980 h 676275"/>
                <a:gd name="connsiteX40" fmla="*/ 289360 w 703898"/>
                <a:gd name="connsiteY40" fmla="*/ 595884 h 676275"/>
                <a:gd name="connsiteX41" fmla="*/ 250645 w 703898"/>
                <a:gd name="connsiteY41" fmla="*/ 657320 h 676275"/>
                <a:gd name="connsiteX42" fmla="*/ 204036 w 703898"/>
                <a:gd name="connsiteY42" fmla="*/ 638270 h 676275"/>
                <a:gd name="connsiteX43" fmla="*/ 204036 w 703898"/>
                <a:gd name="connsiteY43" fmla="*/ 636175 h 676275"/>
                <a:gd name="connsiteX44" fmla="*/ 250265 w 703898"/>
                <a:gd name="connsiteY44" fmla="*/ 654558 h 676275"/>
                <a:gd name="connsiteX45" fmla="*/ 288979 w 703898"/>
                <a:gd name="connsiteY45" fmla="*/ 593122 h 676275"/>
                <a:gd name="connsiteX46" fmla="*/ 358037 w 703898"/>
                <a:gd name="connsiteY46" fmla="*/ 601218 h 676275"/>
                <a:gd name="connsiteX47" fmla="*/ 381627 w 703898"/>
                <a:gd name="connsiteY47" fmla="*/ 669893 h 676275"/>
                <a:gd name="connsiteX48" fmla="*/ 431376 w 703898"/>
                <a:gd name="connsiteY48" fmla="*/ 662559 h 676275"/>
                <a:gd name="connsiteX49" fmla="*/ 434229 w 703898"/>
                <a:gd name="connsiteY49" fmla="*/ 589979 h 676275"/>
                <a:gd name="connsiteX50" fmla="*/ 498056 w 703898"/>
                <a:gd name="connsiteY50" fmla="*/ 562451 h 676275"/>
                <a:gd name="connsiteX51" fmla="*/ 552751 w 703898"/>
                <a:gd name="connsiteY51" fmla="*/ 610076 h 676275"/>
                <a:gd name="connsiteX52" fmla="*/ 591275 w 703898"/>
                <a:gd name="connsiteY52" fmla="*/ 579596 h 676275"/>
                <a:gd name="connsiteX53" fmla="*/ 217543 w 703898"/>
                <a:gd name="connsiteY53" fmla="*/ 567214 h 676275"/>
                <a:gd name="connsiteX54" fmla="*/ 217543 w 703898"/>
                <a:gd name="connsiteY54" fmla="*/ 567214 h 676275"/>
                <a:gd name="connsiteX55" fmla="*/ 218399 w 703898"/>
                <a:gd name="connsiteY55" fmla="*/ 565309 h 676275"/>
                <a:gd name="connsiteX56" fmla="*/ 217638 w 703898"/>
                <a:gd name="connsiteY56" fmla="*/ 565309 h 676275"/>
                <a:gd name="connsiteX57" fmla="*/ 161802 w 703898"/>
                <a:gd name="connsiteY57" fmla="*/ 523780 h 676275"/>
                <a:gd name="connsiteX58" fmla="*/ 97595 w 703898"/>
                <a:gd name="connsiteY58" fmla="*/ 557594 h 676275"/>
                <a:gd name="connsiteX59" fmla="*/ 67346 w 703898"/>
                <a:gd name="connsiteY59" fmla="*/ 519494 h 676275"/>
                <a:gd name="connsiteX60" fmla="*/ 66395 w 703898"/>
                <a:gd name="connsiteY60" fmla="*/ 520541 h 676275"/>
                <a:gd name="connsiteX61" fmla="*/ 97595 w 703898"/>
                <a:gd name="connsiteY61" fmla="*/ 559975 h 676275"/>
                <a:gd name="connsiteX62" fmla="*/ 162182 w 703898"/>
                <a:gd name="connsiteY62" fmla="*/ 526256 h 676275"/>
                <a:gd name="connsiteX63" fmla="*/ 217543 w 703898"/>
                <a:gd name="connsiteY63" fmla="*/ 567595 h 676275"/>
                <a:gd name="connsiteX64" fmla="*/ 113670 w 703898"/>
                <a:gd name="connsiteY64" fmla="*/ 464153 h 676275"/>
                <a:gd name="connsiteX65" fmla="*/ 86846 w 703898"/>
                <a:gd name="connsiteY65" fmla="*/ 401574 h 676275"/>
                <a:gd name="connsiteX66" fmla="*/ 14363 w 703898"/>
                <a:gd name="connsiteY66" fmla="*/ 398717 h 676275"/>
                <a:gd name="connsiteX67" fmla="*/ 7134 w 703898"/>
                <a:gd name="connsiteY67" fmla="*/ 348901 h 676275"/>
                <a:gd name="connsiteX68" fmla="*/ 7134 w 703898"/>
                <a:gd name="connsiteY68" fmla="*/ 348901 h 676275"/>
                <a:gd name="connsiteX69" fmla="*/ 14078 w 703898"/>
                <a:gd name="connsiteY69" fmla="*/ 396526 h 676275"/>
                <a:gd name="connsiteX70" fmla="*/ 86561 w 703898"/>
                <a:gd name="connsiteY70" fmla="*/ 399383 h 676275"/>
                <a:gd name="connsiteX71" fmla="*/ 115763 w 703898"/>
                <a:gd name="connsiteY71" fmla="*/ 466058 h 676275"/>
                <a:gd name="connsiteX72" fmla="*/ 114146 w 703898"/>
                <a:gd name="connsiteY72" fmla="*/ 466058 h 676275"/>
                <a:gd name="connsiteX73" fmla="*/ 113385 w 703898"/>
                <a:gd name="connsiteY73" fmla="*/ 464630 h 676275"/>
                <a:gd name="connsiteX74" fmla="*/ 75622 w 703898"/>
                <a:gd name="connsiteY74" fmla="*/ 323088 h 676275"/>
                <a:gd name="connsiteX75" fmla="*/ 75622 w 703898"/>
                <a:gd name="connsiteY75" fmla="*/ 323088 h 676275"/>
                <a:gd name="connsiteX76" fmla="*/ 83707 w 703898"/>
                <a:gd name="connsiteY76" fmla="*/ 256413 h 676275"/>
                <a:gd name="connsiteX77" fmla="*/ 22354 w 703898"/>
                <a:gd name="connsiteY77" fmla="*/ 217646 h 676275"/>
                <a:gd name="connsiteX78" fmla="*/ 23019 w 703898"/>
                <a:gd name="connsiteY78" fmla="*/ 215837 h 676275"/>
                <a:gd name="connsiteX79" fmla="*/ 84373 w 703898"/>
                <a:gd name="connsiteY79" fmla="*/ 254603 h 676275"/>
                <a:gd name="connsiteX80" fmla="*/ 83707 w 703898"/>
                <a:gd name="connsiteY80" fmla="*/ 256413 h 676275"/>
                <a:gd name="connsiteX81" fmla="*/ 152765 w 703898"/>
                <a:gd name="connsiteY81" fmla="*/ 127540 h 676275"/>
                <a:gd name="connsiteX82" fmla="*/ 119758 w 703898"/>
                <a:gd name="connsiteY82" fmla="*/ 64675 h 676275"/>
                <a:gd name="connsiteX83" fmla="*/ 120614 w 703898"/>
                <a:gd name="connsiteY83" fmla="*/ 64008 h 676275"/>
                <a:gd name="connsiteX84" fmla="*/ 155238 w 703898"/>
                <a:gd name="connsiteY84" fmla="*/ 129826 h 676275"/>
                <a:gd name="connsiteX85" fmla="*/ 153621 w 703898"/>
                <a:gd name="connsiteY85" fmla="*/ 129064 h 676275"/>
                <a:gd name="connsiteX86" fmla="*/ 152765 w 703898"/>
                <a:gd name="connsiteY86" fmla="*/ 127540 h 676275"/>
                <a:gd name="connsiteX87" fmla="*/ 511468 w 703898"/>
                <a:gd name="connsiteY87" fmla="*/ 149257 h 676275"/>
                <a:gd name="connsiteX88" fmla="*/ 473419 w 703898"/>
                <a:gd name="connsiteY88" fmla="*/ 200501 h 676275"/>
                <a:gd name="connsiteX89" fmla="*/ 472373 w 703898"/>
                <a:gd name="connsiteY89" fmla="*/ 199644 h 676275"/>
                <a:gd name="connsiteX90" fmla="*/ 511468 w 703898"/>
                <a:gd name="connsiteY90" fmla="*/ 146971 h 676275"/>
                <a:gd name="connsiteX91" fmla="*/ 589277 w 703898"/>
                <a:gd name="connsiteY91" fmla="*/ 322517 h 676275"/>
                <a:gd name="connsiteX92" fmla="*/ 586804 w 703898"/>
                <a:gd name="connsiteY92" fmla="*/ 289465 h 676275"/>
                <a:gd name="connsiteX93" fmla="*/ 511468 w 703898"/>
                <a:gd name="connsiteY93" fmla="*/ 149257 h 676275"/>
                <a:gd name="connsiteX94" fmla="*/ 527353 w 703898"/>
                <a:gd name="connsiteY94" fmla="*/ 322707 h 676275"/>
                <a:gd name="connsiteX95" fmla="*/ 504810 w 703898"/>
                <a:gd name="connsiteY95" fmla="*/ 408432 h 676275"/>
                <a:gd name="connsiteX96" fmla="*/ 503858 w 703898"/>
                <a:gd name="connsiteY96" fmla="*/ 410146 h 676275"/>
                <a:gd name="connsiteX97" fmla="*/ 502051 w 703898"/>
                <a:gd name="connsiteY97" fmla="*/ 410909 h 676275"/>
                <a:gd name="connsiteX98" fmla="*/ 527353 w 703898"/>
                <a:gd name="connsiteY98" fmla="*/ 322802 h 676275"/>
                <a:gd name="connsiteX99" fmla="*/ 478556 w 703898"/>
                <a:gd name="connsiteY99" fmla="*/ 124682 h 676275"/>
                <a:gd name="connsiteX100" fmla="*/ 479793 w 703898"/>
                <a:gd name="connsiteY100" fmla="*/ 125444 h 676275"/>
                <a:gd name="connsiteX101" fmla="*/ 482076 w 703898"/>
                <a:gd name="connsiteY101" fmla="*/ 124777 h 676275"/>
                <a:gd name="connsiteX102" fmla="*/ 322271 w 703898"/>
                <a:gd name="connsiteY102" fmla="*/ 90106 h 676275"/>
                <a:gd name="connsiteX103" fmla="*/ 178828 w 703898"/>
                <a:gd name="connsiteY103" fmla="*/ 170021 h 676275"/>
                <a:gd name="connsiteX104" fmla="*/ 180921 w 703898"/>
                <a:gd name="connsiteY104" fmla="*/ 169354 h 676275"/>
                <a:gd name="connsiteX105" fmla="*/ 182253 w 703898"/>
                <a:gd name="connsiteY105" fmla="*/ 167926 h 676275"/>
                <a:gd name="connsiteX106" fmla="*/ 478556 w 703898"/>
                <a:gd name="connsiteY106" fmla="*/ 124682 h 676275"/>
                <a:gd name="connsiteX107" fmla="*/ 271477 w 703898"/>
                <a:gd name="connsiteY107" fmla="*/ 472345 h 676275"/>
                <a:gd name="connsiteX108" fmla="*/ 233428 w 703898"/>
                <a:gd name="connsiteY108" fmla="*/ 523875 h 676275"/>
                <a:gd name="connsiteX109" fmla="*/ 232191 w 703898"/>
                <a:gd name="connsiteY109" fmla="*/ 523208 h 676275"/>
                <a:gd name="connsiteX110" fmla="*/ 271762 w 703898"/>
                <a:gd name="connsiteY110" fmla="*/ 470059 h 676275"/>
                <a:gd name="connsiteX111" fmla="*/ 480363 w 703898"/>
                <a:gd name="connsiteY111" fmla="*/ 439388 h 676275"/>
                <a:gd name="connsiteX112" fmla="*/ 532680 w 703898"/>
                <a:gd name="connsiteY112" fmla="*/ 478250 h 676275"/>
                <a:gd name="connsiteX113" fmla="*/ 530302 w 703898"/>
                <a:gd name="connsiteY113" fmla="*/ 478917 h 676275"/>
                <a:gd name="connsiteX114" fmla="*/ 480363 w 703898"/>
                <a:gd name="connsiteY114" fmla="*/ 441674 h 676275"/>
                <a:gd name="connsiteX115" fmla="*/ 271762 w 703898"/>
                <a:gd name="connsiteY115" fmla="*/ 472345 h 676275"/>
                <a:gd name="connsiteX116" fmla="*/ 238469 w 703898"/>
                <a:gd name="connsiteY116" fmla="*/ 447865 h 676275"/>
                <a:gd name="connsiteX117" fmla="*/ 239516 w 703898"/>
                <a:gd name="connsiteY117" fmla="*/ 448818 h 676275"/>
                <a:gd name="connsiteX118" fmla="*/ 241418 w 703898"/>
                <a:gd name="connsiteY118" fmla="*/ 448246 h 676275"/>
                <a:gd name="connsiteX119" fmla="*/ 187199 w 703898"/>
                <a:gd name="connsiteY119" fmla="*/ 345281 h 676275"/>
                <a:gd name="connsiteX120" fmla="*/ 185297 w 703898"/>
                <a:gd name="connsiteY120" fmla="*/ 321183 h 676275"/>
                <a:gd name="connsiteX121" fmla="*/ 187199 w 703898"/>
                <a:gd name="connsiteY121" fmla="*/ 347567 h 676275"/>
                <a:gd name="connsiteX122" fmla="*/ 238850 w 703898"/>
                <a:gd name="connsiteY122" fmla="*/ 447199 h 676275"/>
                <a:gd name="connsiteX123" fmla="*/ 207460 w 703898"/>
                <a:gd name="connsiteY123" fmla="*/ 238315 h 676275"/>
                <a:gd name="connsiteX124" fmla="*/ 157426 w 703898"/>
                <a:gd name="connsiteY124" fmla="*/ 200977 h 676275"/>
                <a:gd name="connsiteX125" fmla="*/ 122992 w 703898"/>
                <a:gd name="connsiteY125" fmla="*/ 321755 h 676275"/>
                <a:gd name="connsiteX126" fmla="*/ 157426 w 703898"/>
                <a:gd name="connsiteY126" fmla="*/ 198692 h 676275"/>
                <a:gd name="connsiteX127" fmla="*/ 209077 w 703898"/>
                <a:gd name="connsiteY127" fmla="*/ 236792 h 676275"/>
                <a:gd name="connsiteX128" fmla="*/ 207460 w 703898"/>
                <a:gd name="connsiteY128" fmla="*/ 237839 h 676275"/>
                <a:gd name="connsiteX129" fmla="*/ 339393 w 703898"/>
                <a:gd name="connsiteY129" fmla="*/ 208026 h 676275"/>
                <a:gd name="connsiteX130" fmla="*/ 240087 w 703898"/>
                <a:gd name="connsiteY130" fmla="*/ 321564 h 676275"/>
                <a:gd name="connsiteX131" fmla="*/ 355418 w 703898"/>
                <a:gd name="connsiteY131" fmla="*/ 204457 h 676275"/>
                <a:gd name="connsiteX132" fmla="*/ 471137 w 703898"/>
                <a:gd name="connsiteY132" fmla="*/ 303848 h 676275"/>
                <a:gd name="connsiteX133" fmla="*/ 472373 w 703898"/>
                <a:gd name="connsiteY133" fmla="*/ 322231 h 676275"/>
                <a:gd name="connsiteX134" fmla="*/ 355490 w 703898"/>
                <a:gd name="connsiteY134" fmla="*/ 206676 h 676275"/>
                <a:gd name="connsiteX135" fmla="*/ 339203 w 703898"/>
                <a:gd name="connsiteY135" fmla="*/ 207931 h 67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703898" h="676275">
                  <a:moveTo>
                    <a:pt x="508044" y="7144"/>
                  </a:moveTo>
                  <a:lnTo>
                    <a:pt x="508044" y="7144"/>
                  </a:lnTo>
                  <a:lnTo>
                    <a:pt x="493680" y="80486"/>
                  </a:lnTo>
                  <a:lnTo>
                    <a:pt x="493680" y="80486"/>
                  </a:lnTo>
                  <a:lnTo>
                    <a:pt x="508044" y="7144"/>
                  </a:lnTo>
                  <a:close/>
                  <a:moveTo>
                    <a:pt x="644733" y="124587"/>
                  </a:moveTo>
                  <a:lnTo>
                    <a:pt x="645684" y="125825"/>
                  </a:lnTo>
                  <a:lnTo>
                    <a:pt x="598124" y="180880"/>
                  </a:lnTo>
                  <a:lnTo>
                    <a:pt x="596792" y="180023"/>
                  </a:lnTo>
                  <a:lnTo>
                    <a:pt x="645019" y="124587"/>
                  </a:lnTo>
                  <a:close/>
                  <a:moveTo>
                    <a:pt x="705135" y="294989"/>
                  </a:moveTo>
                  <a:lnTo>
                    <a:pt x="705135" y="297180"/>
                  </a:lnTo>
                  <a:lnTo>
                    <a:pt x="636553" y="320707"/>
                  </a:lnTo>
                  <a:lnTo>
                    <a:pt x="636553" y="318421"/>
                  </a:lnTo>
                  <a:lnTo>
                    <a:pt x="704850" y="294989"/>
                  </a:lnTo>
                  <a:close/>
                  <a:moveTo>
                    <a:pt x="636838" y="322898"/>
                  </a:moveTo>
                  <a:cubicBezTo>
                    <a:pt x="636863" y="344807"/>
                    <a:pt x="634309" y="366643"/>
                    <a:pt x="629228" y="387953"/>
                  </a:cubicBezTo>
                  <a:lnTo>
                    <a:pt x="628753" y="390049"/>
                  </a:lnTo>
                  <a:lnTo>
                    <a:pt x="627802" y="391668"/>
                  </a:lnTo>
                  <a:lnTo>
                    <a:pt x="628753" y="387667"/>
                  </a:lnTo>
                  <a:cubicBezTo>
                    <a:pt x="633944" y="366464"/>
                    <a:pt x="636657" y="344728"/>
                    <a:pt x="636838" y="322897"/>
                  </a:cubicBezTo>
                  <a:close/>
                  <a:moveTo>
                    <a:pt x="689345" y="428244"/>
                  </a:moveTo>
                  <a:lnTo>
                    <a:pt x="690106" y="428720"/>
                  </a:lnTo>
                  <a:lnTo>
                    <a:pt x="671082" y="475393"/>
                  </a:lnTo>
                  <a:lnTo>
                    <a:pt x="599836" y="461486"/>
                  </a:lnTo>
                  <a:cubicBezTo>
                    <a:pt x="588725" y="481476"/>
                    <a:pt x="575213" y="500029"/>
                    <a:pt x="559600" y="516731"/>
                  </a:cubicBezTo>
                  <a:lnTo>
                    <a:pt x="558839" y="517588"/>
                  </a:lnTo>
                  <a:lnTo>
                    <a:pt x="557317" y="516827"/>
                  </a:lnTo>
                  <a:lnTo>
                    <a:pt x="558839" y="515303"/>
                  </a:lnTo>
                  <a:cubicBezTo>
                    <a:pt x="574918" y="498523"/>
                    <a:pt x="588849" y="479806"/>
                    <a:pt x="600312" y="459581"/>
                  </a:cubicBezTo>
                  <a:lnTo>
                    <a:pt x="671558" y="473488"/>
                  </a:lnTo>
                  <a:lnTo>
                    <a:pt x="689345" y="428625"/>
                  </a:lnTo>
                  <a:close/>
                  <a:moveTo>
                    <a:pt x="591751" y="580073"/>
                  </a:moveTo>
                  <a:lnTo>
                    <a:pt x="592607" y="581692"/>
                  </a:lnTo>
                  <a:lnTo>
                    <a:pt x="553226" y="612838"/>
                  </a:lnTo>
                  <a:lnTo>
                    <a:pt x="498532" y="565213"/>
                  </a:lnTo>
                  <a:cubicBezTo>
                    <a:pt x="478444" y="577117"/>
                    <a:pt x="456935" y="586430"/>
                    <a:pt x="434515" y="592931"/>
                  </a:cubicBezTo>
                  <a:lnTo>
                    <a:pt x="431661" y="665607"/>
                  </a:lnTo>
                  <a:lnTo>
                    <a:pt x="381913" y="672846"/>
                  </a:lnTo>
                  <a:lnTo>
                    <a:pt x="358418" y="603980"/>
                  </a:lnTo>
                  <a:cubicBezTo>
                    <a:pt x="335151" y="604189"/>
                    <a:pt x="311949" y="601469"/>
                    <a:pt x="289360" y="595884"/>
                  </a:cubicBezTo>
                  <a:lnTo>
                    <a:pt x="250645" y="657320"/>
                  </a:lnTo>
                  <a:lnTo>
                    <a:pt x="204036" y="638270"/>
                  </a:lnTo>
                  <a:lnTo>
                    <a:pt x="204036" y="636175"/>
                  </a:lnTo>
                  <a:lnTo>
                    <a:pt x="250265" y="654558"/>
                  </a:lnTo>
                  <a:lnTo>
                    <a:pt x="288979" y="593122"/>
                  </a:lnTo>
                  <a:cubicBezTo>
                    <a:pt x="311569" y="598706"/>
                    <a:pt x="334770" y="601426"/>
                    <a:pt x="358037" y="601218"/>
                  </a:cubicBezTo>
                  <a:lnTo>
                    <a:pt x="381627" y="669893"/>
                  </a:lnTo>
                  <a:lnTo>
                    <a:pt x="431376" y="662559"/>
                  </a:lnTo>
                  <a:lnTo>
                    <a:pt x="434229" y="589979"/>
                  </a:lnTo>
                  <a:cubicBezTo>
                    <a:pt x="456575" y="583522"/>
                    <a:pt x="478019" y="574274"/>
                    <a:pt x="498056" y="562451"/>
                  </a:cubicBezTo>
                  <a:lnTo>
                    <a:pt x="552751" y="610076"/>
                  </a:lnTo>
                  <a:lnTo>
                    <a:pt x="591275" y="579596"/>
                  </a:lnTo>
                  <a:close/>
                  <a:moveTo>
                    <a:pt x="217543" y="567214"/>
                  </a:moveTo>
                  <a:lnTo>
                    <a:pt x="217543" y="567214"/>
                  </a:lnTo>
                  <a:lnTo>
                    <a:pt x="218399" y="565309"/>
                  </a:lnTo>
                  <a:lnTo>
                    <a:pt x="217638" y="565309"/>
                  </a:lnTo>
                  <a:cubicBezTo>
                    <a:pt x="197374" y="553844"/>
                    <a:pt x="178617" y="539893"/>
                    <a:pt x="161802" y="523780"/>
                  </a:cubicBezTo>
                  <a:lnTo>
                    <a:pt x="97595" y="557594"/>
                  </a:lnTo>
                  <a:lnTo>
                    <a:pt x="67346" y="519494"/>
                  </a:lnTo>
                  <a:lnTo>
                    <a:pt x="66395" y="520541"/>
                  </a:lnTo>
                  <a:lnTo>
                    <a:pt x="97595" y="559975"/>
                  </a:lnTo>
                  <a:lnTo>
                    <a:pt x="162182" y="526256"/>
                  </a:lnTo>
                  <a:cubicBezTo>
                    <a:pt x="178877" y="542252"/>
                    <a:pt x="197470" y="556135"/>
                    <a:pt x="217543" y="567595"/>
                  </a:cubicBezTo>
                  <a:close/>
                  <a:moveTo>
                    <a:pt x="113670" y="464153"/>
                  </a:moveTo>
                  <a:cubicBezTo>
                    <a:pt x="102197" y="444475"/>
                    <a:pt x="93188" y="423457"/>
                    <a:pt x="86846" y="401574"/>
                  </a:cubicBezTo>
                  <a:lnTo>
                    <a:pt x="14363" y="398717"/>
                  </a:lnTo>
                  <a:lnTo>
                    <a:pt x="7134" y="348901"/>
                  </a:lnTo>
                  <a:lnTo>
                    <a:pt x="7134" y="348901"/>
                  </a:lnTo>
                  <a:lnTo>
                    <a:pt x="14078" y="396526"/>
                  </a:lnTo>
                  <a:lnTo>
                    <a:pt x="86561" y="399383"/>
                  </a:lnTo>
                  <a:cubicBezTo>
                    <a:pt x="93366" y="422782"/>
                    <a:pt x="103182" y="445195"/>
                    <a:pt x="115763" y="466058"/>
                  </a:cubicBezTo>
                  <a:lnTo>
                    <a:pt x="114146" y="466058"/>
                  </a:lnTo>
                  <a:lnTo>
                    <a:pt x="113385" y="464630"/>
                  </a:lnTo>
                  <a:close/>
                  <a:moveTo>
                    <a:pt x="75622" y="323088"/>
                  </a:moveTo>
                  <a:lnTo>
                    <a:pt x="75622" y="323088"/>
                  </a:lnTo>
                  <a:close/>
                  <a:moveTo>
                    <a:pt x="83707" y="256413"/>
                  </a:moveTo>
                  <a:lnTo>
                    <a:pt x="22354" y="217646"/>
                  </a:lnTo>
                  <a:lnTo>
                    <a:pt x="23019" y="215837"/>
                  </a:lnTo>
                  <a:lnTo>
                    <a:pt x="84373" y="254603"/>
                  </a:lnTo>
                  <a:lnTo>
                    <a:pt x="83707" y="256413"/>
                  </a:lnTo>
                  <a:close/>
                  <a:moveTo>
                    <a:pt x="152765" y="127540"/>
                  </a:moveTo>
                  <a:lnTo>
                    <a:pt x="119758" y="64675"/>
                  </a:lnTo>
                  <a:lnTo>
                    <a:pt x="120614" y="64008"/>
                  </a:lnTo>
                  <a:lnTo>
                    <a:pt x="155238" y="129826"/>
                  </a:lnTo>
                  <a:lnTo>
                    <a:pt x="153621" y="129064"/>
                  </a:lnTo>
                  <a:lnTo>
                    <a:pt x="152765" y="127540"/>
                  </a:lnTo>
                  <a:close/>
                  <a:moveTo>
                    <a:pt x="511468" y="149257"/>
                  </a:moveTo>
                  <a:lnTo>
                    <a:pt x="473419" y="200501"/>
                  </a:lnTo>
                  <a:lnTo>
                    <a:pt x="472373" y="199644"/>
                  </a:lnTo>
                  <a:lnTo>
                    <a:pt x="511468" y="146971"/>
                  </a:lnTo>
                  <a:cubicBezTo>
                    <a:pt x="561343" y="191606"/>
                    <a:pt x="589680" y="255536"/>
                    <a:pt x="589277" y="322517"/>
                  </a:cubicBezTo>
                  <a:cubicBezTo>
                    <a:pt x="589251" y="311454"/>
                    <a:pt x="588424" y="300408"/>
                    <a:pt x="586804" y="289465"/>
                  </a:cubicBezTo>
                  <a:cubicBezTo>
                    <a:pt x="578969" y="235302"/>
                    <a:pt x="552289" y="185648"/>
                    <a:pt x="511468" y="149257"/>
                  </a:cubicBezTo>
                  <a:close/>
                  <a:moveTo>
                    <a:pt x="527353" y="322707"/>
                  </a:moveTo>
                  <a:cubicBezTo>
                    <a:pt x="527528" y="352774"/>
                    <a:pt x="519749" y="382351"/>
                    <a:pt x="504810" y="408432"/>
                  </a:cubicBezTo>
                  <a:lnTo>
                    <a:pt x="503858" y="410146"/>
                  </a:lnTo>
                  <a:lnTo>
                    <a:pt x="502051" y="410909"/>
                  </a:lnTo>
                  <a:cubicBezTo>
                    <a:pt x="518316" y="384384"/>
                    <a:pt x="527062" y="353926"/>
                    <a:pt x="527353" y="322802"/>
                  </a:cubicBezTo>
                  <a:close/>
                  <a:moveTo>
                    <a:pt x="478556" y="124682"/>
                  </a:moveTo>
                  <a:lnTo>
                    <a:pt x="479793" y="125444"/>
                  </a:lnTo>
                  <a:lnTo>
                    <a:pt x="482076" y="124777"/>
                  </a:lnTo>
                  <a:cubicBezTo>
                    <a:pt x="437939" y="93821"/>
                    <a:pt x="375064" y="82296"/>
                    <a:pt x="322271" y="90106"/>
                  </a:cubicBezTo>
                  <a:cubicBezTo>
                    <a:pt x="271952" y="97441"/>
                    <a:pt x="209172" y="128206"/>
                    <a:pt x="178828" y="170021"/>
                  </a:cubicBezTo>
                  <a:lnTo>
                    <a:pt x="180921" y="169354"/>
                  </a:lnTo>
                  <a:lnTo>
                    <a:pt x="182253" y="167926"/>
                  </a:lnTo>
                  <a:cubicBezTo>
                    <a:pt x="257484" y="83476"/>
                    <a:pt x="382382" y="65248"/>
                    <a:pt x="478556" y="124682"/>
                  </a:cubicBezTo>
                  <a:close/>
                  <a:moveTo>
                    <a:pt x="271477" y="472345"/>
                  </a:moveTo>
                  <a:lnTo>
                    <a:pt x="233428" y="523875"/>
                  </a:lnTo>
                  <a:lnTo>
                    <a:pt x="232191" y="523208"/>
                  </a:lnTo>
                  <a:lnTo>
                    <a:pt x="271762" y="470059"/>
                  </a:lnTo>
                  <a:cubicBezTo>
                    <a:pt x="340082" y="509001"/>
                    <a:pt x="426106" y="496353"/>
                    <a:pt x="480363" y="439388"/>
                  </a:cubicBezTo>
                  <a:lnTo>
                    <a:pt x="532680" y="478250"/>
                  </a:lnTo>
                  <a:lnTo>
                    <a:pt x="530302" y="478917"/>
                  </a:lnTo>
                  <a:lnTo>
                    <a:pt x="480363" y="441674"/>
                  </a:lnTo>
                  <a:cubicBezTo>
                    <a:pt x="426107" y="498639"/>
                    <a:pt x="340082" y="511287"/>
                    <a:pt x="271762" y="472345"/>
                  </a:cubicBezTo>
                  <a:close/>
                  <a:moveTo>
                    <a:pt x="238469" y="447865"/>
                  </a:moveTo>
                  <a:lnTo>
                    <a:pt x="239516" y="448818"/>
                  </a:lnTo>
                  <a:lnTo>
                    <a:pt x="241418" y="448246"/>
                  </a:lnTo>
                  <a:cubicBezTo>
                    <a:pt x="211796" y="421392"/>
                    <a:pt x="192595" y="384927"/>
                    <a:pt x="187199" y="345281"/>
                  </a:cubicBezTo>
                  <a:cubicBezTo>
                    <a:pt x="186006" y="337303"/>
                    <a:pt x="185370" y="329250"/>
                    <a:pt x="185297" y="321183"/>
                  </a:cubicBezTo>
                  <a:cubicBezTo>
                    <a:pt x="185274" y="330013"/>
                    <a:pt x="185910" y="338832"/>
                    <a:pt x="187199" y="347567"/>
                  </a:cubicBezTo>
                  <a:cubicBezTo>
                    <a:pt x="192763" y="385641"/>
                    <a:pt x="210956" y="420733"/>
                    <a:pt x="238850" y="447199"/>
                  </a:cubicBezTo>
                  <a:close/>
                  <a:moveTo>
                    <a:pt x="207460" y="238315"/>
                  </a:moveTo>
                  <a:lnTo>
                    <a:pt x="157426" y="200977"/>
                  </a:lnTo>
                  <a:cubicBezTo>
                    <a:pt x="135127" y="237323"/>
                    <a:pt x="123217" y="279099"/>
                    <a:pt x="122992" y="321755"/>
                  </a:cubicBezTo>
                  <a:cubicBezTo>
                    <a:pt x="122805" y="278324"/>
                    <a:pt x="134731" y="235703"/>
                    <a:pt x="157426" y="198692"/>
                  </a:cubicBezTo>
                  <a:lnTo>
                    <a:pt x="209077" y="236792"/>
                  </a:lnTo>
                  <a:lnTo>
                    <a:pt x="207460" y="237839"/>
                  </a:lnTo>
                  <a:close/>
                  <a:moveTo>
                    <a:pt x="339393" y="208026"/>
                  </a:moveTo>
                  <a:cubicBezTo>
                    <a:pt x="282952" y="216342"/>
                    <a:pt x="240879" y="264443"/>
                    <a:pt x="240087" y="321564"/>
                  </a:cubicBezTo>
                  <a:cubicBezTo>
                    <a:pt x="239640" y="257335"/>
                    <a:pt x="291276" y="204904"/>
                    <a:pt x="355418" y="204457"/>
                  </a:cubicBezTo>
                  <a:cubicBezTo>
                    <a:pt x="413347" y="204053"/>
                    <a:pt x="462715" y="246456"/>
                    <a:pt x="471137" y="303848"/>
                  </a:cubicBezTo>
                  <a:cubicBezTo>
                    <a:pt x="472066" y="309929"/>
                    <a:pt x="472480" y="316079"/>
                    <a:pt x="472373" y="322231"/>
                  </a:cubicBezTo>
                  <a:cubicBezTo>
                    <a:pt x="471963" y="258001"/>
                    <a:pt x="419633" y="206266"/>
                    <a:pt x="355490" y="206676"/>
                  </a:cubicBezTo>
                  <a:cubicBezTo>
                    <a:pt x="350038" y="206711"/>
                    <a:pt x="344596" y="207130"/>
                    <a:pt x="339203" y="207931"/>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36" name="Freeform 35">
              <a:extLst>
                <a:ext uri="{FF2B5EF4-FFF2-40B4-BE49-F238E27FC236}">
                  <a16:creationId xmlns="" xmlns:a16="http://schemas.microsoft.com/office/drawing/2014/main" id="{8BAA7313-E7C0-1447-841B-5645E549738F}"/>
                </a:ext>
              </a:extLst>
            </p:cNvPr>
            <p:cNvSpPr/>
            <p:nvPr/>
          </p:nvSpPr>
          <p:spPr>
            <a:xfrm>
              <a:off x="4594270" y="3546492"/>
              <a:ext cx="800107" cy="768707"/>
            </a:xfrm>
            <a:custGeom>
              <a:avLst/>
              <a:gdLst>
                <a:gd name="connsiteX0" fmla="*/ 280418 w 703898"/>
                <a:gd name="connsiteY0" fmla="*/ 14478 h 676275"/>
                <a:gd name="connsiteX1" fmla="*/ 330072 w 703898"/>
                <a:gd name="connsiteY1" fmla="*/ 7144 h 676275"/>
                <a:gd name="connsiteX2" fmla="*/ 353662 w 703898"/>
                <a:gd name="connsiteY2" fmla="*/ 75819 h 676275"/>
                <a:gd name="connsiteX3" fmla="*/ 422815 w 703898"/>
                <a:gd name="connsiteY3" fmla="*/ 83915 h 676275"/>
                <a:gd name="connsiteX4" fmla="*/ 461434 w 703898"/>
                <a:gd name="connsiteY4" fmla="*/ 22479 h 676275"/>
                <a:gd name="connsiteX5" fmla="*/ 508139 w 703898"/>
                <a:gd name="connsiteY5" fmla="*/ 41529 h 676275"/>
                <a:gd name="connsiteX6" fmla="*/ 507283 w 703898"/>
                <a:gd name="connsiteY6" fmla="*/ 43434 h 676275"/>
                <a:gd name="connsiteX7" fmla="*/ 461434 w 703898"/>
                <a:gd name="connsiteY7" fmla="*/ 25241 h 676275"/>
                <a:gd name="connsiteX8" fmla="*/ 422815 w 703898"/>
                <a:gd name="connsiteY8" fmla="*/ 86678 h 676275"/>
                <a:gd name="connsiteX9" fmla="*/ 353662 w 703898"/>
                <a:gd name="connsiteY9" fmla="*/ 78581 h 676275"/>
                <a:gd name="connsiteX10" fmla="*/ 330072 w 703898"/>
                <a:gd name="connsiteY10" fmla="*/ 9906 h 676275"/>
                <a:gd name="connsiteX11" fmla="*/ 280418 w 703898"/>
                <a:gd name="connsiteY11" fmla="*/ 17240 h 676275"/>
                <a:gd name="connsiteX12" fmla="*/ 277564 w 703898"/>
                <a:gd name="connsiteY12" fmla="*/ 89821 h 676275"/>
                <a:gd name="connsiteX13" fmla="*/ 213643 w 703898"/>
                <a:gd name="connsiteY13" fmla="*/ 117348 h 676275"/>
                <a:gd name="connsiteX14" fmla="*/ 158948 w 703898"/>
                <a:gd name="connsiteY14" fmla="*/ 69723 h 676275"/>
                <a:gd name="connsiteX15" fmla="*/ 120899 w 703898"/>
                <a:gd name="connsiteY15" fmla="*/ 99631 h 676275"/>
                <a:gd name="connsiteX16" fmla="*/ 119187 w 703898"/>
                <a:gd name="connsiteY16" fmla="*/ 98584 h 676275"/>
                <a:gd name="connsiteX17" fmla="*/ 158568 w 703898"/>
                <a:gd name="connsiteY17" fmla="*/ 67437 h 676275"/>
                <a:gd name="connsiteX18" fmla="*/ 213262 w 703898"/>
                <a:gd name="connsiteY18" fmla="*/ 115062 h 676275"/>
                <a:gd name="connsiteX19" fmla="*/ 277184 w 703898"/>
                <a:gd name="connsiteY19" fmla="*/ 87535 h 676275"/>
                <a:gd name="connsiteX20" fmla="*/ 280038 w 703898"/>
                <a:gd name="connsiteY20" fmla="*/ 14954 h 676275"/>
                <a:gd name="connsiteX21" fmla="*/ 494632 w 703898"/>
                <a:gd name="connsiteY21" fmla="*/ 112300 h 676275"/>
                <a:gd name="connsiteX22" fmla="*/ 494632 w 703898"/>
                <a:gd name="connsiteY22" fmla="*/ 112300 h 676275"/>
                <a:gd name="connsiteX23" fmla="*/ 493871 w 703898"/>
                <a:gd name="connsiteY23" fmla="*/ 114205 h 676275"/>
                <a:gd name="connsiteX24" fmla="*/ 494727 w 703898"/>
                <a:gd name="connsiteY24" fmla="*/ 114205 h 676275"/>
                <a:gd name="connsiteX25" fmla="*/ 550563 w 703898"/>
                <a:gd name="connsiteY25" fmla="*/ 155734 h 676275"/>
                <a:gd name="connsiteX26" fmla="*/ 614770 w 703898"/>
                <a:gd name="connsiteY26" fmla="*/ 121920 h 676275"/>
                <a:gd name="connsiteX27" fmla="*/ 643497 w 703898"/>
                <a:gd name="connsiteY27" fmla="*/ 159925 h 676275"/>
                <a:gd name="connsiteX28" fmla="*/ 645399 w 703898"/>
                <a:gd name="connsiteY28" fmla="*/ 159925 h 676275"/>
                <a:gd name="connsiteX29" fmla="*/ 614294 w 703898"/>
                <a:gd name="connsiteY29" fmla="*/ 120491 h 676275"/>
                <a:gd name="connsiteX30" fmla="*/ 550087 w 703898"/>
                <a:gd name="connsiteY30" fmla="*/ 154305 h 676275"/>
                <a:gd name="connsiteX31" fmla="*/ 494632 w 703898"/>
                <a:gd name="connsiteY31" fmla="*/ 112300 h 676275"/>
                <a:gd name="connsiteX32" fmla="*/ 598599 w 703898"/>
                <a:gd name="connsiteY32" fmla="*/ 215360 h 676275"/>
                <a:gd name="connsiteX33" fmla="*/ 625328 w 703898"/>
                <a:gd name="connsiteY33" fmla="*/ 277940 h 676275"/>
                <a:gd name="connsiteX34" fmla="*/ 697811 w 703898"/>
                <a:gd name="connsiteY34" fmla="*/ 280797 h 676275"/>
                <a:gd name="connsiteX35" fmla="*/ 705135 w 703898"/>
                <a:gd name="connsiteY35" fmla="*/ 330613 h 676275"/>
                <a:gd name="connsiteX36" fmla="*/ 705135 w 703898"/>
                <a:gd name="connsiteY36" fmla="*/ 330613 h 676275"/>
                <a:gd name="connsiteX37" fmla="*/ 698096 w 703898"/>
                <a:gd name="connsiteY37" fmla="*/ 282988 h 676275"/>
                <a:gd name="connsiteX38" fmla="*/ 625614 w 703898"/>
                <a:gd name="connsiteY38" fmla="*/ 280130 h 676275"/>
                <a:gd name="connsiteX39" fmla="*/ 597838 w 703898"/>
                <a:gd name="connsiteY39" fmla="*/ 217075 h 676275"/>
                <a:gd name="connsiteX40" fmla="*/ 596221 w 703898"/>
                <a:gd name="connsiteY40" fmla="*/ 214217 h 676275"/>
                <a:gd name="connsiteX41" fmla="*/ 597743 w 703898"/>
                <a:gd name="connsiteY41" fmla="*/ 214789 h 676275"/>
                <a:gd name="connsiteX42" fmla="*/ 598599 w 703898"/>
                <a:gd name="connsiteY42" fmla="*/ 216122 h 676275"/>
                <a:gd name="connsiteX43" fmla="*/ 636648 w 703898"/>
                <a:gd name="connsiteY43" fmla="*/ 356425 h 676275"/>
                <a:gd name="connsiteX44" fmla="*/ 636648 w 703898"/>
                <a:gd name="connsiteY44" fmla="*/ 356425 h 676275"/>
                <a:gd name="connsiteX45" fmla="*/ 628563 w 703898"/>
                <a:gd name="connsiteY45" fmla="*/ 423100 h 676275"/>
                <a:gd name="connsiteX46" fmla="*/ 689916 w 703898"/>
                <a:gd name="connsiteY46" fmla="*/ 461867 h 676275"/>
                <a:gd name="connsiteX47" fmla="*/ 688489 w 703898"/>
                <a:gd name="connsiteY47" fmla="*/ 463201 h 676275"/>
                <a:gd name="connsiteX48" fmla="*/ 627611 w 703898"/>
                <a:gd name="connsiteY48" fmla="*/ 425101 h 676275"/>
                <a:gd name="connsiteX49" fmla="*/ 628563 w 703898"/>
                <a:gd name="connsiteY49" fmla="*/ 423482 h 676275"/>
                <a:gd name="connsiteX50" fmla="*/ 558648 w 703898"/>
                <a:gd name="connsiteY50" fmla="*/ 550545 h 676275"/>
                <a:gd name="connsiteX51" fmla="*/ 592417 w 703898"/>
                <a:gd name="connsiteY51" fmla="*/ 614839 h 676275"/>
                <a:gd name="connsiteX52" fmla="*/ 591560 w 703898"/>
                <a:gd name="connsiteY52" fmla="*/ 615506 h 676275"/>
                <a:gd name="connsiteX53" fmla="*/ 557031 w 703898"/>
                <a:gd name="connsiteY53" fmla="*/ 550450 h 676275"/>
                <a:gd name="connsiteX54" fmla="*/ 558553 w 703898"/>
                <a:gd name="connsiteY54" fmla="*/ 551212 h 676275"/>
                <a:gd name="connsiteX55" fmla="*/ 203940 w 703898"/>
                <a:gd name="connsiteY55" fmla="*/ 671894 h 676275"/>
                <a:gd name="connsiteX56" fmla="*/ 217828 w 703898"/>
                <a:gd name="connsiteY56" fmla="*/ 600551 h 676275"/>
                <a:gd name="connsiteX57" fmla="*/ 218589 w 703898"/>
                <a:gd name="connsiteY57" fmla="*/ 598837 h 676275"/>
                <a:gd name="connsiteX58" fmla="*/ 204701 w 703898"/>
                <a:gd name="connsiteY58" fmla="*/ 669893 h 676275"/>
                <a:gd name="connsiteX59" fmla="*/ 203940 w 703898"/>
                <a:gd name="connsiteY59" fmla="*/ 671894 h 676275"/>
                <a:gd name="connsiteX60" fmla="*/ 66490 w 703898"/>
                <a:gd name="connsiteY60" fmla="*/ 553974 h 676275"/>
                <a:gd name="connsiteX61" fmla="*/ 114051 w 703898"/>
                <a:gd name="connsiteY61" fmla="*/ 499300 h 676275"/>
                <a:gd name="connsiteX62" fmla="*/ 115668 w 703898"/>
                <a:gd name="connsiteY62" fmla="*/ 499300 h 676275"/>
                <a:gd name="connsiteX63" fmla="*/ 68107 w 703898"/>
                <a:gd name="connsiteY63" fmla="*/ 553784 h 676275"/>
                <a:gd name="connsiteX64" fmla="*/ 66205 w 703898"/>
                <a:gd name="connsiteY64" fmla="*/ 553784 h 676275"/>
                <a:gd name="connsiteX65" fmla="*/ 7134 w 703898"/>
                <a:gd name="connsiteY65" fmla="*/ 384810 h 676275"/>
                <a:gd name="connsiteX66" fmla="*/ 7134 w 703898"/>
                <a:gd name="connsiteY66" fmla="*/ 382619 h 676275"/>
                <a:gd name="connsiteX67" fmla="*/ 75717 w 703898"/>
                <a:gd name="connsiteY67" fmla="*/ 359093 h 676275"/>
                <a:gd name="connsiteX68" fmla="*/ 75717 w 703898"/>
                <a:gd name="connsiteY68" fmla="*/ 361379 h 676275"/>
                <a:gd name="connsiteX69" fmla="*/ 7419 w 703898"/>
                <a:gd name="connsiteY69" fmla="*/ 384810 h 676275"/>
                <a:gd name="connsiteX70" fmla="*/ 75431 w 703898"/>
                <a:gd name="connsiteY70" fmla="*/ 356902 h 676275"/>
                <a:gd name="connsiteX71" fmla="*/ 82946 w 703898"/>
                <a:gd name="connsiteY71" fmla="*/ 291846 h 676275"/>
                <a:gd name="connsiteX72" fmla="*/ 83421 w 703898"/>
                <a:gd name="connsiteY72" fmla="*/ 289846 h 676275"/>
                <a:gd name="connsiteX73" fmla="*/ 84278 w 703898"/>
                <a:gd name="connsiteY73" fmla="*/ 288036 h 676275"/>
                <a:gd name="connsiteX74" fmla="*/ 75431 w 703898"/>
                <a:gd name="connsiteY74" fmla="*/ 356902 h 676275"/>
                <a:gd name="connsiteX75" fmla="*/ 22163 w 703898"/>
                <a:gd name="connsiteY75" fmla="*/ 251079 h 676275"/>
                <a:gd name="connsiteX76" fmla="*/ 40617 w 703898"/>
                <a:gd name="connsiteY76" fmla="*/ 204406 h 676275"/>
                <a:gd name="connsiteX77" fmla="*/ 111863 w 703898"/>
                <a:gd name="connsiteY77" fmla="*/ 218313 h 676275"/>
                <a:gd name="connsiteX78" fmla="*/ 152575 w 703898"/>
                <a:gd name="connsiteY78" fmla="*/ 163259 h 676275"/>
                <a:gd name="connsiteX79" fmla="*/ 153431 w 703898"/>
                <a:gd name="connsiteY79" fmla="*/ 162401 h 676275"/>
                <a:gd name="connsiteX80" fmla="*/ 154953 w 703898"/>
                <a:gd name="connsiteY80" fmla="*/ 163259 h 676275"/>
                <a:gd name="connsiteX81" fmla="*/ 153431 w 703898"/>
                <a:gd name="connsiteY81" fmla="*/ 164783 h 676275"/>
                <a:gd name="connsiteX82" fmla="*/ 111863 w 703898"/>
                <a:gd name="connsiteY82" fmla="*/ 220599 h 676275"/>
                <a:gd name="connsiteX83" fmla="*/ 40617 w 703898"/>
                <a:gd name="connsiteY83" fmla="*/ 206693 h 676275"/>
                <a:gd name="connsiteX84" fmla="*/ 23590 w 703898"/>
                <a:gd name="connsiteY84" fmla="*/ 249746 h 676275"/>
                <a:gd name="connsiteX85" fmla="*/ 22163 w 703898"/>
                <a:gd name="connsiteY85" fmla="*/ 251079 h 676275"/>
                <a:gd name="connsiteX86" fmla="*/ 475132 w 703898"/>
                <a:gd name="connsiteY86" fmla="*/ 233648 h 676275"/>
                <a:gd name="connsiteX87" fmla="*/ 525356 w 703898"/>
                <a:gd name="connsiteY87" fmla="*/ 331851 h 676275"/>
                <a:gd name="connsiteX88" fmla="*/ 527163 w 703898"/>
                <a:gd name="connsiteY88" fmla="*/ 357950 h 676275"/>
                <a:gd name="connsiteX89" fmla="*/ 525356 w 703898"/>
                <a:gd name="connsiteY89" fmla="*/ 334137 h 676275"/>
                <a:gd name="connsiteX90" fmla="*/ 474085 w 703898"/>
                <a:gd name="connsiteY90" fmla="*/ 234982 h 676275"/>
                <a:gd name="connsiteX91" fmla="*/ 472183 w 703898"/>
                <a:gd name="connsiteY91" fmla="*/ 233077 h 676275"/>
                <a:gd name="connsiteX92" fmla="*/ 474085 w 703898"/>
                <a:gd name="connsiteY92" fmla="*/ 233077 h 676275"/>
                <a:gd name="connsiteX93" fmla="*/ 475132 w 703898"/>
                <a:gd name="connsiteY93" fmla="*/ 234029 h 676275"/>
                <a:gd name="connsiteX94" fmla="*/ 503668 w 703898"/>
                <a:gd name="connsiteY94" fmla="*/ 443198 h 676275"/>
                <a:gd name="connsiteX95" fmla="*/ 553607 w 703898"/>
                <a:gd name="connsiteY95" fmla="*/ 480441 h 676275"/>
                <a:gd name="connsiteX96" fmla="*/ 589087 w 703898"/>
                <a:gd name="connsiteY96" fmla="*/ 358140 h 676275"/>
                <a:gd name="connsiteX97" fmla="*/ 553607 w 703898"/>
                <a:gd name="connsiteY97" fmla="*/ 482727 h 676275"/>
                <a:gd name="connsiteX98" fmla="*/ 501861 w 703898"/>
                <a:gd name="connsiteY98" fmla="*/ 444151 h 676275"/>
                <a:gd name="connsiteX99" fmla="*/ 503668 w 703898"/>
                <a:gd name="connsiteY99" fmla="*/ 443198 h 676275"/>
                <a:gd name="connsiteX100" fmla="*/ 442410 w 703898"/>
                <a:gd name="connsiteY100" fmla="*/ 208693 h 676275"/>
                <a:gd name="connsiteX101" fmla="*/ 230670 w 703898"/>
                <a:gd name="connsiteY101" fmla="*/ 239935 h 676275"/>
                <a:gd name="connsiteX102" fmla="*/ 182063 w 703898"/>
                <a:gd name="connsiteY102" fmla="*/ 203645 h 676275"/>
                <a:gd name="connsiteX103" fmla="*/ 180826 w 703898"/>
                <a:gd name="connsiteY103" fmla="*/ 202787 h 676275"/>
                <a:gd name="connsiteX104" fmla="*/ 178733 w 703898"/>
                <a:gd name="connsiteY104" fmla="*/ 203454 h 676275"/>
                <a:gd name="connsiteX105" fmla="*/ 230670 w 703898"/>
                <a:gd name="connsiteY105" fmla="*/ 242221 h 676275"/>
                <a:gd name="connsiteX106" fmla="*/ 442410 w 703898"/>
                <a:gd name="connsiteY106" fmla="*/ 211074 h 676275"/>
                <a:gd name="connsiteX107" fmla="*/ 481790 w 703898"/>
                <a:gd name="connsiteY107" fmla="*/ 158210 h 676275"/>
                <a:gd name="connsiteX108" fmla="*/ 479602 w 703898"/>
                <a:gd name="connsiteY108" fmla="*/ 158877 h 676275"/>
                <a:gd name="connsiteX109" fmla="*/ 442410 w 703898"/>
                <a:gd name="connsiteY109" fmla="*/ 208788 h 676275"/>
                <a:gd name="connsiteX110" fmla="*/ 235330 w 703898"/>
                <a:gd name="connsiteY110" fmla="*/ 556355 h 676275"/>
                <a:gd name="connsiteX111" fmla="*/ 528590 w 703898"/>
                <a:gd name="connsiteY111" fmla="*/ 513588 h 676275"/>
                <a:gd name="connsiteX112" fmla="*/ 529827 w 703898"/>
                <a:gd name="connsiteY112" fmla="*/ 512255 h 676275"/>
                <a:gd name="connsiteX113" fmla="*/ 532205 w 703898"/>
                <a:gd name="connsiteY113" fmla="*/ 511588 h 676275"/>
                <a:gd name="connsiteX114" fmla="*/ 529827 w 703898"/>
                <a:gd name="connsiteY114" fmla="*/ 514541 h 676275"/>
                <a:gd name="connsiteX115" fmla="*/ 234474 w 703898"/>
                <a:gd name="connsiteY115" fmla="*/ 558070 h 676275"/>
                <a:gd name="connsiteX116" fmla="*/ 232096 w 703898"/>
                <a:gd name="connsiteY116" fmla="*/ 556736 h 676275"/>
                <a:gd name="connsiteX117" fmla="*/ 234474 w 703898"/>
                <a:gd name="connsiteY117" fmla="*/ 555784 h 676275"/>
                <a:gd name="connsiteX118" fmla="*/ 235711 w 703898"/>
                <a:gd name="connsiteY118" fmla="*/ 556451 h 676275"/>
                <a:gd name="connsiteX119" fmla="*/ 202133 w 703898"/>
                <a:gd name="connsiteY119" fmla="*/ 532067 h 676275"/>
                <a:gd name="connsiteX120" fmla="*/ 125275 w 703898"/>
                <a:gd name="connsiteY120" fmla="*/ 390525 h 676275"/>
                <a:gd name="connsiteX121" fmla="*/ 122802 w 703898"/>
                <a:gd name="connsiteY121" fmla="*/ 357664 h 676275"/>
                <a:gd name="connsiteX122" fmla="*/ 125275 w 703898"/>
                <a:gd name="connsiteY122" fmla="*/ 392906 h 676275"/>
                <a:gd name="connsiteX123" fmla="*/ 202133 w 703898"/>
                <a:gd name="connsiteY123" fmla="*/ 534353 h 676275"/>
                <a:gd name="connsiteX124" fmla="*/ 241133 w 703898"/>
                <a:gd name="connsiteY124" fmla="*/ 481584 h 676275"/>
                <a:gd name="connsiteX125" fmla="*/ 239230 w 703898"/>
                <a:gd name="connsiteY125" fmla="*/ 481584 h 676275"/>
                <a:gd name="connsiteX126" fmla="*/ 202133 w 703898"/>
                <a:gd name="connsiteY126" fmla="*/ 531590 h 676275"/>
                <a:gd name="connsiteX127" fmla="*/ 184726 w 703898"/>
                <a:gd name="connsiteY127" fmla="*/ 357473 h 676275"/>
                <a:gd name="connsiteX128" fmla="*/ 205938 w 703898"/>
                <a:gd name="connsiteY128" fmla="*/ 273558 h 676275"/>
                <a:gd name="connsiteX129" fmla="*/ 206794 w 703898"/>
                <a:gd name="connsiteY129" fmla="*/ 271939 h 676275"/>
                <a:gd name="connsiteX130" fmla="*/ 208506 w 703898"/>
                <a:gd name="connsiteY130" fmla="*/ 270891 h 676275"/>
                <a:gd name="connsiteX131" fmla="*/ 206794 w 703898"/>
                <a:gd name="connsiteY131" fmla="*/ 274225 h 676275"/>
                <a:gd name="connsiteX132" fmla="*/ 184345 w 703898"/>
                <a:gd name="connsiteY132" fmla="*/ 357569 h 676275"/>
                <a:gd name="connsiteX133" fmla="*/ 472088 w 703898"/>
                <a:gd name="connsiteY133" fmla="*/ 358140 h 676275"/>
                <a:gd name="connsiteX134" fmla="*/ 354520 w 703898"/>
                <a:gd name="connsiteY134" fmla="*/ 472996 h 676275"/>
                <a:gd name="connsiteX135" fmla="*/ 241038 w 703898"/>
                <a:gd name="connsiteY135" fmla="*/ 373571 h 676275"/>
                <a:gd name="connsiteX136" fmla="*/ 239801 w 703898"/>
                <a:gd name="connsiteY136" fmla="*/ 357473 h 676275"/>
                <a:gd name="connsiteX137" fmla="*/ 241038 w 703898"/>
                <a:gd name="connsiteY137" fmla="*/ 375857 h 676275"/>
                <a:gd name="connsiteX138" fmla="*/ 371556 w 703898"/>
                <a:gd name="connsiteY138" fmla="*/ 475709 h 676275"/>
                <a:gd name="connsiteX139" fmla="*/ 472278 w 703898"/>
                <a:gd name="connsiteY139" fmla="*/ 358235 h 67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703898" h="676275">
                  <a:moveTo>
                    <a:pt x="280418" y="14478"/>
                  </a:moveTo>
                  <a:lnTo>
                    <a:pt x="330072" y="7144"/>
                  </a:lnTo>
                  <a:lnTo>
                    <a:pt x="353662" y="75819"/>
                  </a:lnTo>
                  <a:cubicBezTo>
                    <a:pt x="376960" y="75606"/>
                    <a:pt x="400194" y="78326"/>
                    <a:pt x="422815" y="83915"/>
                  </a:cubicBezTo>
                  <a:lnTo>
                    <a:pt x="461434" y="22479"/>
                  </a:lnTo>
                  <a:lnTo>
                    <a:pt x="508139" y="41529"/>
                  </a:lnTo>
                  <a:lnTo>
                    <a:pt x="507283" y="43434"/>
                  </a:lnTo>
                  <a:lnTo>
                    <a:pt x="461434" y="25241"/>
                  </a:lnTo>
                  <a:lnTo>
                    <a:pt x="422815" y="86678"/>
                  </a:lnTo>
                  <a:cubicBezTo>
                    <a:pt x="400194" y="81088"/>
                    <a:pt x="376961" y="78368"/>
                    <a:pt x="353662" y="78581"/>
                  </a:cubicBezTo>
                  <a:lnTo>
                    <a:pt x="330072" y="9906"/>
                  </a:lnTo>
                  <a:lnTo>
                    <a:pt x="280418" y="17240"/>
                  </a:lnTo>
                  <a:lnTo>
                    <a:pt x="277564" y="89821"/>
                  </a:lnTo>
                  <a:cubicBezTo>
                    <a:pt x="255195" y="96294"/>
                    <a:pt x="233722" y="105542"/>
                    <a:pt x="213643" y="117348"/>
                  </a:cubicBezTo>
                  <a:lnTo>
                    <a:pt x="158948" y="69723"/>
                  </a:lnTo>
                  <a:lnTo>
                    <a:pt x="120899" y="99631"/>
                  </a:lnTo>
                  <a:lnTo>
                    <a:pt x="119187" y="98584"/>
                  </a:lnTo>
                  <a:lnTo>
                    <a:pt x="158568" y="67437"/>
                  </a:lnTo>
                  <a:lnTo>
                    <a:pt x="213262" y="115062"/>
                  </a:lnTo>
                  <a:cubicBezTo>
                    <a:pt x="233341" y="103256"/>
                    <a:pt x="254815" y="94008"/>
                    <a:pt x="277184" y="87535"/>
                  </a:cubicBezTo>
                  <a:lnTo>
                    <a:pt x="280038" y="14954"/>
                  </a:lnTo>
                  <a:close/>
                  <a:moveTo>
                    <a:pt x="494632" y="112300"/>
                  </a:moveTo>
                  <a:lnTo>
                    <a:pt x="494632" y="112300"/>
                  </a:lnTo>
                  <a:lnTo>
                    <a:pt x="493871" y="114205"/>
                  </a:lnTo>
                  <a:lnTo>
                    <a:pt x="494727" y="114205"/>
                  </a:lnTo>
                  <a:cubicBezTo>
                    <a:pt x="514991" y="125670"/>
                    <a:pt x="533747" y="139620"/>
                    <a:pt x="550563" y="155734"/>
                  </a:cubicBezTo>
                  <a:lnTo>
                    <a:pt x="614770" y="121920"/>
                  </a:lnTo>
                  <a:lnTo>
                    <a:pt x="643497" y="159925"/>
                  </a:lnTo>
                  <a:lnTo>
                    <a:pt x="645399" y="159925"/>
                  </a:lnTo>
                  <a:lnTo>
                    <a:pt x="614294" y="120491"/>
                  </a:lnTo>
                  <a:lnTo>
                    <a:pt x="550087" y="154305"/>
                  </a:lnTo>
                  <a:cubicBezTo>
                    <a:pt x="533397" y="138074"/>
                    <a:pt x="514771" y="123965"/>
                    <a:pt x="494632" y="112300"/>
                  </a:cubicBezTo>
                  <a:close/>
                  <a:moveTo>
                    <a:pt x="598599" y="215360"/>
                  </a:moveTo>
                  <a:cubicBezTo>
                    <a:pt x="610025" y="235050"/>
                    <a:pt x="619002" y="256066"/>
                    <a:pt x="625328" y="277940"/>
                  </a:cubicBezTo>
                  <a:lnTo>
                    <a:pt x="697811" y="280797"/>
                  </a:lnTo>
                  <a:lnTo>
                    <a:pt x="705135" y="330613"/>
                  </a:lnTo>
                  <a:lnTo>
                    <a:pt x="705135" y="330613"/>
                  </a:lnTo>
                  <a:lnTo>
                    <a:pt x="698096" y="282988"/>
                  </a:lnTo>
                  <a:lnTo>
                    <a:pt x="625614" y="280130"/>
                  </a:lnTo>
                  <a:cubicBezTo>
                    <a:pt x="619009" y="258037"/>
                    <a:pt x="609679" y="236855"/>
                    <a:pt x="597838" y="217075"/>
                  </a:cubicBezTo>
                  <a:lnTo>
                    <a:pt x="596221" y="214217"/>
                  </a:lnTo>
                  <a:lnTo>
                    <a:pt x="597743" y="214789"/>
                  </a:lnTo>
                  <a:lnTo>
                    <a:pt x="598599" y="216122"/>
                  </a:lnTo>
                  <a:close/>
                  <a:moveTo>
                    <a:pt x="636648" y="356425"/>
                  </a:moveTo>
                  <a:lnTo>
                    <a:pt x="636648" y="356425"/>
                  </a:lnTo>
                  <a:close/>
                  <a:moveTo>
                    <a:pt x="628563" y="423100"/>
                  </a:moveTo>
                  <a:lnTo>
                    <a:pt x="689916" y="461867"/>
                  </a:lnTo>
                  <a:lnTo>
                    <a:pt x="688489" y="463201"/>
                  </a:lnTo>
                  <a:lnTo>
                    <a:pt x="627611" y="425101"/>
                  </a:lnTo>
                  <a:lnTo>
                    <a:pt x="628563" y="423482"/>
                  </a:lnTo>
                  <a:close/>
                  <a:moveTo>
                    <a:pt x="558648" y="550545"/>
                  </a:moveTo>
                  <a:lnTo>
                    <a:pt x="592417" y="614839"/>
                  </a:lnTo>
                  <a:lnTo>
                    <a:pt x="591560" y="615506"/>
                  </a:lnTo>
                  <a:lnTo>
                    <a:pt x="557031" y="550450"/>
                  </a:lnTo>
                  <a:lnTo>
                    <a:pt x="558553" y="551212"/>
                  </a:lnTo>
                  <a:close/>
                  <a:moveTo>
                    <a:pt x="203940" y="671894"/>
                  </a:moveTo>
                  <a:lnTo>
                    <a:pt x="217828" y="600551"/>
                  </a:lnTo>
                  <a:lnTo>
                    <a:pt x="218589" y="598837"/>
                  </a:lnTo>
                  <a:lnTo>
                    <a:pt x="204701" y="669893"/>
                  </a:lnTo>
                  <a:lnTo>
                    <a:pt x="203940" y="671894"/>
                  </a:lnTo>
                  <a:close/>
                  <a:moveTo>
                    <a:pt x="66490" y="553974"/>
                  </a:moveTo>
                  <a:lnTo>
                    <a:pt x="114051" y="499300"/>
                  </a:lnTo>
                  <a:lnTo>
                    <a:pt x="115668" y="499300"/>
                  </a:lnTo>
                  <a:lnTo>
                    <a:pt x="68107" y="553784"/>
                  </a:lnTo>
                  <a:lnTo>
                    <a:pt x="66205" y="553784"/>
                  </a:lnTo>
                  <a:close/>
                  <a:moveTo>
                    <a:pt x="7134" y="384810"/>
                  </a:moveTo>
                  <a:lnTo>
                    <a:pt x="7134" y="382619"/>
                  </a:lnTo>
                  <a:lnTo>
                    <a:pt x="75717" y="359093"/>
                  </a:lnTo>
                  <a:lnTo>
                    <a:pt x="75717" y="361379"/>
                  </a:lnTo>
                  <a:lnTo>
                    <a:pt x="7419" y="384810"/>
                  </a:lnTo>
                  <a:close/>
                  <a:moveTo>
                    <a:pt x="75431" y="356902"/>
                  </a:moveTo>
                  <a:cubicBezTo>
                    <a:pt x="75375" y="334996"/>
                    <a:pt x="77897" y="313160"/>
                    <a:pt x="82946" y="291846"/>
                  </a:cubicBezTo>
                  <a:lnTo>
                    <a:pt x="83421" y="289846"/>
                  </a:lnTo>
                  <a:lnTo>
                    <a:pt x="84278" y="288036"/>
                  </a:lnTo>
                  <a:cubicBezTo>
                    <a:pt x="79108" y="310650"/>
                    <a:pt x="76145" y="333714"/>
                    <a:pt x="75431" y="356902"/>
                  </a:cubicBezTo>
                  <a:close/>
                  <a:moveTo>
                    <a:pt x="22163" y="251079"/>
                  </a:moveTo>
                  <a:lnTo>
                    <a:pt x="40617" y="204406"/>
                  </a:lnTo>
                  <a:lnTo>
                    <a:pt x="111863" y="218313"/>
                  </a:lnTo>
                  <a:cubicBezTo>
                    <a:pt x="123199" y="198406"/>
                    <a:pt x="136866" y="179924"/>
                    <a:pt x="152575" y="163259"/>
                  </a:cubicBezTo>
                  <a:lnTo>
                    <a:pt x="153431" y="162401"/>
                  </a:lnTo>
                  <a:lnTo>
                    <a:pt x="154953" y="163259"/>
                  </a:lnTo>
                  <a:lnTo>
                    <a:pt x="153431" y="164783"/>
                  </a:lnTo>
                  <a:cubicBezTo>
                    <a:pt x="137318" y="181591"/>
                    <a:pt x="123355" y="200340"/>
                    <a:pt x="111863" y="220599"/>
                  </a:cubicBezTo>
                  <a:lnTo>
                    <a:pt x="40617" y="206693"/>
                  </a:lnTo>
                  <a:lnTo>
                    <a:pt x="23590" y="249746"/>
                  </a:lnTo>
                  <a:lnTo>
                    <a:pt x="22163" y="251079"/>
                  </a:lnTo>
                  <a:close/>
                  <a:moveTo>
                    <a:pt x="475132" y="233648"/>
                  </a:moveTo>
                  <a:cubicBezTo>
                    <a:pt x="502222" y="259947"/>
                    <a:pt x="519878" y="294470"/>
                    <a:pt x="525356" y="331851"/>
                  </a:cubicBezTo>
                  <a:cubicBezTo>
                    <a:pt x="526660" y="340488"/>
                    <a:pt x="527265" y="349215"/>
                    <a:pt x="527163" y="357950"/>
                  </a:cubicBezTo>
                  <a:cubicBezTo>
                    <a:pt x="527122" y="349979"/>
                    <a:pt x="526518" y="342022"/>
                    <a:pt x="525356" y="334137"/>
                  </a:cubicBezTo>
                  <a:cubicBezTo>
                    <a:pt x="519794" y="296283"/>
                    <a:pt x="501746" y="261379"/>
                    <a:pt x="474085" y="234982"/>
                  </a:cubicBezTo>
                  <a:lnTo>
                    <a:pt x="472183" y="233077"/>
                  </a:lnTo>
                  <a:lnTo>
                    <a:pt x="474085" y="233077"/>
                  </a:lnTo>
                  <a:lnTo>
                    <a:pt x="475132" y="234029"/>
                  </a:lnTo>
                  <a:close/>
                  <a:moveTo>
                    <a:pt x="503668" y="443198"/>
                  </a:moveTo>
                  <a:lnTo>
                    <a:pt x="553607" y="480441"/>
                  </a:lnTo>
                  <a:cubicBezTo>
                    <a:pt x="576589" y="443784"/>
                    <a:pt x="588879" y="401422"/>
                    <a:pt x="589087" y="358140"/>
                  </a:cubicBezTo>
                  <a:cubicBezTo>
                    <a:pt x="589335" y="402203"/>
                    <a:pt x="577026" y="445422"/>
                    <a:pt x="553607" y="482727"/>
                  </a:cubicBezTo>
                  <a:lnTo>
                    <a:pt x="501861" y="444151"/>
                  </a:lnTo>
                  <a:lnTo>
                    <a:pt x="503668" y="443198"/>
                  </a:lnTo>
                  <a:close/>
                  <a:moveTo>
                    <a:pt x="442410" y="208693"/>
                  </a:moveTo>
                  <a:cubicBezTo>
                    <a:pt x="373225" y="168208"/>
                    <a:pt x="285253" y="181189"/>
                    <a:pt x="230670" y="239935"/>
                  </a:cubicBezTo>
                  <a:lnTo>
                    <a:pt x="182063" y="203645"/>
                  </a:lnTo>
                  <a:lnTo>
                    <a:pt x="180826" y="202787"/>
                  </a:lnTo>
                  <a:lnTo>
                    <a:pt x="178733" y="203454"/>
                  </a:lnTo>
                  <a:lnTo>
                    <a:pt x="230670" y="242221"/>
                  </a:lnTo>
                  <a:cubicBezTo>
                    <a:pt x="285277" y="183506"/>
                    <a:pt x="373246" y="170566"/>
                    <a:pt x="442410" y="211074"/>
                  </a:cubicBezTo>
                  <a:lnTo>
                    <a:pt x="481790" y="158210"/>
                  </a:lnTo>
                  <a:lnTo>
                    <a:pt x="479602" y="158877"/>
                  </a:lnTo>
                  <a:lnTo>
                    <a:pt x="442410" y="208788"/>
                  </a:lnTo>
                  <a:close/>
                  <a:moveTo>
                    <a:pt x="235330" y="556355"/>
                  </a:moveTo>
                  <a:cubicBezTo>
                    <a:pt x="330721" y="614148"/>
                    <a:pt x="453623" y="596225"/>
                    <a:pt x="528590" y="513588"/>
                  </a:cubicBezTo>
                  <a:lnTo>
                    <a:pt x="529827" y="512255"/>
                  </a:lnTo>
                  <a:lnTo>
                    <a:pt x="532205" y="511588"/>
                  </a:lnTo>
                  <a:lnTo>
                    <a:pt x="529827" y="514541"/>
                  </a:lnTo>
                  <a:cubicBezTo>
                    <a:pt x="454797" y="598576"/>
                    <a:pt x="330503" y="616895"/>
                    <a:pt x="234474" y="558070"/>
                  </a:cubicBezTo>
                  <a:lnTo>
                    <a:pt x="232096" y="556736"/>
                  </a:lnTo>
                  <a:lnTo>
                    <a:pt x="234474" y="555784"/>
                  </a:lnTo>
                  <a:lnTo>
                    <a:pt x="235711" y="556451"/>
                  </a:lnTo>
                  <a:close/>
                  <a:moveTo>
                    <a:pt x="202133" y="532067"/>
                  </a:moveTo>
                  <a:cubicBezTo>
                    <a:pt x="160480" y="495572"/>
                    <a:pt x="133221" y="445373"/>
                    <a:pt x="125275" y="390525"/>
                  </a:cubicBezTo>
                  <a:cubicBezTo>
                    <a:pt x="123702" y="379641"/>
                    <a:pt x="122876" y="368661"/>
                    <a:pt x="122802" y="357664"/>
                  </a:cubicBezTo>
                  <a:cubicBezTo>
                    <a:pt x="122783" y="369455"/>
                    <a:pt x="123610" y="381233"/>
                    <a:pt x="125275" y="392906"/>
                  </a:cubicBezTo>
                  <a:cubicBezTo>
                    <a:pt x="133243" y="447720"/>
                    <a:pt x="160499" y="497882"/>
                    <a:pt x="202133" y="534353"/>
                  </a:cubicBezTo>
                  <a:lnTo>
                    <a:pt x="241133" y="481584"/>
                  </a:lnTo>
                  <a:lnTo>
                    <a:pt x="239230" y="481584"/>
                  </a:lnTo>
                  <a:lnTo>
                    <a:pt x="202133" y="531590"/>
                  </a:lnTo>
                  <a:close/>
                  <a:moveTo>
                    <a:pt x="184726" y="357473"/>
                  </a:moveTo>
                  <a:cubicBezTo>
                    <a:pt x="184513" y="328145"/>
                    <a:pt x="191816" y="299253"/>
                    <a:pt x="205938" y="273558"/>
                  </a:cubicBezTo>
                  <a:lnTo>
                    <a:pt x="206794" y="271939"/>
                  </a:lnTo>
                  <a:lnTo>
                    <a:pt x="208506" y="270891"/>
                  </a:lnTo>
                  <a:lnTo>
                    <a:pt x="206794" y="274225"/>
                  </a:lnTo>
                  <a:cubicBezTo>
                    <a:pt x="192335" y="299634"/>
                    <a:pt x="184607" y="328325"/>
                    <a:pt x="184345" y="357569"/>
                  </a:cubicBezTo>
                  <a:close/>
                  <a:moveTo>
                    <a:pt x="472088" y="358140"/>
                  </a:moveTo>
                  <a:cubicBezTo>
                    <a:pt x="471296" y="422366"/>
                    <a:pt x="418659" y="473789"/>
                    <a:pt x="354520" y="472996"/>
                  </a:cubicBezTo>
                  <a:cubicBezTo>
                    <a:pt x="297429" y="472291"/>
                    <a:pt x="249318" y="430139"/>
                    <a:pt x="241038" y="373571"/>
                  </a:cubicBezTo>
                  <a:cubicBezTo>
                    <a:pt x="240299" y="368235"/>
                    <a:pt x="239886" y="362859"/>
                    <a:pt x="239801" y="357473"/>
                  </a:cubicBezTo>
                  <a:cubicBezTo>
                    <a:pt x="239793" y="363622"/>
                    <a:pt x="240206" y="369764"/>
                    <a:pt x="241038" y="375857"/>
                  </a:cubicBezTo>
                  <a:cubicBezTo>
                    <a:pt x="249543" y="439520"/>
                    <a:pt x="307978" y="484226"/>
                    <a:pt x="371556" y="475709"/>
                  </a:cubicBezTo>
                  <a:cubicBezTo>
                    <a:pt x="430064" y="467871"/>
                    <a:pt x="473395" y="417334"/>
                    <a:pt x="472278" y="358235"/>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37" name="Freeform 36">
              <a:extLst>
                <a:ext uri="{FF2B5EF4-FFF2-40B4-BE49-F238E27FC236}">
                  <a16:creationId xmlns="" xmlns:a16="http://schemas.microsoft.com/office/drawing/2014/main" id="{8142E9BD-5D76-0A41-BF95-DB82290AB2D0}"/>
                </a:ext>
              </a:extLst>
            </p:cNvPr>
            <p:cNvSpPr/>
            <p:nvPr/>
          </p:nvSpPr>
          <p:spPr>
            <a:xfrm>
              <a:off x="5340748" y="3526029"/>
              <a:ext cx="421678" cy="422248"/>
            </a:xfrm>
            <a:custGeom>
              <a:avLst/>
              <a:gdLst>
                <a:gd name="connsiteX0" fmla="*/ 210694 w 370973"/>
                <a:gd name="connsiteY0" fmla="*/ 28766 h 371475"/>
                <a:gd name="connsiteX1" fmla="*/ 272143 w 370973"/>
                <a:gd name="connsiteY1" fmla="*/ 50959 h 371475"/>
                <a:gd name="connsiteX2" fmla="*/ 293925 w 370973"/>
                <a:gd name="connsiteY2" fmla="*/ 41434 h 371475"/>
                <a:gd name="connsiteX3" fmla="*/ 324269 w 370973"/>
                <a:gd name="connsiteY3" fmla="*/ 69152 h 371475"/>
                <a:gd name="connsiteX4" fmla="*/ 316279 w 370973"/>
                <a:gd name="connsiteY4" fmla="*/ 92202 h 371475"/>
                <a:gd name="connsiteX5" fmla="*/ 343674 w 370973"/>
                <a:gd name="connsiteY5" fmla="*/ 151067 h 371475"/>
                <a:gd name="connsiteX6" fmla="*/ 365837 w 370973"/>
                <a:gd name="connsiteY6" fmla="*/ 159829 h 371475"/>
                <a:gd name="connsiteX7" fmla="*/ 367644 w 370973"/>
                <a:gd name="connsiteY7" fmla="*/ 200882 h 371475"/>
                <a:gd name="connsiteX8" fmla="*/ 346337 w 370973"/>
                <a:gd name="connsiteY8" fmla="*/ 211265 h 371475"/>
                <a:gd name="connsiteX9" fmla="*/ 324174 w 370973"/>
                <a:gd name="connsiteY9" fmla="*/ 272320 h 371475"/>
                <a:gd name="connsiteX10" fmla="*/ 333686 w 370973"/>
                <a:gd name="connsiteY10" fmla="*/ 294132 h 371475"/>
                <a:gd name="connsiteX11" fmla="*/ 306006 w 370973"/>
                <a:gd name="connsiteY11" fmla="*/ 324517 h 371475"/>
                <a:gd name="connsiteX12" fmla="*/ 283367 w 370973"/>
                <a:gd name="connsiteY12" fmla="*/ 316992 h 371475"/>
                <a:gd name="connsiteX13" fmla="*/ 224582 w 370973"/>
                <a:gd name="connsiteY13" fmla="*/ 344424 h 371475"/>
                <a:gd name="connsiteX14" fmla="*/ 215831 w 370973"/>
                <a:gd name="connsiteY14" fmla="*/ 366617 h 371475"/>
                <a:gd name="connsiteX15" fmla="*/ 174833 w 370973"/>
                <a:gd name="connsiteY15" fmla="*/ 368332 h 371475"/>
                <a:gd name="connsiteX16" fmla="*/ 164180 w 370973"/>
                <a:gd name="connsiteY16" fmla="*/ 347091 h 371475"/>
                <a:gd name="connsiteX17" fmla="*/ 103207 w 370973"/>
                <a:gd name="connsiteY17" fmla="*/ 324898 h 371475"/>
                <a:gd name="connsiteX18" fmla="*/ 81329 w 370973"/>
                <a:gd name="connsiteY18" fmla="*/ 334423 h 371475"/>
                <a:gd name="connsiteX19" fmla="*/ 51080 w 370973"/>
                <a:gd name="connsiteY19" fmla="*/ 306610 h 371475"/>
                <a:gd name="connsiteX20" fmla="*/ 58595 w 370973"/>
                <a:gd name="connsiteY20" fmla="*/ 284036 h 371475"/>
                <a:gd name="connsiteX21" fmla="*/ 31105 w 370973"/>
                <a:gd name="connsiteY21" fmla="*/ 225552 h 371475"/>
                <a:gd name="connsiteX22" fmla="*/ 8941 w 370973"/>
                <a:gd name="connsiteY22" fmla="*/ 216027 h 371475"/>
                <a:gd name="connsiteX23" fmla="*/ 7134 w 370973"/>
                <a:gd name="connsiteY23" fmla="*/ 174974 h 371475"/>
                <a:gd name="connsiteX24" fmla="*/ 28441 w 370973"/>
                <a:gd name="connsiteY24" fmla="*/ 164306 h 371475"/>
                <a:gd name="connsiteX25" fmla="*/ 50605 w 370973"/>
                <a:gd name="connsiteY25" fmla="*/ 103251 h 371475"/>
                <a:gd name="connsiteX26" fmla="*/ 41093 w 370973"/>
                <a:gd name="connsiteY26" fmla="*/ 81344 h 371475"/>
                <a:gd name="connsiteX27" fmla="*/ 68773 w 370973"/>
                <a:gd name="connsiteY27" fmla="*/ 51054 h 371475"/>
                <a:gd name="connsiteX28" fmla="*/ 91412 w 370973"/>
                <a:gd name="connsiteY28" fmla="*/ 58579 h 371475"/>
                <a:gd name="connsiteX29" fmla="*/ 150197 w 370973"/>
                <a:gd name="connsiteY29" fmla="*/ 31147 h 371475"/>
                <a:gd name="connsiteX30" fmla="*/ 158948 w 370973"/>
                <a:gd name="connsiteY30" fmla="*/ 8953 h 371475"/>
                <a:gd name="connsiteX31" fmla="*/ 199945 w 370973"/>
                <a:gd name="connsiteY31" fmla="*/ 7144 h 371475"/>
                <a:gd name="connsiteX32" fmla="*/ 210599 w 370973"/>
                <a:gd name="connsiteY32" fmla="*/ 28480 h 371475"/>
                <a:gd name="connsiteX33" fmla="*/ 109865 w 370973"/>
                <a:gd name="connsiteY33" fmla="*/ 111252 h 371475"/>
                <a:gd name="connsiteX34" fmla="*/ 134026 w 370973"/>
                <a:gd name="connsiteY34" fmla="*/ 133350 h 371475"/>
                <a:gd name="connsiteX35" fmla="*/ 137165 w 370973"/>
                <a:gd name="connsiteY35" fmla="*/ 129921 h 371475"/>
                <a:gd name="connsiteX36" fmla="*/ 148009 w 370973"/>
                <a:gd name="connsiteY36" fmla="*/ 133541 h 371475"/>
                <a:gd name="connsiteX37" fmla="*/ 171123 w 370973"/>
                <a:gd name="connsiteY37" fmla="*/ 122682 h 371475"/>
                <a:gd name="connsiteX38" fmla="*/ 175309 w 370973"/>
                <a:gd name="connsiteY38" fmla="*/ 112109 h 371475"/>
                <a:gd name="connsiteX39" fmla="*/ 192716 w 370973"/>
                <a:gd name="connsiteY39" fmla="*/ 111347 h 371475"/>
                <a:gd name="connsiteX40" fmla="*/ 197853 w 370973"/>
                <a:gd name="connsiteY40" fmla="*/ 121539 h 371475"/>
                <a:gd name="connsiteX41" fmla="*/ 221918 w 370973"/>
                <a:gd name="connsiteY41" fmla="*/ 130302 h 371475"/>
                <a:gd name="connsiteX42" fmla="*/ 232382 w 370973"/>
                <a:gd name="connsiteY42" fmla="*/ 125730 h 371475"/>
                <a:gd name="connsiteX43" fmla="*/ 235806 w 370973"/>
                <a:gd name="connsiteY43" fmla="*/ 128873 h 371475"/>
                <a:gd name="connsiteX44" fmla="*/ 257874 w 370973"/>
                <a:gd name="connsiteY44" fmla="*/ 104775 h 371475"/>
                <a:gd name="connsiteX45" fmla="*/ 109865 w 370973"/>
                <a:gd name="connsiteY45" fmla="*/ 111252 h 371475"/>
                <a:gd name="connsiteX46" fmla="*/ 161611 w 370973"/>
                <a:gd name="connsiteY46" fmla="*/ 158877 h 371475"/>
                <a:gd name="connsiteX47" fmla="*/ 187104 w 370973"/>
                <a:gd name="connsiteY47" fmla="*/ 182309 h 371475"/>
                <a:gd name="connsiteX48" fmla="*/ 210599 w 370973"/>
                <a:gd name="connsiteY48" fmla="*/ 156686 h 371475"/>
                <a:gd name="connsiteX49" fmla="*/ 185677 w 370973"/>
                <a:gd name="connsiteY49" fmla="*/ 149066 h 371475"/>
                <a:gd name="connsiteX50" fmla="*/ 161611 w 370973"/>
                <a:gd name="connsiteY50" fmla="*/ 158591 h 371475"/>
                <a:gd name="connsiteX51" fmla="*/ 193097 w 370973"/>
                <a:gd name="connsiteY51" fmla="*/ 187452 h 371475"/>
                <a:gd name="connsiteX52" fmla="*/ 218589 w 370973"/>
                <a:gd name="connsiteY52" fmla="*/ 210884 h 371475"/>
                <a:gd name="connsiteX53" fmla="*/ 226294 w 370973"/>
                <a:gd name="connsiteY53" fmla="*/ 186023 h 371475"/>
                <a:gd name="connsiteX54" fmla="*/ 216782 w 370973"/>
                <a:gd name="connsiteY54" fmla="*/ 161830 h 371475"/>
                <a:gd name="connsiteX55" fmla="*/ 193097 w 370973"/>
                <a:gd name="connsiteY55" fmla="*/ 187452 h 371475"/>
                <a:gd name="connsiteX56" fmla="*/ 246174 w 370973"/>
                <a:gd name="connsiteY56" fmla="*/ 236220 h 371475"/>
                <a:gd name="connsiteX57" fmla="*/ 270335 w 370973"/>
                <a:gd name="connsiteY57" fmla="*/ 258318 h 371475"/>
                <a:gd name="connsiteX58" fmla="*/ 263867 w 370973"/>
                <a:gd name="connsiteY58" fmla="*/ 110109 h 371475"/>
                <a:gd name="connsiteX59" fmla="*/ 241704 w 370973"/>
                <a:gd name="connsiteY59" fmla="*/ 134207 h 371475"/>
                <a:gd name="connsiteX60" fmla="*/ 245223 w 370973"/>
                <a:gd name="connsiteY60" fmla="*/ 137446 h 371475"/>
                <a:gd name="connsiteX61" fmla="*/ 241608 w 370973"/>
                <a:gd name="connsiteY61" fmla="*/ 148304 h 371475"/>
                <a:gd name="connsiteX62" fmla="*/ 252452 w 370973"/>
                <a:gd name="connsiteY62" fmla="*/ 171450 h 371475"/>
                <a:gd name="connsiteX63" fmla="*/ 263011 w 370973"/>
                <a:gd name="connsiteY63" fmla="*/ 175641 h 371475"/>
                <a:gd name="connsiteX64" fmla="*/ 263772 w 370973"/>
                <a:gd name="connsiteY64" fmla="*/ 193072 h 371475"/>
                <a:gd name="connsiteX65" fmla="*/ 253594 w 370973"/>
                <a:gd name="connsiteY65" fmla="*/ 198215 h 371475"/>
                <a:gd name="connsiteX66" fmla="*/ 244843 w 370973"/>
                <a:gd name="connsiteY66" fmla="*/ 222314 h 371475"/>
                <a:gd name="connsiteX67" fmla="*/ 249408 w 370973"/>
                <a:gd name="connsiteY67" fmla="*/ 232791 h 371475"/>
                <a:gd name="connsiteX68" fmla="*/ 246174 w 370973"/>
                <a:gd name="connsiteY68" fmla="*/ 236220 h 371475"/>
                <a:gd name="connsiteX69" fmla="*/ 265199 w 370973"/>
                <a:gd name="connsiteY69" fmla="*/ 264795 h 371475"/>
                <a:gd name="connsiteX70" fmla="*/ 241038 w 370973"/>
                <a:gd name="connsiteY70" fmla="*/ 242602 h 371475"/>
                <a:gd name="connsiteX71" fmla="*/ 237899 w 370973"/>
                <a:gd name="connsiteY71" fmla="*/ 246126 h 371475"/>
                <a:gd name="connsiteX72" fmla="*/ 227055 w 370973"/>
                <a:gd name="connsiteY72" fmla="*/ 242506 h 371475"/>
                <a:gd name="connsiteX73" fmla="*/ 203845 w 370973"/>
                <a:gd name="connsiteY73" fmla="*/ 253365 h 371475"/>
                <a:gd name="connsiteX74" fmla="*/ 199375 w 370973"/>
                <a:gd name="connsiteY74" fmla="*/ 263652 h 371475"/>
                <a:gd name="connsiteX75" fmla="*/ 181967 w 370973"/>
                <a:gd name="connsiteY75" fmla="*/ 264414 h 371475"/>
                <a:gd name="connsiteX76" fmla="*/ 177021 w 370973"/>
                <a:gd name="connsiteY76" fmla="*/ 254127 h 371475"/>
                <a:gd name="connsiteX77" fmla="*/ 152955 w 370973"/>
                <a:gd name="connsiteY77" fmla="*/ 245364 h 371475"/>
                <a:gd name="connsiteX78" fmla="*/ 142492 w 370973"/>
                <a:gd name="connsiteY78" fmla="*/ 249936 h 371475"/>
                <a:gd name="connsiteX79" fmla="*/ 139068 w 370973"/>
                <a:gd name="connsiteY79" fmla="*/ 246698 h 371475"/>
                <a:gd name="connsiteX80" fmla="*/ 116999 w 370973"/>
                <a:gd name="connsiteY80" fmla="*/ 270891 h 371475"/>
                <a:gd name="connsiteX81" fmla="*/ 265008 w 370973"/>
                <a:gd name="connsiteY81" fmla="*/ 264414 h 371475"/>
                <a:gd name="connsiteX82" fmla="*/ 213453 w 370973"/>
                <a:gd name="connsiteY82" fmla="*/ 217170 h 371475"/>
                <a:gd name="connsiteX83" fmla="*/ 187960 w 370973"/>
                <a:gd name="connsiteY83" fmla="*/ 193739 h 371475"/>
                <a:gd name="connsiteX84" fmla="*/ 164465 w 370973"/>
                <a:gd name="connsiteY84" fmla="*/ 219266 h 371475"/>
                <a:gd name="connsiteX85" fmla="*/ 213452 w 370973"/>
                <a:gd name="connsiteY85" fmla="*/ 217170 h 371475"/>
                <a:gd name="connsiteX86" fmla="*/ 181967 w 370973"/>
                <a:gd name="connsiteY86" fmla="*/ 188595 h 371475"/>
                <a:gd name="connsiteX87" fmla="*/ 156380 w 370973"/>
                <a:gd name="connsiteY87" fmla="*/ 165164 h 371475"/>
                <a:gd name="connsiteX88" fmla="*/ 158567 w 370973"/>
                <a:gd name="connsiteY88" fmla="*/ 214217 h 371475"/>
                <a:gd name="connsiteX89" fmla="*/ 181967 w 370973"/>
                <a:gd name="connsiteY89" fmla="*/ 188595 h 371475"/>
                <a:gd name="connsiteX90" fmla="*/ 128509 w 370973"/>
                <a:gd name="connsiteY90" fmla="*/ 139827 h 371475"/>
                <a:gd name="connsiteX91" fmla="*/ 104443 w 370973"/>
                <a:gd name="connsiteY91" fmla="*/ 117634 h 371475"/>
                <a:gd name="connsiteX92" fmla="*/ 110912 w 370973"/>
                <a:gd name="connsiteY92" fmla="*/ 265938 h 371475"/>
                <a:gd name="connsiteX93" fmla="*/ 132980 w 370973"/>
                <a:gd name="connsiteY93" fmla="*/ 241745 h 371475"/>
                <a:gd name="connsiteX94" fmla="*/ 129555 w 370973"/>
                <a:gd name="connsiteY94" fmla="*/ 238601 h 371475"/>
                <a:gd name="connsiteX95" fmla="*/ 133170 w 370973"/>
                <a:gd name="connsiteY95" fmla="*/ 227743 h 371475"/>
                <a:gd name="connsiteX96" fmla="*/ 122326 w 370973"/>
                <a:gd name="connsiteY96" fmla="*/ 204502 h 371475"/>
                <a:gd name="connsiteX97" fmla="*/ 111768 w 370973"/>
                <a:gd name="connsiteY97" fmla="*/ 200311 h 371475"/>
                <a:gd name="connsiteX98" fmla="*/ 111007 w 370973"/>
                <a:gd name="connsiteY98" fmla="*/ 182880 h 371475"/>
                <a:gd name="connsiteX99" fmla="*/ 121185 w 370973"/>
                <a:gd name="connsiteY99" fmla="*/ 177832 h 371475"/>
                <a:gd name="connsiteX100" fmla="*/ 129936 w 370973"/>
                <a:gd name="connsiteY100" fmla="*/ 153734 h 371475"/>
                <a:gd name="connsiteX101" fmla="*/ 125370 w 370973"/>
                <a:gd name="connsiteY101" fmla="*/ 14325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70973" h="371475">
                  <a:moveTo>
                    <a:pt x="210694" y="28766"/>
                  </a:moveTo>
                  <a:cubicBezTo>
                    <a:pt x="232498" y="31791"/>
                    <a:pt x="253430" y="39350"/>
                    <a:pt x="272143" y="50959"/>
                  </a:cubicBezTo>
                  <a:lnTo>
                    <a:pt x="293925" y="41434"/>
                  </a:lnTo>
                  <a:lnTo>
                    <a:pt x="324269" y="69152"/>
                  </a:lnTo>
                  <a:lnTo>
                    <a:pt x="316279" y="92202"/>
                  </a:lnTo>
                  <a:cubicBezTo>
                    <a:pt x="329335" y="109741"/>
                    <a:pt x="338659" y="129775"/>
                    <a:pt x="343674" y="151067"/>
                  </a:cubicBezTo>
                  <a:lnTo>
                    <a:pt x="365837" y="159829"/>
                  </a:lnTo>
                  <a:lnTo>
                    <a:pt x="367644" y="200882"/>
                  </a:lnTo>
                  <a:lnTo>
                    <a:pt x="346337" y="211265"/>
                  </a:lnTo>
                  <a:cubicBezTo>
                    <a:pt x="343167" y="232912"/>
                    <a:pt x="335626" y="253687"/>
                    <a:pt x="324174" y="272320"/>
                  </a:cubicBezTo>
                  <a:lnTo>
                    <a:pt x="333686" y="294132"/>
                  </a:lnTo>
                  <a:lnTo>
                    <a:pt x="306006" y="324517"/>
                  </a:lnTo>
                  <a:lnTo>
                    <a:pt x="283367" y="316992"/>
                  </a:lnTo>
                  <a:cubicBezTo>
                    <a:pt x="265852" y="330066"/>
                    <a:pt x="245844" y="339402"/>
                    <a:pt x="224582" y="344424"/>
                  </a:cubicBezTo>
                  <a:lnTo>
                    <a:pt x="215831" y="366617"/>
                  </a:lnTo>
                  <a:lnTo>
                    <a:pt x="174833" y="368332"/>
                  </a:lnTo>
                  <a:lnTo>
                    <a:pt x="164180" y="347091"/>
                  </a:lnTo>
                  <a:cubicBezTo>
                    <a:pt x="142561" y="343917"/>
                    <a:pt x="121815" y="336366"/>
                    <a:pt x="103207" y="324898"/>
                  </a:cubicBezTo>
                  <a:lnTo>
                    <a:pt x="81329" y="334423"/>
                  </a:lnTo>
                  <a:lnTo>
                    <a:pt x="51080" y="306610"/>
                  </a:lnTo>
                  <a:lnTo>
                    <a:pt x="58595" y="284036"/>
                  </a:lnTo>
                  <a:cubicBezTo>
                    <a:pt x="45514" y="266640"/>
                    <a:pt x="36156" y="246731"/>
                    <a:pt x="31105" y="225552"/>
                  </a:cubicBezTo>
                  <a:lnTo>
                    <a:pt x="8941" y="216027"/>
                  </a:lnTo>
                  <a:lnTo>
                    <a:pt x="7134" y="174974"/>
                  </a:lnTo>
                  <a:lnTo>
                    <a:pt x="28441" y="164306"/>
                  </a:lnTo>
                  <a:cubicBezTo>
                    <a:pt x="31611" y="142658"/>
                    <a:pt x="39152" y="121884"/>
                    <a:pt x="50605" y="103251"/>
                  </a:cubicBezTo>
                  <a:lnTo>
                    <a:pt x="41093" y="81344"/>
                  </a:lnTo>
                  <a:lnTo>
                    <a:pt x="68773" y="51054"/>
                  </a:lnTo>
                  <a:lnTo>
                    <a:pt x="91412" y="58579"/>
                  </a:lnTo>
                  <a:cubicBezTo>
                    <a:pt x="108904" y="45467"/>
                    <a:pt x="128920" y="36127"/>
                    <a:pt x="150197" y="31147"/>
                  </a:cubicBezTo>
                  <a:lnTo>
                    <a:pt x="158948" y="8953"/>
                  </a:lnTo>
                  <a:lnTo>
                    <a:pt x="199945" y="7144"/>
                  </a:lnTo>
                  <a:lnTo>
                    <a:pt x="210599" y="28480"/>
                  </a:lnTo>
                  <a:close/>
                  <a:moveTo>
                    <a:pt x="109865" y="111252"/>
                  </a:moveTo>
                  <a:lnTo>
                    <a:pt x="134026" y="133350"/>
                  </a:lnTo>
                  <a:lnTo>
                    <a:pt x="137165" y="129921"/>
                  </a:lnTo>
                  <a:lnTo>
                    <a:pt x="148009" y="133541"/>
                  </a:lnTo>
                  <a:cubicBezTo>
                    <a:pt x="154926" y="128434"/>
                    <a:pt x="162781" y="124744"/>
                    <a:pt x="171123" y="122682"/>
                  </a:cubicBezTo>
                  <a:lnTo>
                    <a:pt x="175309" y="112109"/>
                  </a:lnTo>
                  <a:lnTo>
                    <a:pt x="192716" y="111347"/>
                  </a:lnTo>
                  <a:lnTo>
                    <a:pt x="197853" y="121539"/>
                  </a:lnTo>
                  <a:cubicBezTo>
                    <a:pt x="206365" y="122873"/>
                    <a:pt x="214538" y="125849"/>
                    <a:pt x="221918" y="130302"/>
                  </a:cubicBezTo>
                  <a:lnTo>
                    <a:pt x="232382" y="125730"/>
                  </a:lnTo>
                  <a:lnTo>
                    <a:pt x="235806" y="128873"/>
                  </a:lnTo>
                  <a:lnTo>
                    <a:pt x="257874" y="104775"/>
                  </a:lnTo>
                  <a:cubicBezTo>
                    <a:pt x="214476" y="67733"/>
                    <a:pt x="149871" y="70560"/>
                    <a:pt x="109865" y="111252"/>
                  </a:cubicBezTo>
                  <a:close/>
                  <a:moveTo>
                    <a:pt x="161611" y="158877"/>
                  </a:moveTo>
                  <a:lnTo>
                    <a:pt x="187104" y="182309"/>
                  </a:lnTo>
                  <a:lnTo>
                    <a:pt x="210599" y="156686"/>
                  </a:lnTo>
                  <a:cubicBezTo>
                    <a:pt x="203410" y="151360"/>
                    <a:pt x="194611" y="148670"/>
                    <a:pt x="185677" y="149066"/>
                  </a:cubicBezTo>
                  <a:cubicBezTo>
                    <a:pt x="176790" y="149328"/>
                    <a:pt x="168276" y="152698"/>
                    <a:pt x="161611" y="158591"/>
                  </a:cubicBezTo>
                  <a:close/>
                  <a:moveTo>
                    <a:pt x="193097" y="187452"/>
                  </a:moveTo>
                  <a:lnTo>
                    <a:pt x="218589" y="210884"/>
                  </a:lnTo>
                  <a:cubicBezTo>
                    <a:pt x="223949" y="203737"/>
                    <a:pt x="226672" y="194953"/>
                    <a:pt x="226294" y="186023"/>
                  </a:cubicBezTo>
                  <a:cubicBezTo>
                    <a:pt x="225946" y="177114"/>
                    <a:pt x="222593" y="168586"/>
                    <a:pt x="216782" y="161830"/>
                  </a:cubicBezTo>
                  <a:lnTo>
                    <a:pt x="193097" y="187452"/>
                  </a:lnTo>
                  <a:close/>
                  <a:moveTo>
                    <a:pt x="246174" y="236220"/>
                  </a:moveTo>
                  <a:lnTo>
                    <a:pt x="270335" y="258318"/>
                  </a:lnTo>
                  <a:cubicBezTo>
                    <a:pt x="307187" y="214813"/>
                    <a:pt x="304368" y="150229"/>
                    <a:pt x="263867" y="110109"/>
                  </a:cubicBezTo>
                  <a:lnTo>
                    <a:pt x="241704" y="134207"/>
                  </a:lnTo>
                  <a:lnTo>
                    <a:pt x="245223" y="137446"/>
                  </a:lnTo>
                  <a:lnTo>
                    <a:pt x="241608" y="148304"/>
                  </a:lnTo>
                  <a:cubicBezTo>
                    <a:pt x="246680" y="155247"/>
                    <a:pt x="250363" y="163107"/>
                    <a:pt x="252452" y="171450"/>
                  </a:cubicBezTo>
                  <a:lnTo>
                    <a:pt x="263011" y="175641"/>
                  </a:lnTo>
                  <a:lnTo>
                    <a:pt x="263772" y="193072"/>
                  </a:lnTo>
                  <a:lnTo>
                    <a:pt x="253594" y="198215"/>
                  </a:lnTo>
                  <a:cubicBezTo>
                    <a:pt x="252261" y="206739"/>
                    <a:pt x="249289" y="214923"/>
                    <a:pt x="244843" y="222314"/>
                  </a:cubicBezTo>
                  <a:lnTo>
                    <a:pt x="249408" y="232791"/>
                  </a:lnTo>
                  <a:lnTo>
                    <a:pt x="246174" y="236220"/>
                  </a:lnTo>
                  <a:close/>
                  <a:moveTo>
                    <a:pt x="265199" y="264795"/>
                  </a:moveTo>
                  <a:lnTo>
                    <a:pt x="241038" y="242602"/>
                  </a:lnTo>
                  <a:lnTo>
                    <a:pt x="237899" y="246126"/>
                  </a:lnTo>
                  <a:lnTo>
                    <a:pt x="227055" y="242506"/>
                  </a:lnTo>
                  <a:cubicBezTo>
                    <a:pt x="220069" y="247556"/>
                    <a:pt x="212195" y="251240"/>
                    <a:pt x="203845" y="253365"/>
                  </a:cubicBezTo>
                  <a:lnTo>
                    <a:pt x="199375" y="263652"/>
                  </a:lnTo>
                  <a:lnTo>
                    <a:pt x="181967" y="264414"/>
                  </a:lnTo>
                  <a:lnTo>
                    <a:pt x="177021" y="254127"/>
                  </a:lnTo>
                  <a:cubicBezTo>
                    <a:pt x="168504" y="252809"/>
                    <a:pt x="160328" y="249832"/>
                    <a:pt x="152955" y="245364"/>
                  </a:cubicBezTo>
                  <a:lnTo>
                    <a:pt x="142492" y="249936"/>
                  </a:lnTo>
                  <a:lnTo>
                    <a:pt x="139068" y="246698"/>
                  </a:lnTo>
                  <a:lnTo>
                    <a:pt x="116999" y="270891"/>
                  </a:lnTo>
                  <a:cubicBezTo>
                    <a:pt x="160446" y="307792"/>
                    <a:pt x="224942" y="304970"/>
                    <a:pt x="265008" y="264414"/>
                  </a:cubicBezTo>
                  <a:close/>
                  <a:moveTo>
                    <a:pt x="213453" y="217170"/>
                  </a:moveTo>
                  <a:lnTo>
                    <a:pt x="187960" y="193739"/>
                  </a:lnTo>
                  <a:lnTo>
                    <a:pt x="164465" y="219266"/>
                  </a:lnTo>
                  <a:cubicBezTo>
                    <a:pt x="179246" y="230218"/>
                    <a:pt x="199659" y="229345"/>
                    <a:pt x="213452" y="217170"/>
                  </a:cubicBezTo>
                  <a:close/>
                  <a:moveTo>
                    <a:pt x="181967" y="188595"/>
                  </a:moveTo>
                  <a:lnTo>
                    <a:pt x="156380" y="165164"/>
                  </a:lnTo>
                  <a:cubicBezTo>
                    <a:pt x="145394" y="179964"/>
                    <a:pt x="146308" y="200457"/>
                    <a:pt x="158567" y="214217"/>
                  </a:cubicBezTo>
                  <a:lnTo>
                    <a:pt x="181967" y="188595"/>
                  </a:lnTo>
                  <a:close/>
                  <a:moveTo>
                    <a:pt x="128509" y="139827"/>
                  </a:moveTo>
                  <a:lnTo>
                    <a:pt x="104443" y="117634"/>
                  </a:lnTo>
                  <a:cubicBezTo>
                    <a:pt x="67438" y="161122"/>
                    <a:pt x="70261" y="225846"/>
                    <a:pt x="110912" y="265938"/>
                  </a:cubicBezTo>
                  <a:lnTo>
                    <a:pt x="132980" y="241745"/>
                  </a:lnTo>
                  <a:lnTo>
                    <a:pt x="129555" y="238601"/>
                  </a:lnTo>
                  <a:lnTo>
                    <a:pt x="133170" y="227743"/>
                  </a:lnTo>
                  <a:cubicBezTo>
                    <a:pt x="128053" y="220792"/>
                    <a:pt x="124367" y="212892"/>
                    <a:pt x="122326" y="204502"/>
                  </a:cubicBezTo>
                  <a:lnTo>
                    <a:pt x="111768" y="200311"/>
                  </a:lnTo>
                  <a:lnTo>
                    <a:pt x="111007" y="182880"/>
                  </a:lnTo>
                  <a:lnTo>
                    <a:pt x="121185" y="177832"/>
                  </a:lnTo>
                  <a:cubicBezTo>
                    <a:pt x="122501" y="169303"/>
                    <a:pt x="125474" y="161116"/>
                    <a:pt x="129936" y="153734"/>
                  </a:cubicBezTo>
                  <a:lnTo>
                    <a:pt x="125370" y="143256"/>
                  </a:ln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38" name="Freeform 37">
              <a:extLst>
                <a:ext uri="{FF2B5EF4-FFF2-40B4-BE49-F238E27FC236}">
                  <a16:creationId xmlns="" xmlns:a16="http://schemas.microsoft.com/office/drawing/2014/main" id="{8818CC2D-3F02-CF40-A794-13F504689142}"/>
                </a:ext>
              </a:extLst>
            </p:cNvPr>
            <p:cNvSpPr/>
            <p:nvPr/>
          </p:nvSpPr>
          <p:spPr>
            <a:xfrm>
              <a:off x="5340748" y="3595429"/>
              <a:ext cx="421678" cy="357286"/>
            </a:xfrm>
            <a:custGeom>
              <a:avLst/>
              <a:gdLst>
                <a:gd name="connsiteX0" fmla="*/ 323223 w 370973"/>
                <a:gd name="connsiteY0" fmla="*/ 7620 h 314325"/>
                <a:gd name="connsiteX1" fmla="*/ 323793 w 370973"/>
                <a:gd name="connsiteY1" fmla="*/ 8192 h 314325"/>
                <a:gd name="connsiteX2" fmla="*/ 316184 w 370973"/>
                <a:gd name="connsiteY2" fmla="*/ 31147 h 314325"/>
                <a:gd name="connsiteX3" fmla="*/ 315233 w 370973"/>
                <a:gd name="connsiteY3" fmla="*/ 31147 h 314325"/>
                <a:gd name="connsiteX4" fmla="*/ 323223 w 370973"/>
                <a:gd name="connsiteY4" fmla="*/ 7144 h 314325"/>
                <a:gd name="connsiteX5" fmla="*/ 367264 w 370973"/>
                <a:gd name="connsiteY5" fmla="*/ 137255 h 314325"/>
                <a:gd name="connsiteX6" fmla="*/ 367264 w 370973"/>
                <a:gd name="connsiteY6" fmla="*/ 139541 h 314325"/>
                <a:gd name="connsiteX7" fmla="*/ 346337 w 370973"/>
                <a:gd name="connsiteY7" fmla="*/ 150209 h 314325"/>
                <a:gd name="connsiteX8" fmla="*/ 324745 w 370973"/>
                <a:gd name="connsiteY8" fmla="*/ 210312 h 314325"/>
                <a:gd name="connsiteX9" fmla="*/ 324079 w 370973"/>
                <a:gd name="connsiteY9" fmla="*/ 211265 h 314325"/>
                <a:gd name="connsiteX10" fmla="*/ 322937 w 370973"/>
                <a:gd name="connsiteY10" fmla="*/ 211265 h 314325"/>
                <a:gd name="connsiteX11" fmla="*/ 324174 w 370973"/>
                <a:gd name="connsiteY11" fmla="*/ 209264 h 314325"/>
                <a:gd name="connsiteX12" fmla="*/ 346337 w 370973"/>
                <a:gd name="connsiteY12" fmla="*/ 148304 h 314325"/>
                <a:gd name="connsiteX13" fmla="*/ 367264 w 370973"/>
                <a:gd name="connsiteY13" fmla="*/ 137255 h 314325"/>
                <a:gd name="connsiteX14" fmla="*/ 332925 w 370973"/>
                <a:gd name="connsiteY14" fmla="*/ 231172 h 314325"/>
                <a:gd name="connsiteX15" fmla="*/ 333591 w 370973"/>
                <a:gd name="connsiteY15" fmla="*/ 232696 h 314325"/>
                <a:gd name="connsiteX16" fmla="*/ 305911 w 370973"/>
                <a:gd name="connsiteY16" fmla="*/ 263081 h 314325"/>
                <a:gd name="connsiteX17" fmla="*/ 283272 w 370973"/>
                <a:gd name="connsiteY17" fmla="*/ 255556 h 314325"/>
                <a:gd name="connsiteX18" fmla="*/ 224582 w 370973"/>
                <a:gd name="connsiteY18" fmla="*/ 283369 h 314325"/>
                <a:gd name="connsiteX19" fmla="*/ 215831 w 370973"/>
                <a:gd name="connsiteY19" fmla="*/ 305562 h 314325"/>
                <a:gd name="connsiteX20" fmla="*/ 174833 w 370973"/>
                <a:gd name="connsiteY20" fmla="*/ 307372 h 314325"/>
                <a:gd name="connsiteX21" fmla="*/ 164180 w 370973"/>
                <a:gd name="connsiteY21" fmla="*/ 286036 h 314325"/>
                <a:gd name="connsiteX22" fmla="*/ 103207 w 370973"/>
                <a:gd name="connsiteY22" fmla="*/ 263843 h 314325"/>
                <a:gd name="connsiteX23" fmla="*/ 81329 w 370973"/>
                <a:gd name="connsiteY23" fmla="*/ 273368 h 314325"/>
                <a:gd name="connsiteX24" fmla="*/ 51080 w 370973"/>
                <a:gd name="connsiteY24" fmla="*/ 245555 h 314325"/>
                <a:gd name="connsiteX25" fmla="*/ 51651 w 370973"/>
                <a:gd name="connsiteY25" fmla="*/ 243840 h 314325"/>
                <a:gd name="connsiteX26" fmla="*/ 81329 w 370973"/>
                <a:gd name="connsiteY26" fmla="*/ 271082 h 314325"/>
                <a:gd name="connsiteX27" fmla="*/ 103207 w 370973"/>
                <a:gd name="connsiteY27" fmla="*/ 261557 h 314325"/>
                <a:gd name="connsiteX28" fmla="*/ 164180 w 370973"/>
                <a:gd name="connsiteY28" fmla="*/ 283845 h 314325"/>
                <a:gd name="connsiteX29" fmla="*/ 174833 w 370973"/>
                <a:gd name="connsiteY29" fmla="*/ 305086 h 314325"/>
                <a:gd name="connsiteX30" fmla="*/ 215831 w 370973"/>
                <a:gd name="connsiteY30" fmla="*/ 303276 h 314325"/>
                <a:gd name="connsiteX31" fmla="*/ 224582 w 370973"/>
                <a:gd name="connsiteY31" fmla="*/ 281178 h 314325"/>
                <a:gd name="connsiteX32" fmla="*/ 283367 w 370973"/>
                <a:gd name="connsiteY32" fmla="*/ 253746 h 314325"/>
                <a:gd name="connsiteX33" fmla="*/ 306006 w 370973"/>
                <a:gd name="connsiteY33" fmla="*/ 261271 h 314325"/>
                <a:gd name="connsiteX34" fmla="*/ 332925 w 370973"/>
                <a:gd name="connsiteY34" fmla="*/ 231172 h 314325"/>
                <a:gd name="connsiteX35" fmla="*/ 57929 w 370973"/>
                <a:gd name="connsiteY35" fmla="*/ 221647 h 314325"/>
                <a:gd name="connsiteX36" fmla="*/ 31105 w 370973"/>
                <a:gd name="connsiteY36" fmla="*/ 163544 h 314325"/>
                <a:gd name="connsiteX37" fmla="*/ 8941 w 370973"/>
                <a:gd name="connsiteY37" fmla="*/ 154972 h 314325"/>
                <a:gd name="connsiteX38" fmla="*/ 7134 w 370973"/>
                <a:gd name="connsiteY38" fmla="*/ 113919 h 314325"/>
                <a:gd name="connsiteX39" fmla="*/ 7134 w 370973"/>
                <a:gd name="connsiteY39" fmla="*/ 113919 h 314325"/>
                <a:gd name="connsiteX40" fmla="*/ 8846 w 370973"/>
                <a:gd name="connsiteY40" fmla="*/ 152781 h 314325"/>
                <a:gd name="connsiteX41" fmla="*/ 31010 w 370973"/>
                <a:gd name="connsiteY41" fmla="*/ 161544 h 314325"/>
                <a:gd name="connsiteX42" fmla="*/ 59546 w 370973"/>
                <a:gd name="connsiteY42" fmla="*/ 221742 h 314325"/>
                <a:gd name="connsiteX43" fmla="*/ 58500 w 370973"/>
                <a:gd name="connsiteY43" fmla="*/ 222695 h 314325"/>
                <a:gd name="connsiteX44" fmla="*/ 57929 w 370973"/>
                <a:gd name="connsiteY44" fmla="*/ 221933 h 314325"/>
                <a:gd name="connsiteX45" fmla="*/ 51175 w 370973"/>
                <a:gd name="connsiteY45" fmla="*/ 43434 h 314325"/>
                <a:gd name="connsiteX46" fmla="*/ 41188 w 370973"/>
                <a:gd name="connsiteY46" fmla="*/ 20098 h 314325"/>
                <a:gd name="connsiteX47" fmla="*/ 41853 w 370973"/>
                <a:gd name="connsiteY47" fmla="*/ 19336 h 314325"/>
                <a:gd name="connsiteX48" fmla="*/ 51366 w 370973"/>
                <a:gd name="connsiteY48" fmla="*/ 42481 h 314325"/>
                <a:gd name="connsiteX49" fmla="*/ 50795 w 370973"/>
                <a:gd name="connsiteY49" fmla="*/ 43434 h 314325"/>
                <a:gd name="connsiteX50" fmla="*/ 256733 w 370973"/>
                <a:gd name="connsiteY50" fmla="*/ 42291 h 314325"/>
                <a:gd name="connsiteX51" fmla="*/ 111102 w 370973"/>
                <a:gd name="connsiteY51" fmla="*/ 48577 h 314325"/>
                <a:gd name="connsiteX52" fmla="*/ 109865 w 370973"/>
                <a:gd name="connsiteY52" fmla="*/ 49816 h 314325"/>
                <a:gd name="connsiteX53" fmla="*/ 107582 w 370973"/>
                <a:gd name="connsiteY53" fmla="*/ 49816 h 314325"/>
                <a:gd name="connsiteX54" fmla="*/ 109865 w 370973"/>
                <a:gd name="connsiteY54" fmla="*/ 47339 h 314325"/>
                <a:gd name="connsiteX55" fmla="*/ 257874 w 370973"/>
                <a:gd name="connsiteY55" fmla="*/ 40862 h 314325"/>
                <a:gd name="connsiteX56" fmla="*/ 260252 w 370973"/>
                <a:gd name="connsiteY56" fmla="*/ 42958 h 314325"/>
                <a:gd name="connsiteX57" fmla="*/ 257969 w 370973"/>
                <a:gd name="connsiteY57" fmla="*/ 42958 h 314325"/>
                <a:gd name="connsiteX58" fmla="*/ 256733 w 370973"/>
                <a:gd name="connsiteY58" fmla="*/ 41815 h 314325"/>
                <a:gd name="connsiteX59" fmla="*/ 209172 w 370973"/>
                <a:gd name="connsiteY59" fmla="*/ 94202 h 314325"/>
                <a:gd name="connsiteX60" fmla="*/ 185582 w 370973"/>
                <a:gd name="connsiteY60" fmla="*/ 87440 h 314325"/>
                <a:gd name="connsiteX61" fmla="*/ 162753 w 370973"/>
                <a:gd name="connsiteY61" fmla="*/ 96107 h 314325"/>
                <a:gd name="connsiteX62" fmla="*/ 161421 w 370973"/>
                <a:gd name="connsiteY62" fmla="*/ 97250 h 314325"/>
                <a:gd name="connsiteX63" fmla="*/ 158853 w 370973"/>
                <a:gd name="connsiteY63" fmla="*/ 97250 h 314325"/>
                <a:gd name="connsiteX64" fmla="*/ 161516 w 370973"/>
                <a:gd name="connsiteY64" fmla="*/ 95155 h 314325"/>
                <a:gd name="connsiteX65" fmla="*/ 210409 w 370973"/>
                <a:gd name="connsiteY65" fmla="*/ 92964 h 314325"/>
                <a:gd name="connsiteX66" fmla="*/ 212882 w 370973"/>
                <a:gd name="connsiteY66" fmla="*/ 94869 h 314325"/>
                <a:gd name="connsiteX67" fmla="*/ 210504 w 370973"/>
                <a:gd name="connsiteY67" fmla="*/ 94869 h 314325"/>
                <a:gd name="connsiteX68" fmla="*/ 209172 w 370973"/>
                <a:gd name="connsiteY68" fmla="*/ 94012 h 314325"/>
                <a:gd name="connsiteX69" fmla="*/ 226199 w 370973"/>
                <a:gd name="connsiteY69" fmla="*/ 125254 h 314325"/>
                <a:gd name="connsiteX70" fmla="*/ 226199 w 370973"/>
                <a:gd name="connsiteY70" fmla="*/ 124682 h 314325"/>
                <a:gd name="connsiteX71" fmla="*/ 216687 w 370973"/>
                <a:gd name="connsiteY71" fmla="*/ 100489 h 314325"/>
                <a:gd name="connsiteX72" fmla="*/ 192050 w 370973"/>
                <a:gd name="connsiteY72" fmla="*/ 127349 h 314325"/>
                <a:gd name="connsiteX73" fmla="*/ 190909 w 370973"/>
                <a:gd name="connsiteY73" fmla="*/ 126302 h 314325"/>
                <a:gd name="connsiteX74" fmla="*/ 216687 w 370973"/>
                <a:gd name="connsiteY74" fmla="*/ 98203 h 314325"/>
                <a:gd name="connsiteX75" fmla="*/ 226199 w 370973"/>
                <a:gd name="connsiteY75" fmla="*/ 122396 h 314325"/>
                <a:gd name="connsiteX76" fmla="*/ 226199 w 370973"/>
                <a:gd name="connsiteY76" fmla="*/ 125254 h 314325"/>
                <a:gd name="connsiteX77" fmla="*/ 296113 w 370973"/>
                <a:gd name="connsiteY77" fmla="*/ 125254 h 314325"/>
                <a:gd name="connsiteX78" fmla="*/ 296113 w 370973"/>
                <a:gd name="connsiteY78" fmla="*/ 119158 h 314325"/>
                <a:gd name="connsiteX79" fmla="*/ 263867 w 370973"/>
                <a:gd name="connsiteY79" fmla="*/ 46292 h 314325"/>
                <a:gd name="connsiteX80" fmla="*/ 239421 w 370973"/>
                <a:gd name="connsiteY80" fmla="*/ 72866 h 314325"/>
                <a:gd name="connsiteX81" fmla="*/ 240562 w 370973"/>
                <a:gd name="connsiteY81" fmla="*/ 74009 h 314325"/>
                <a:gd name="connsiteX82" fmla="*/ 263867 w 370973"/>
                <a:gd name="connsiteY82" fmla="*/ 48578 h 314325"/>
                <a:gd name="connsiteX83" fmla="*/ 296113 w 370973"/>
                <a:gd name="connsiteY83" fmla="*/ 121444 h 314325"/>
                <a:gd name="connsiteX84" fmla="*/ 296113 w 370973"/>
                <a:gd name="connsiteY84" fmla="*/ 125254 h 314325"/>
                <a:gd name="connsiteX85" fmla="*/ 244557 w 370973"/>
                <a:gd name="connsiteY85" fmla="*/ 75343 h 314325"/>
                <a:gd name="connsiteX86" fmla="*/ 245128 w 370973"/>
                <a:gd name="connsiteY86" fmla="*/ 75914 h 314325"/>
                <a:gd name="connsiteX87" fmla="*/ 240943 w 370973"/>
                <a:gd name="connsiteY87" fmla="*/ 88297 h 314325"/>
                <a:gd name="connsiteX88" fmla="*/ 240943 w 370973"/>
                <a:gd name="connsiteY88" fmla="*/ 87535 h 314325"/>
                <a:gd name="connsiteX89" fmla="*/ 245033 w 370973"/>
                <a:gd name="connsiteY89" fmla="*/ 75343 h 314325"/>
                <a:gd name="connsiteX90" fmla="*/ 263582 w 370973"/>
                <a:gd name="connsiteY90" fmla="*/ 129350 h 314325"/>
                <a:gd name="connsiteX91" fmla="*/ 263582 w 370973"/>
                <a:gd name="connsiteY91" fmla="*/ 131540 h 314325"/>
                <a:gd name="connsiteX92" fmla="*/ 253404 w 370973"/>
                <a:gd name="connsiteY92" fmla="*/ 136684 h 314325"/>
                <a:gd name="connsiteX93" fmla="*/ 245223 w 370973"/>
                <a:gd name="connsiteY93" fmla="*/ 159734 h 314325"/>
                <a:gd name="connsiteX94" fmla="*/ 244652 w 370973"/>
                <a:gd name="connsiteY94" fmla="*/ 160782 h 314325"/>
                <a:gd name="connsiteX95" fmla="*/ 243511 w 370973"/>
                <a:gd name="connsiteY95" fmla="*/ 160782 h 314325"/>
                <a:gd name="connsiteX96" fmla="*/ 244652 w 370973"/>
                <a:gd name="connsiteY96" fmla="*/ 158782 h 314325"/>
                <a:gd name="connsiteX97" fmla="*/ 253404 w 370973"/>
                <a:gd name="connsiteY97" fmla="*/ 134684 h 314325"/>
                <a:gd name="connsiteX98" fmla="*/ 263486 w 370973"/>
                <a:gd name="connsiteY98" fmla="*/ 129635 h 314325"/>
                <a:gd name="connsiteX99" fmla="*/ 248647 w 370973"/>
                <a:gd name="connsiteY99" fmla="*/ 169640 h 314325"/>
                <a:gd name="connsiteX100" fmla="*/ 249313 w 370973"/>
                <a:gd name="connsiteY100" fmla="*/ 171260 h 314325"/>
                <a:gd name="connsiteX101" fmla="*/ 245128 w 370973"/>
                <a:gd name="connsiteY101" fmla="*/ 175736 h 314325"/>
                <a:gd name="connsiteX102" fmla="*/ 243796 w 370973"/>
                <a:gd name="connsiteY102" fmla="*/ 174879 h 314325"/>
                <a:gd name="connsiteX103" fmla="*/ 248647 w 370973"/>
                <a:gd name="connsiteY103" fmla="*/ 169640 h 314325"/>
                <a:gd name="connsiteX104" fmla="*/ 265960 w 370973"/>
                <a:gd name="connsiteY104" fmla="*/ 203835 h 314325"/>
                <a:gd name="connsiteX105" fmla="*/ 240657 w 370973"/>
                <a:gd name="connsiteY105" fmla="*/ 180594 h 314325"/>
                <a:gd name="connsiteX106" fmla="*/ 237518 w 370973"/>
                <a:gd name="connsiteY106" fmla="*/ 184118 h 314325"/>
                <a:gd name="connsiteX107" fmla="*/ 226674 w 370973"/>
                <a:gd name="connsiteY107" fmla="*/ 180499 h 314325"/>
                <a:gd name="connsiteX108" fmla="*/ 203465 w 370973"/>
                <a:gd name="connsiteY108" fmla="*/ 191357 h 314325"/>
                <a:gd name="connsiteX109" fmla="*/ 199375 w 370973"/>
                <a:gd name="connsiteY109" fmla="*/ 202597 h 314325"/>
                <a:gd name="connsiteX110" fmla="*/ 181967 w 370973"/>
                <a:gd name="connsiteY110" fmla="*/ 203359 h 314325"/>
                <a:gd name="connsiteX111" fmla="*/ 177021 w 370973"/>
                <a:gd name="connsiteY111" fmla="*/ 193072 h 314325"/>
                <a:gd name="connsiteX112" fmla="*/ 152955 w 370973"/>
                <a:gd name="connsiteY112" fmla="*/ 184309 h 314325"/>
                <a:gd name="connsiteX113" fmla="*/ 142492 w 370973"/>
                <a:gd name="connsiteY113" fmla="*/ 188786 h 314325"/>
                <a:gd name="connsiteX114" fmla="*/ 139068 w 370973"/>
                <a:gd name="connsiteY114" fmla="*/ 185642 h 314325"/>
                <a:gd name="connsiteX115" fmla="*/ 115858 w 370973"/>
                <a:gd name="connsiteY115" fmla="*/ 210979 h 314325"/>
                <a:gd name="connsiteX116" fmla="*/ 114621 w 370973"/>
                <a:gd name="connsiteY116" fmla="*/ 210026 h 314325"/>
                <a:gd name="connsiteX117" fmla="*/ 138972 w 370973"/>
                <a:gd name="connsiteY117" fmla="*/ 183547 h 314325"/>
                <a:gd name="connsiteX118" fmla="*/ 142397 w 370973"/>
                <a:gd name="connsiteY118" fmla="*/ 186690 h 314325"/>
                <a:gd name="connsiteX119" fmla="*/ 152860 w 370973"/>
                <a:gd name="connsiteY119" fmla="*/ 182213 h 314325"/>
                <a:gd name="connsiteX120" fmla="*/ 176926 w 370973"/>
                <a:gd name="connsiteY120" fmla="*/ 190976 h 314325"/>
                <a:gd name="connsiteX121" fmla="*/ 181967 w 370973"/>
                <a:gd name="connsiteY121" fmla="*/ 201168 h 314325"/>
                <a:gd name="connsiteX122" fmla="*/ 199375 w 370973"/>
                <a:gd name="connsiteY122" fmla="*/ 200406 h 314325"/>
                <a:gd name="connsiteX123" fmla="*/ 203560 w 370973"/>
                <a:gd name="connsiteY123" fmla="*/ 189738 h 314325"/>
                <a:gd name="connsiteX124" fmla="*/ 226770 w 370973"/>
                <a:gd name="connsiteY124" fmla="*/ 178975 h 314325"/>
                <a:gd name="connsiteX125" fmla="*/ 237613 w 370973"/>
                <a:gd name="connsiteY125" fmla="*/ 182594 h 314325"/>
                <a:gd name="connsiteX126" fmla="*/ 240752 w 370973"/>
                <a:gd name="connsiteY126" fmla="*/ 179070 h 314325"/>
                <a:gd name="connsiteX127" fmla="*/ 267386 w 370973"/>
                <a:gd name="connsiteY127" fmla="*/ 203549 h 314325"/>
                <a:gd name="connsiteX128" fmla="*/ 266055 w 370973"/>
                <a:gd name="connsiteY128" fmla="*/ 204597 h 314325"/>
                <a:gd name="connsiteX129" fmla="*/ 214214 w 370973"/>
                <a:gd name="connsiteY129" fmla="*/ 156210 h 314325"/>
                <a:gd name="connsiteX130" fmla="*/ 187580 w 370973"/>
                <a:gd name="connsiteY130" fmla="*/ 131731 h 314325"/>
                <a:gd name="connsiteX131" fmla="*/ 162943 w 370973"/>
                <a:gd name="connsiteY131" fmla="*/ 158591 h 314325"/>
                <a:gd name="connsiteX132" fmla="*/ 161611 w 370973"/>
                <a:gd name="connsiteY132" fmla="*/ 157734 h 314325"/>
                <a:gd name="connsiteX133" fmla="*/ 187580 w 370973"/>
                <a:gd name="connsiteY133" fmla="*/ 129159 h 314325"/>
                <a:gd name="connsiteX134" fmla="*/ 215450 w 370973"/>
                <a:gd name="connsiteY134" fmla="*/ 154877 h 314325"/>
                <a:gd name="connsiteX135" fmla="*/ 214214 w 370973"/>
                <a:gd name="connsiteY135" fmla="*/ 156020 h 314325"/>
                <a:gd name="connsiteX136" fmla="*/ 182728 w 370973"/>
                <a:gd name="connsiteY136" fmla="*/ 127635 h 314325"/>
                <a:gd name="connsiteX137" fmla="*/ 155999 w 370973"/>
                <a:gd name="connsiteY137" fmla="*/ 103061 h 314325"/>
                <a:gd name="connsiteX138" fmla="*/ 148389 w 370973"/>
                <a:gd name="connsiteY138" fmla="*/ 125063 h 314325"/>
                <a:gd name="connsiteX139" fmla="*/ 155999 w 370973"/>
                <a:gd name="connsiteY139" fmla="*/ 100775 h 314325"/>
                <a:gd name="connsiteX140" fmla="*/ 183870 w 370973"/>
                <a:gd name="connsiteY140" fmla="*/ 126302 h 314325"/>
                <a:gd name="connsiteX141" fmla="*/ 182728 w 370973"/>
                <a:gd name="connsiteY141" fmla="*/ 127635 h 314325"/>
                <a:gd name="connsiteX142" fmla="*/ 127273 w 370973"/>
                <a:gd name="connsiteY142" fmla="*/ 76772 h 314325"/>
                <a:gd name="connsiteX143" fmla="*/ 104348 w 370973"/>
                <a:gd name="connsiteY143" fmla="*/ 55626 h 314325"/>
                <a:gd name="connsiteX144" fmla="*/ 78380 w 370973"/>
                <a:gd name="connsiteY144" fmla="*/ 124873 h 314325"/>
                <a:gd name="connsiteX145" fmla="*/ 104348 w 370973"/>
                <a:gd name="connsiteY145" fmla="*/ 53340 h 314325"/>
                <a:gd name="connsiteX146" fmla="*/ 128414 w 370973"/>
                <a:gd name="connsiteY146" fmla="*/ 75438 h 314325"/>
                <a:gd name="connsiteX147" fmla="*/ 130697 w 370973"/>
                <a:gd name="connsiteY147" fmla="*/ 77724 h 314325"/>
                <a:gd name="connsiteX148" fmla="*/ 128509 w 370973"/>
                <a:gd name="connsiteY148" fmla="*/ 77724 h 314325"/>
                <a:gd name="connsiteX149" fmla="*/ 127273 w 370973"/>
                <a:gd name="connsiteY149" fmla="*/ 76676 h 314325"/>
                <a:gd name="connsiteX150" fmla="*/ 134026 w 370973"/>
                <a:gd name="connsiteY150" fmla="*/ 180880 h 314325"/>
                <a:gd name="connsiteX151" fmla="*/ 135168 w 370973"/>
                <a:gd name="connsiteY151" fmla="*/ 179546 h 314325"/>
                <a:gd name="connsiteX152" fmla="*/ 130031 w 370973"/>
                <a:gd name="connsiteY152" fmla="*/ 174784 h 314325"/>
                <a:gd name="connsiteX153" fmla="*/ 129460 w 370973"/>
                <a:gd name="connsiteY153" fmla="*/ 176594 h 314325"/>
                <a:gd name="connsiteX154" fmla="*/ 134026 w 370973"/>
                <a:gd name="connsiteY154" fmla="*/ 180880 h 314325"/>
                <a:gd name="connsiteX155" fmla="*/ 132504 w 370973"/>
                <a:gd name="connsiteY155" fmla="*/ 164973 h 314325"/>
                <a:gd name="connsiteX156" fmla="*/ 133075 w 370973"/>
                <a:gd name="connsiteY156" fmla="*/ 165735 h 314325"/>
                <a:gd name="connsiteX157" fmla="*/ 134121 w 370973"/>
                <a:gd name="connsiteY157" fmla="*/ 164878 h 314325"/>
                <a:gd name="connsiteX158" fmla="*/ 133075 w 370973"/>
                <a:gd name="connsiteY158" fmla="*/ 163449 h 314325"/>
                <a:gd name="connsiteX159" fmla="*/ 122231 w 370973"/>
                <a:gd name="connsiteY159" fmla="*/ 140208 h 314325"/>
                <a:gd name="connsiteX160" fmla="*/ 111673 w 370973"/>
                <a:gd name="connsiteY160" fmla="*/ 136017 h 314325"/>
                <a:gd name="connsiteX161" fmla="*/ 111007 w 370973"/>
                <a:gd name="connsiteY161" fmla="*/ 120872 h 314325"/>
                <a:gd name="connsiteX162" fmla="*/ 111007 w 370973"/>
                <a:gd name="connsiteY162" fmla="*/ 120872 h 314325"/>
                <a:gd name="connsiteX163" fmla="*/ 111768 w 370973"/>
                <a:gd name="connsiteY163" fmla="*/ 138303 h 314325"/>
                <a:gd name="connsiteX164" fmla="*/ 122326 w 370973"/>
                <a:gd name="connsiteY164" fmla="*/ 142494 h 314325"/>
                <a:gd name="connsiteX165" fmla="*/ 132599 w 370973"/>
                <a:gd name="connsiteY165" fmla="*/ 164973 h 314325"/>
                <a:gd name="connsiteX166" fmla="*/ 130412 w 370973"/>
                <a:gd name="connsiteY166" fmla="*/ 93059 h 314325"/>
                <a:gd name="connsiteX167" fmla="*/ 130982 w 370973"/>
                <a:gd name="connsiteY167" fmla="*/ 92202 h 314325"/>
                <a:gd name="connsiteX168" fmla="*/ 125941 w 370973"/>
                <a:gd name="connsiteY168" fmla="*/ 80486 h 314325"/>
                <a:gd name="connsiteX169" fmla="*/ 125275 w 370973"/>
                <a:gd name="connsiteY169" fmla="*/ 8124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370973" h="314325">
                  <a:moveTo>
                    <a:pt x="323223" y="7620"/>
                  </a:moveTo>
                  <a:lnTo>
                    <a:pt x="323793" y="8192"/>
                  </a:lnTo>
                  <a:lnTo>
                    <a:pt x="316184" y="31147"/>
                  </a:lnTo>
                  <a:lnTo>
                    <a:pt x="315233" y="31147"/>
                  </a:lnTo>
                  <a:lnTo>
                    <a:pt x="323223" y="7144"/>
                  </a:lnTo>
                  <a:close/>
                  <a:moveTo>
                    <a:pt x="367264" y="137255"/>
                  </a:moveTo>
                  <a:lnTo>
                    <a:pt x="367264" y="139541"/>
                  </a:lnTo>
                  <a:lnTo>
                    <a:pt x="346337" y="150209"/>
                  </a:lnTo>
                  <a:cubicBezTo>
                    <a:pt x="343242" y="171492"/>
                    <a:pt x="335898" y="191932"/>
                    <a:pt x="324745" y="210312"/>
                  </a:cubicBezTo>
                  <a:lnTo>
                    <a:pt x="324079" y="211265"/>
                  </a:lnTo>
                  <a:lnTo>
                    <a:pt x="322937" y="211265"/>
                  </a:lnTo>
                  <a:lnTo>
                    <a:pt x="324174" y="209264"/>
                  </a:lnTo>
                  <a:cubicBezTo>
                    <a:pt x="335609" y="190657"/>
                    <a:pt x="343150" y="169918"/>
                    <a:pt x="346337" y="148304"/>
                  </a:cubicBezTo>
                  <a:lnTo>
                    <a:pt x="367264" y="137255"/>
                  </a:lnTo>
                  <a:close/>
                  <a:moveTo>
                    <a:pt x="332925" y="231172"/>
                  </a:moveTo>
                  <a:lnTo>
                    <a:pt x="333591" y="232696"/>
                  </a:lnTo>
                  <a:lnTo>
                    <a:pt x="305911" y="263081"/>
                  </a:lnTo>
                  <a:lnTo>
                    <a:pt x="283272" y="255556"/>
                  </a:lnTo>
                  <a:cubicBezTo>
                    <a:pt x="265817" y="268753"/>
                    <a:pt x="245841" y="278220"/>
                    <a:pt x="224582" y="283369"/>
                  </a:cubicBezTo>
                  <a:lnTo>
                    <a:pt x="215831" y="305562"/>
                  </a:lnTo>
                  <a:lnTo>
                    <a:pt x="174833" y="307372"/>
                  </a:lnTo>
                  <a:lnTo>
                    <a:pt x="164180" y="286036"/>
                  </a:lnTo>
                  <a:cubicBezTo>
                    <a:pt x="142561" y="282862"/>
                    <a:pt x="121815" y="275310"/>
                    <a:pt x="103207" y="263843"/>
                  </a:cubicBezTo>
                  <a:lnTo>
                    <a:pt x="81329" y="273368"/>
                  </a:lnTo>
                  <a:lnTo>
                    <a:pt x="51080" y="245555"/>
                  </a:lnTo>
                  <a:lnTo>
                    <a:pt x="51651" y="243840"/>
                  </a:lnTo>
                  <a:lnTo>
                    <a:pt x="81329" y="271082"/>
                  </a:lnTo>
                  <a:lnTo>
                    <a:pt x="103207" y="261557"/>
                  </a:lnTo>
                  <a:cubicBezTo>
                    <a:pt x="121790" y="273094"/>
                    <a:pt x="142544" y="280681"/>
                    <a:pt x="164180" y="283845"/>
                  </a:cubicBezTo>
                  <a:lnTo>
                    <a:pt x="174833" y="305086"/>
                  </a:lnTo>
                  <a:lnTo>
                    <a:pt x="215831" y="303276"/>
                  </a:lnTo>
                  <a:lnTo>
                    <a:pt x="224582" y="281178"/>
                  </a:lnTo>
                  <a:cubicBezTo>
                    <a:pt x="245826" y="276103"/>
                    <a:pt x="265823" y="266771"/>
                    <a:pt x="283367" y="253746"/>
                  </a:cubicBezTo>
                  <a:lnTo>
                    <a:pt x="306006" y="261271"/>
                  </a:lnTo>
                  <a:lnTo>
                    <a:pt x="332925" y="231172"/>
                  </a:lnTo>
                  <a:close/>
                  <a:moveTo>
                    <a:pt x="57929" y="221647"/>
                  </a:moveTo>
                  <a:cubicBezTo>
                    <a:pt x="45150" y="204298"/>
                    <a:pt x="36024" y="184531"/>
                    <a:pt x="31105" y="163544"/>
                  </a:cubicBezTo>
                  <a:lnTo>
                    <a:pt x="8941" y="154972"/>
                  </a:lnTo>
                  <a:lnTo>
                    <a:pt x="7134" y="113919"/>
                  </a:lnTo>
                  <a:lnTo>
                    <a:pt x="7134" y="113919"/>
                  </a:lnTo>
                  <a:lnTo>
                    <a:pt x="8846" y="152781"/>
                  </a:lnTo>
                  <a:lnTo>
                    <a:pt x="31010" y="161544"/>
                  </a:lnTo>
                  <a:cubicBezTo>
                    <a:pt x="36181" y="183399"/>
                    <a:pt x="45906" y="203912"/>
                    <a:pt x="59546" y="221742"/>
                  </a:cubicBezTo>
                  <a:lnTo>
                    <a:pt x="58500" y="222695"/>
                  </a:lnTo>
                  <a:lnTo>
                    <a:pt x="57929" y="221933"/>
                  </a:lnTo>
                  <a:close/>
                  <a:moveTo>
                    <a:pt x="51175" y="43434"/>
                  </a:moveTo>
                  <a:lnTo>
                    <a:pt x="41188" y="20098"/>
                  </a:lnTo>
                  <a:lnTo>
                    <a:pt x="41853" y="19336"/>
                  </a:lnTo>
                  <a:lnTo>
                    <a:pt x="51366" y="42481"/>
                  </a:lnTo>
                  <a:lnTo>
                    <a:pt x="50795" y="43434"/>
                  </a:lnTo>
                  <a:close/>
                  <a:moveTo>
                    <a:pt x="256733" y="42291"/>
                  </a:moveTo>
                  <a:cubicBezTo>
                    <a:pt x="213737" y="6755"/>
                    <a:pt x="150884" y="9468"/>
                    <a:pt x="111102" y="48577"/>
                  </a:cubicBezTo>
                  <a:lnTo>
                    <a:pt x="109865" y="49816"/>
                  </a:lnTo>
                  <a:lnTo>
                    <a:pt x="107582" y="49816"/>
                  </a:lnTo>
                  <a:lnTo>
                    <a:pt x="109865" y="47339"/>
                  </a:lnTo>
                  <a:cubicBezTo>
                    <a:pt x="149871" y="6647"/>
                    <a:pt x="214476" y="3820"/>
                    <a:pt x="257874" y="40862"/>
                  </a:cubicBezTo>
                  <a:lnTo>
                    <a:pt x="260252" y="42958"/>
                  </a:lnTo>
                  <a:lnTo>
                    <a:pt x="257969" y="42958"/>
                  </a:lnTo>
                  <a:lnTo>
                    <a:pt x="256733" y="41815"/>
                  </a:lnTo>
                  <a:close/>
                  <a:moveTo>
                    <a:pt x="209172" y="94202"/>
                  </a:moveTo>
                  <a:cubicBezTo>
                    <a:pt x="202252" y="89440"/>
                    <a:pt x="193971" y="87066"/>
                    <a:pt x="185582" y="87440"/>
                  </a:cubicBezTo>
                  <a:cubicBezTo>
                    <a:pt x="177245" y="87821"/>
                    <a:pt x="169247" y="90858"/>
                    <a:pt x="162753" y="96107"/>
                  </a:cubicBezTo>
                  <a:lnTo>
                    <a:pt x="161421" y="97250"/>
                  </a:lnTo>
                  <a:lnTo>
                    <a:pt x="158853" y="97250"/>
                  </a:lnTo>
                  <a:lnTo>
                    <a:pt x="161516" y="95155"/>
                  </a:lnTo>
                  <a:cubicBezTo>
                    <a:pt x="175227" y="82894"/>
                    <a:pt x="195659" y="81978"/>
                    <a:pt x="210409" y="92964"/>
                  </a:cubicBezTo>
                  <a:lnTo>
                    <a:pt x="212882" y="94869"/>
                  </a:lnTo>
                  <a:lnTo>
                    <a:pt x="210504" y="94869"/>
                  </a:lnTo>
                  <a:lnTo>
                    <a:pt x="209172" y="94012"/>
                  </a:lnTo>
                  <a:close/>
                  <a:moveTo>
                    <a:pt x="226199" y="125254"/>
                  </a:moveTo>
                  <a:lnTo>
                    <a:pt x="226199" y="124682"/>
                  </a:lnTo>
                  <a:cubicBezTo>
                    <a:pt x="225851" y="115773"/>
                    <a:pt x="222498" y="107245"/>
                    <a:pt x="216687" y="100489"/>
                  </a:cubicBezTo>
                  <a:lnTo>
                    <a:pt x="192050" y="127349"/>
                  </a:lnTo>
                  <a:lnTo>
                    <a:pt x="190909" y="126302"/>
                  </a:lnTo>
                  <a:lnTo>
                    <a:pt x="216687" y="98203"/>
                  </a:lnTo>
                  <a:cubicBezTo>
                    <a:pt x="222498" y="104958"/>
                    <a:pt x="225851" y="113487"/>
                    <a:pt x="226199" y="122396"/>
                  </a:cubicBezTo>
                  <a:lnTo>
                    <a:pt x="226199" y="125254"/>
                  </a:lnTo>
                  <a:close/>
                  <a:moveTo>
                    <a:pt x="296113" y="125254"/>
                  </a:moveTo>
                  <a:cubicBezTo>
                    <a:pt x="296113" y="123253"/>
                    <a:pt x="296113" y="121158"/>
                    <a:pt x="296113" y="119158"/>
                  </a:cubicBezTo>
                  <a:cubicBezTo>
                    <a:pt x="294958" y="91659"/>
                    <a:pt x="283435" y="65620"/>
                    <a:pt x="263867" y="46292"/>
                  </a:cubicBezTo>
                  <a:lnTo>
                    <a:pt x="239421" y="72866"/>
                  </a:lnTo>
                  <a:lnTo>
                    <a:pt x="240562" y="74009"/>
                  </a:lnTo>
                  <a:lnTo>
                    <a:pt x="263867" y="48578"/>
                  </a:lnTo>
                  <a:cubicBezTo>
                    <a:pt x="283435" y="67906"/>
                    <a:pt x="294958" y="93945"/>
                    <a:pt x="296113" y="121444"/>
                  </a:cubicBezTo>
                  <a:cubicBezTo>
                    <a:pt x="296113" y="122682"/>
                    <a:pt x="296113" y="124016"/>
                    <a:pt x="296113" y="125254"/>
                  </a:cubicBezTo>
                  <a:close/>
                  <a:moveTo>
                    <a:pt x="244557" y="75343"/>
                  </a:moveTo>
                  <a:lnTo>
                    <a:pt x="245128" y="75914"/>
                  </a:lnTo>
                  <a:lnTo>
                    <a:pt x="240943" y="88297"/>
                  </a:lnTo>
                  <a:lnTo>
                    <a:pt x="240943" y="87535"/>
                  </a:lnTo>
                  <a:lnTo>
                    <a:pt x="245033" y="75343"/>
                  </a:lnTo>
                  <a:close/>
                  <a:moveTo>
                    <a:pt x="263582" y="129350"/>
                  </a:moveTo>
                  <a:lnTo>
                    <a:pt x="263582" y="131540"/>
                  </a:lnTo>
                  <a:lnTo>
                    <a:pt x="253404" y="136684"/>
                  </a:lnTo>
                  <a:cubicBezTo>
                    <a:pt x="252135" y="144811"/>
                    <a:pt x="249360" y="152628"/>
                    <a:pt x="245223" y="159734"/>
                  </a:cubicBezTo>
                  <a:lnTo>
                    <a:pt x="244652" y="160782"/>
                  </a:lnTo>
                  <a:lnTo>
                    <a:pt x="243511" y="160782"/>
                  </a:lnTo>
                  <a:lnTo>
                    <a:pt x="244652" y="158782"/>
                  </a:lnTo>
                  <a:cubicBezTo>
                    <a:pt x="249099" y="151392"/>
                    <a:pt x="252071" y="143208"/>
                    <a:pt x="253404" y="134684"/>
                  </a:cubicBezTo>
                  <a:lnTo>
                    <a:pt x="263486" y="129635"/>
                  </a:lnTo>
                  <a:close/>
                  <a:moveTo>
                    <a:pt x="248647" y="169640"/>
                  </a:moveTo>
                  <a:lnTo>
                    <a:pt x="249313" y="171260"/>
                  </a:lnTo>
                  <a:lnTo>
                    <a:pt x="245128" y="175736"/>
                  </a:lnTo>
                  <a:lnTo>
                    <a:pt x="243796" y="174879"/>
                  </a:lnTo>
                  <a:lnTo>
                    <a:pt x="248647" y="169640"/>
                  </a:lnTo>
                  <a:close/>
                  <a:moveTo>
                    <a:pt x="265960" y="203835"/>
                  </a:moveTo>
                  <a:lnTo>
                    <a:pt x="240657" y="180594"/>
                  </a:lnTo>
                  <a:lnTo>
                    <a:pt x="237518" y="184118"/>
                  </a:lnTo>
                  <a:lnTo>
                    <a:pt x="226674" y="180499"/>
                  </a:lnTo>
                  <a:cubicBezTo>
                    <a:pt x="219689" y="185548"/>
                    <a:pt x="211814" y="189232"/>
                    <a:pt x="203465" y="191357"/>
                  </a:cubicBezTo>
                  <a:lnTo>
                    <a:pt x="199375" y="202597"/>
                  </a:lnTo>
                  <a:lnTo>
                    <a:pt x="181967" y="203359"/>
                  </a:lnTo>
                  <a:lnTo>
                    <a:pt x="177021" y="193072"/>
                  </a:lnTo>
                  <a:cubicBezTo>
                    <a:pt x="168504" y="191754"/>
                    <a:pt x="160328" y="188777"/>
                    <a:pt x="152955" y="184309"/>
                  </a:cubicBezTo>
                  <a:lnTo>
                    <a:pt x="142492" y="188786"/>
                  </a:lnTo>
                  <a:lnTo>
                    <a:pt x="139068" y="185642"/>
                  </a:lnTo>
                  <a:lnTo>
                    <a:pt x="115858" y="210979"/>
                  </a:lnTo>
                  <a:lnTo>
                    <a:pt x="114621" y="210026"/>
                  </a:lnTo>
                  <a:lnTo>
                    <a:pt x="138972" y="183547"/>
                  </a:lnTo>
                  <a:lnTo>
                    <a:pt x="142397" y="186690"/>
                  </a:lnTo>
                  <a:lnTo>
                    <a:pt x="152860" y="182213"/>
                  </a:lnTo>
                  <a:cubicBezTo>
                    <a:pt x="160252" y="186642"/>
                    <a:pt x="168420" y="189617"/>
                    <a:pt x="176926" y="190976"/>
                  </a:cubicBezTo>
                  <a:lnTo>
                    <a:pt x="181967" y="201168"/>
                  </a:lnTo>
                  <a:lnTo>
                    <a:pt x="199375" y="200406"/>
                  </a:lnTo>
                  <a:lnTo>
                    <a:pt x="203560" y="189738"/>
                  </a:lnTo>
                  <a:cubicBezTo>
                    <a:pt x="211918" y="187686"/>
                    <a:pt x="219800" y="184031"/>
                    <a:pt x="226770" y="178975"/>
                  </a:cubicBezTo>
                  <a:lnTo>
                    <a:pt x="237613" y="182594"/>
                  </a:lnTo>
                  <a:lnTo>
                    <a:pt x="240752" y="179070"/>
                  </a:lnTo>
                  <a:lnTo>
                    <a:pt x="267386" y="203549"/>
                  </a:lnTo>
                  <a:lnTo>
                    <a:pt x="266055" y="204597"/>
                  </a:lnTo>
                  <a:close/>
                  <a:moveTo>
                    <a:pt x="214214" y="156210"/>
                  </a:moveTo>
                  <a:lnTo>
                    <a:pt x="187580" y="131731"/>
                  </a:lnTo>
                  <a:lnTo>
                    <a:pt x="162943" y="158591"/>
                  </a:lnTo>
                  <a:lnTo>
                    <a:pt x="161611" y="157734"/>
                  </a:lnTo>
                  <a:lnTo>
                    <a:pt x="187580" y="129159"/>
                  </a:lnTo>
                  <a:lnTo>
                    <a:pt x="215450" y="154877"/>
                  </a:lnTo>
                  <a:lnTo>
                    <a:pt x="214214" y="156020"/>
                  </a:lnTo>
                  <a:close/>
                  <a:moveTo>
                    <a:pt x="182728" y="127635"/>
                  </a:moveTo>
                  <a:lnTo>
                    <a:pt x="155999" y="103061"/>
                  </a:lnTo>
                  <a:cubicBezTo>
                    <a:pt x="151298" y="109455"/>
                    <a:pt x="148645" y="117127"/>
                    <a:pt x="148389" y="125063"/>
                  </a:cubicBezTo>
                  <a:cubicBezTo>
                    <a:pt x="148070" y="116333"/>
                    <a:pt x="150757" y="107758"/>
                    <a:pt x="155999" y="100775"/>
                  </a:cubicBezTo>
                  <a:lnTo>
                    <a:pt x="183870" y="126302"/>
                  </a:lnTo>
                  <a:lnTo>
                    <a:pt x="182728" y="127635"/>
                  </a:lnTo>
                  <a:close/>
                  <a:moveTo>
                    <a:pt x="127273" y="76772"/>
                  </a:moveTo>
                  <a:lnTo>
                    <a:pt x="104348" y="55626"/>
                  </a:lnTo>
                  <a:cubicBezTo>
                    <a:pt x="87880" y="74962"/>
                    <a:pt x="78692" y="99462"/>
                    <a:pt x="78380" y="124873"/>
                  </a:cubicBezTo>
                  <a:cubicBezTo>
                    <a:pt x="78151" y="98675"/>
                    <a:pt x="87372" y="73275"/>
                    <a:pt x="104348" y="53340"/>
                  </a:cubicBezTo>
                  <a:lnTo>
                    <a:pt x="128414" y="75438"/>
                  </a:lnTo>
                  <a:lnTo>
                    <a:pt x="130697" y="77724"/>
                  </a:lnTo>
                  <a:lnTo>
                    <a:pt x="128509" y="77724"/>
                  </a:lnTo>
                  <a:lnTo>
                    <a:pt x="127273" y="76676"/>
                  </a:lnTo>
                  <a:close/>
                  <a:moveTo>
                    <a:pt x="134026" y="180880"/>
                  </a:moveTo>
                  <a:lnTo>
                    <a:pt x="135168" y="179546"/>
                  </a:lnTo>
                  <a:lnTo>
                    <a:pt x="130031" y="174784"/>
                  </a:lnTo>
                  <a:lnTo>
                    <a:pt x="129460" y="176594"/>
                  </a:lnTo>
                  <a:lnTo>
                    <a:pt x="134026" y="180880"/>
                  </a:lnTo>
                  <a:close/>
                  <a:moveTo>
                    <a:pt x="132504" y="164973"/>
                  </a:moveTo>
                  <a:lnTo>
                    <a:pt x="133075" y="165735"/>
                  </a:lnTo>
                  <a:lnTo>
                    <a:pt x="134121" y="164878"/>
                  </a:lnTo>
                  <a:lnTo>
                    <a:pt x="133075" y="163449"/>
                  </a:lnTo>
                  <a:cubicBezTo>
                    <a:pt x="127992" y="156478"/>
                    <a:pt x="124309" y="148585"/>
                    <a:pt x="122231" y="140208"/>
                  </a:cubicBezTo>
                  <a:lnTo>
                    <a:pt x="111673" y="136017"/>
                  </a:lnTo>
                  <a:lnTo>
                    <a:pt x="111007" y="120872"/>
                  </a:lnTo>
                  <a:lnTo>
                    <a:pt x="111007" y="120872"/>
                  </a:lnTo>
                  <a:lnTo>
                    <a:pt x="111768" y="138303"/>
                  </a:lnTo>
                  <a:lnTo>
                    <a:pt x="122326" y="142494"/>
                  </a:lnTo>
                  <a:cubicBezTo>
                    <a:pt x="124354" y="150551"/>
                    <a:pt x="127836" y="158169"/>
                    <a:pt x="132599" y="164973"/>
                  </a:cubicBezTo>
                  <a:close/>
                  <a:moveTo>
                    <a:pt x="130412" y="93059"/>
                  </a:moveTo>
                  <a:lnTo>
                    <a:pt x="130982" y="92202"/>
                  </a:lnTo>
                  <a:lnTo>
                    <a:pt x="125941" y="80486"/>
                  </a:lnTo>
                  <a:lnTo>
                    <a:pt x="125275" y="81248"/>
                  </a:ln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39" name="Freeform 38">
              <a:extLst>
                <a:ext uri="{FF2B5EF4-FFF2-40B4-BE49-F238E27FC236}">
                  <a16:creationId xmlns="" xmlns:a16="http://schemas.microsoft.com/office/drawing/2014/main" id="{144B1BE2-6B80-F24E-B79D-C321CBC3A3B0}"/>
                </a:ext>
              </a:extLst>
            </p:cNvPr>
            <p:cNvSpPr/>
            <p:nvPr/>
          </p:nvSpPr>
          <p:spPr>
            <a:xfrm>
              <a:off x="5340856" y="3526570"/>
              <a:ext cx="421678" cy="346460"/>
            </a:xfrm>
            <a:custGeom>
              <a:avLst/>
              <a:gdLst>
                <a:gd name="connsiteX0" fmla="*/ 210599 w 370973"/>
                <a:gd name="connsiteY0" fmla="*/ 28289 h 304800"/>
                <a:gd name="connsiteX1" fmla="*/ 272047 w 370973"/>
                <a:gd name="connsiteY1" fmla="*/ 50483 h 304800"/>
                <a:gd name="connsiteX2" fmla="*/ 293830 w 370973"/>
                <a:gd name="connsiteY2" fmla="*/ 40957 h 304800"/>
                <a:gd name="connsiteX3" fmla="*/ 324174 w 370973"/>
                <a:gd name="connsiteY3" fmla="*/ 68675 h 304800"/>
                <a:gd name="connsiteX4" fmla="*/ 323033 w 370973"/>
                <a:gd name="connsiteY4" fmla="*/ 69914 h 304800"/>
                <a:gd name="connsiteX5" fmla="*/ 293830 w 370973"/>
                <a:gd name="connsiteY5" fmla="*/ 43244 h 304800"/>
                <a:gd name="connsiteX6" fmla="*/ 272047 w 370973"/>
                <a:gd name="connsiteY6" fmla="*/ 52769 h 304800"/>
                <a:gd name="connsiteX7" fmla="*/ 211075 w 370973"/>
                <a:gd name="connsiteY7" fmla="*/ 30575 h 304800"/>
                <a:gd name="connsiteX8" fmla="*/ 200421 w 370973"/>
                <a:gd name="connsiteY8" fmla="*/ 9239 h 304800"/>
                <a:gd name="connsiteX9" fmla="*/ 159424 w 370973"/>
                <a:gd name="connsiteY9" fmla="*/ 11049 h 304800"/>
                <a:gd name="connsiteX10" fmla="*/ 150673 w 370973"/>
                <a:gd name="connsiteY10" fmla="*/ 33242 h 304800"/>
                <a:gd name="connsiteX11" fmla="*/ 91317 w 370973"/>
                <a:gd name="connsiteY11" fmla="*/ 60674 h 304800"/>
                <a:gd name="connsiteX12" fmla="*/ 68773 w 370973"/>
                <a:gd name="connsiteY12" fmla="*/ 53626 h 304800"/>
                <a:gd name="connsiteX13" fmla="*/ 42424 w 370973"/>
                <a:gd name="connsiteY13" fmla="*/ 82201 h 304800"/>
                <a:gd name="connsiteX14" fmla="*/ 41093 w 370973"/>
                <a:gd name="connsiteY14" fmla="*/ 81344 h 304800"/>
                <a:gd name="connsiteX15" fmla="*/ 68773 w 370973"/>
                <a:gd name="connsiteY15" fmla="*/ 51054 h 304800"/>
                <a:gd name="connsiteX16" fmla="*/ 91412 w 370973"/>
                <a:gd name="connsiteY16" fmla="*/ 58579 h 304800"/>
                <a:gd name="connsiteX17" fmla="*/ 150197 w 370973"/>
                <a:gd name="connsiteY17" fmla="*/ 31147 h 304800"/>
                <a:gd name="connsiteX18" fmla="*/ 158948 w 370973"/>
                <a:gd name="connsiteY18" fmla="*/ 8954 h 304800"/>
                <a:gd name="connsiteX19" fmla="*/ 199945 w 370973"/>
                <a:gd name="connsiteY19" fmla="*/ 7144 h 304800"/>
                <a:gd name="connsiteX20" fmla="*/ 210599 w 370973"/>
                <a:gd name="connsiteY20" fmla="*/ 28480 h 304800"/>
                <a:gd name="connsiteX21" fmla="*/ 316659 w 370973"/>
                <a:gd name="connsiteY21" fmla="*/ 91726 h 304800"/>
                <a:gd name="connsiteX22" fmla="*/ 343579 w 370973"/>
                <a:gd name="connsiteY22" fmla="*/ 149924 h 304800"/>
                <a:gd name="connsiteX23" fmla="*/ 365742 w 370973"/>
                <a:gd name="connsiteY23" fmla="*/ 158687 h 304800"/>
                <a:gd name="connsiteX24" fmla="*/ 367549 w 370973"/>
                <a:gd name="connsiteY24" fmla="*/ 199739 h 304800"/>
                <a:gd name="connsiteX25" fmla="*/ 367549 w 370973"/>
                <a:gd name="connsiteY25" fmla="*/ 199739 h 304800"/>
                <a:gd name="connsiteX26" fmla="*/ 365837 w 370973"/>
                <a:gd name="connsiteY26" fmla="*/ 160973 h 304800"/>
                <a:gd name="connsiteX27" fmla="*/ 343674 w 370973"/>
                <a:gd name="connsiteY27" fmla="*/ 152210 h 304800"/>
                <a:gd name="connsiteX28" fmla="*/ 315137 w 370973"/>
                <a:gd name="connsiteY28" fmla="*/ 91821 h 304800"/>
                <a:gd name="connsiteX29" fmla="*/ 316184 w 370973"/>
                <a:gd name="connsiteY29" fmla="*/ 91059 h 304800"/>
                <a:gd name="connsiteX30" fmla="*/ 316659 w 370973"/>
                <a:gd name="connsiteY30" fmla="*/ 91726 h 304800"/>
                <a:gd name="connsiteX31" fmla="*/ 324079 w 370973"/>
                <a:gd name="connsiteY31" fmla="*/ 271463 h 304800"/>
                <a:gd name="connsiteX32" fmla="*/ 333591 w 370973"/>
                <a:gd name="connsiteY32" fmla="*/ 293275 h 304800"/>
                <a:gd name="connsiteX33" fmla="*/ 332259 w 370973"/>
                <a:gd name="connsiteY33" fmla="*/ 292513 h 304800"/>
                <a:gd name="connsiteX34" fmla="*/ 322747 w 370973"/>
                <a:gd name="connsiteY34" fmla="*/ 271082 h 304800"/>
                <a:gd name="connsiteX35" fmla="*/ 323984 w 370973"/>
                <a:gd name="connsiteY35" fmla="*/ 271082 h 304800"/>
                <a:gd name="connsiteX36" fmla="*/ 50890 w 370973"/>
                <a:gd name="connsiteY36" fmla="*/ 306038 h 304800"/>
                <a:gd name="connsiteX37" fmla="*/ 58405 w 370973"/>
                <a:gd name="connsiteY37" fmla="*/ 283464 h 304800"/>
                <a:gd name="connsiteX38" fmla="*/ 59451 w 370973"/>
                <a:gd name="connsiteY38" fmla="*/ 282512 h 304800"/>
                <a:gd name="connsiteX39" fmla="*/ 52031 w 370973"/>
                <a:gd name="connsiteY39" fmla="*/ 304991 h 304800"/>
                <a:gd name="connsiteX40" fmla="*/ 50890 w 370973"/>
                <a:gd name="connsiteY40" fmla="*/ 306038 h 304800"/>
                <a:gd name="connsiteX41" fmla="*/ 7134 w 370973"/>
                <a:gd name="connsiteY41" fmla="*/ 177451 h 304800"/>
                <a:gd name="connsiteX42" fmla="*/ 7134 w 370973"/>
                <a:gd name="connsiteY42" fmla="*/ 175260 h 304800"/>
                <a:gd name="connsiteX43" fmla="*/ 28441 w 370973"/>
                <a:gd name="connsiteY43" fmla="*/ 164592 h 304800"/>
                <a:gd name="connsiteX44" fmla="*/ 50034 w 370973"/>
                <a:gd name="connsiteY44" fmla="*/ 104489 h 304800"/>
                <a:gd name="connsiteX45" fmla="*/ 50605 w 370973"/>
                <a:gd name="connsiteY45" fmla="*/ 103537 h 304800"/>
                <a:gd name="connsiteX46" fmla="*/ 51746 w 370973"/>
                <a:gd name="connsiteY46" fmla="*/ 104013 h 304800"/>
                <a:gd name="connsiteX47" fmla="*/ 50605 w 370973"/>
                <a:gd name="connsiteY47" fmla="*/ 105823 h 304800"/>
                <a:gd name="connsiteX48" fmla="*/ 28441 w 370973"/>
                <a:gd name="connsiteY48" fmla="*/ 166878 h 304800"/>
                <a:gd name="connsiteX49" fmla="*/ 7134 w 370973"/>
                <a:gd name="connsiteY49" fmla="*/ 177451 h 304800"/>
                <a:gd name="connsiteX50" fmla="*/ 109770 w 370973"/>
                <a:gd name="connsiteY50" fmla="*/ 110776 h 304800"/>
                <a:gd name="connsiteX51" fmla="*/ 133836 w 370973"/>
                <a:gd name="connsiteY51" fmla="*/ 132874 h 304800"/>
                <a:gd name="connsiteX52" fmla="*/ 137070 w 370973"/>
                <a:gd name="connsiteY52" fmla="*/ 129445 h 304800"/>
                <a:gd name="connsiteX53" fmla="*/ 147914 w 370973"/>
                <a:gd name="connsiteY53" fmla="*/ 133064 h 304800"/>
                <a:gd name="connsiteX54" fmla="*/ 171028 w 370973"/>
                <a:gd name="connsiteY54" fmla="*/ 122206 h 304800"/>
                <a:gd name="connsiteX55" fmla="*/ 175309 w 370973"/>
                <a:gd name="connsiteY55" fmla="*/ 111633 h 304800"/>
                <a:gd name="connsiteX56" fmla="*/ 192621 w 370973"/>
                <a:gd name="connsiteY56" fmla="*/ 110776 h 304800"/>
                <a:gd name="connsiteX57" fmla="*/ 197758 w 370973"/>
                <a:gd name="connsiteY57" fmla="*/ 121063 h 304800"/>
                <a:gd name="connsiteX58" fmla="*/ 221823 w 370973"/>
                <a:gd name="connsiteY58" fmla="*/ 129826 h 304800"/>
                <a:gd name="connsiteX59" fmla="*/ 232287 w 370973"/>
                <a:gd name="connsiteY59" fmla="*/ 125254 h 304800"/>
                <a:gd name="connsiteX60" fmla="*/ 235711 w 370973"/>
                <a:gd name="connsiteY60" fmla="*/ 128397 h 304800"/>
                <a:gd name="connsiteX61" fmla="*/ 257874 w 370973"/>
                <a:gd name="connsiteY61" fmla="*/ 104299 h 304800"/>
                <a:gd name="connsiteX62" fmla="*/ 260157 w 370973"/>
                <a:gd name="connsiteY62" fmla="*/ 104299 h 304800"/>
                <a:gd name="connsiteX63" fmla="*/ 235711 w 370973"/>
                <a:gd name="connsiteY63" fmla="*/ 130874 h 304800"/>
                <a:gd name="connsiteX64" fmla="*/ 232287 w 370973"/>
                <a:gd name="connsiteY64" fmla="*/ 127730 h 304800"/>
                <a:gd name="connsiteX65" fmla="*/ 221823 w 370973"/>
                <a:gd name="connsiteY65" fmla="*/ 132302 h 304800"/>
                <a:gd name="connsiteX66" fmla="*/ 197758 w 370973"/>
                <a:gd name="connsiteY66" fmla="*/ 123539 h 304800"/>
                <a:gd name="connsiteX67" fmla="*/ 192621 w 370973"/>
                <a:gd name="connsiteY67" fmla="*/ 113348 h 304800"/>
                <a:gd name="connsiteX68" fmla="*/ 175309 w 370973"/>
                <a:gd name="connsiteY68" fmla="*/ 114109 h 304800"/>
                <a:gd name="connsiteX69" fmla="*/ 171028 w 370973"/>
                <a:gd name="connsiteY69" fmla="*/ 124682 h 304800"/>
                <a:gd name="connsiteX70" fmla="*/ 148390 w 370973"/>
                <a:gd name="connsiteY70" fmla="*/ 135446 h 304800"/>
                <a:gd name="connsiteX71" fmla="*/ 137546 w 370973"/>
                <a:gd name="connsiteY71" fmla="*/ 131826 h 304800"/>
                <a:gd name="connsiteX72" fmla="*/ 134312 w 370973"/>
                <a:gd name="connsiteY72" fmla="*/ 135255 h 304800"/>
                <a:gd name="connsiteX73" fmla="*/ 107487 w 370973"/>
                <a:gd name="connsiteY73" fmla="*/ 110776 h 304800"/>
                <a:gd name="connsiteX74" fmla="*/ 109770 w 370973"/>
                <a:gd name="connsiteY74" fmla="*/ 110776 h 304800"/>
                <a:gd name="connsiteX75" fmla="*/ 161421 w 370973"/>
                <a:gd name="connsiteY75" fmla="*/ 158401 h 304800"/>
                <a:gd name="connsiteX76" fmla="*/ 187009 w 370973"/>
                <a:gd name="connsiteY76" fmla="*/ 181832 h 304800"/>
                <a:gd name="connsiteX77" fmla="*/ 210504 w 370973"/>
                <a:gd name="connsiteY77" fmla="*/ 156210 h 304800"/>
                <a:gd name="connsiteX78" fmla="*/ 212882 w 370973"/>
                <a:gd name="connsiteY78" fmla="*/ 156210 h 304800"/>
                <a:gd name="connsiteX79" fmla="*/ 187009 w 370973"/>
                <a:gd name="connsiteY79" fmla="*/ 184785 h 304800"/>
                <a:gd name="connsiteX80" fmla="*/ 158948 w 370973"/>
                <a:gd name="connsiteY80" fmla="*/ 158401 h 304800"/>
                <a:gd name="connsiteX81" fmla="*/ 161421 w 370973"/>
                <a:gd name="connsiteY81" fmla="*/ 158401 h 304800"/>
                <a:gd name="connsiteX82" fmla="*/ 192906 w 370973"/>
                <a:gd name="connsiteY82" fmla="*/ 186976 h 304800"/>
                <a:gd name="connsiteX83" fmla="*/ 218494 w 370973"/>
                <a:gd name="connsiteY83" fmla="*/ 210407 h 304800"/>
                <a:gd name="connsiteX84" fmla="*/ 226199 w 370973"/>
                <a:gd name="connsiteY84" fmla="*/ 188404 h 304800"/>
                <a:gd name="connsiteX85" fmla="*/ 218494 w 370973"/>
                <a:gd name="connsiteY85" fmla="*/ 212693 h 304800"/>
                <a:gd name="connsiteX86" fmla="*/ 190623 w 370973"/>
                <a:gd name="connsiteY86" fmla="*/ 186976 h 304800"/>
                <a:gd name="connsiteX87" fmla="*/ 192906 w 370973"/>
                <a:gd name="connsiteY87" fmla="*/ 186976 h 304800"/>
                <a:gd name="connsiteX88" fmla="*/ 246079 w 370973"/>
                <a:gd name="connsiteY88" fmla="*/ 235744 h 304800"/>
                <a:gd name="connsiteX89" fmla="*/ 270240 w 370973"/>
                <a:gd name="connsiteY89" fmla="*/ 257842 h 304800"/>
                <a:gd name="connsiteX90" fmla="*/ 296113 w 370973"/>
                <a:gd name="connsiteY90" fmla="*/ 188595 h 304800"/>
                <a:gd name="connsiteX91" fmla="*/ 270240 w 370973"/>
                <a:gd name="connsiteY91" fmla="*/ 260128 h 304800"/>
                <a:gd name="connsiteX92" fmla="*/ 243511 w 370973"/>
                <a:gd name="connsiteY92" fmla="*/ 236125 h 304800"/>
                <a:gd name="connsiteX93" fmla="*/ 245794 w 370973"/>
                <a:gd name="connsiteY93" fmla="*/ 236125 h 304800"/>
                <a:gd name="connsiteX94" fmla="*/ 241609 w 370973"/>
                <a:gd name="connsiteY94" fmla="*/ 133731 h 304800"/>
                <a:gd name="connsiteX95" fmla="*/ 239421 w 370973"/>
                <a:gd name="connsiteY95" fmla="*/ 133731 h 304800"/>
                <a:gd name="connsiteX96" fmla="*/ 244557 w 370973"/>
                <a:gd name="connsiteY96" fmla="*/ 138398 h 304800"/>
                <a:gd name="connsiteX97" fmla="*/ 245128 w 370973"/>
                <a:gd name="connsiteY97" fmla="*/ 136684 h 304800"/>
                <a:gd name="connsiteX98" fmla="*/ 241609 w 370973"/>
                <a:gd name="connsiteY98" fmla="*/ 133445 h 304800"/>
                <a:gd name="connsiteX99" fmla="*/ 241609 w 370973"/>
                <a:gd name="connsiteY99" fmla="*/ 148495 h 304800"/>
                <a:gd name="connsiteX100" fmla="*/ 241133 w 370973"/>
                <a:gd name="connsiteY100" fmla="*/ 147828 h 304800"/>
                <a:gd name="connsiteX101" fmla="*/ 240087 w 370973"/>
                <a:gd name="connsiteY101" fmla="*/ 148590 h 304800"/>
                <a:gd name="connsiteX102" fmla="*/ 241133 w 370973"/>
                <a:gd name="connsiteY102" fmla="*/ 150114 h 304800"/>
                <a:gd name="connsiteX103" fmla="*/ 251977 w 370973"/>
                <a:gd name="connsiteY103" fmla="*/ 173260 h 304800"/>
                <a:gd name="connsiteX104" fmla="*/ 262535 w 370973"/>
                <a:gd name="connsiteY104" fmla="*/ 177451 h 304800"/>
                <a:gd name="connsiteX105" fmla="*/ 263201 w 370973"/>
                <a:gd name="connsiteY105" fmla="*/ 192596 h 304800"/>
                <a:gd name="connsiteX106" fmla="*/ 263201 w 370973"/>
                <a:gd name="connsiteY106" fmla="*/ 192596 h 304800"/>
                <a:gd name="connsiteX107" fmla="*/ 262535 w 370973"/>
                <a:gd name="connsiteY107" fmla="*/ 175355 h 304800"/>
                <a:gd name="connsiteX108" fmla="*/ 251977 w 370973"/>
                <a:gd name="connsiteY108" fmla="*/ 171164 h 304800"/>
                <a:gd name="connsiteX109" fmla="*/ 241989 w 370973"/>
                <a:gd name="connsiteY109" fmla="*/ 148876 h 304800"/>
                <a:gd name="connsiteX110" fmla="*/ 244367 w 370973"/>
                <a:gd name="connsiteY110" fmla="*/ 221837 h 304800"/>
                <a:gd name="connsiteX111" fmla="*/ 243226 w 370973"/>
                <a:gd name="connsiteY111" fmla="*/ 221837 h 304800"/>
                <a:gd name="connsiteX112" fmla="*/ 247506 w 370973"/>
                <a:gd name="connsiteY112" fmla="*/ 231362 h 304800"/>
                <a:gd name="connsiteX113" fmla="*/ 248933 w 370973"/>
                <a:gd name="connsiteY113" fmla="*/ 232220 h 304800"/>
                <a:gd name="connsiteX114" fmla="*/ 244367 w 370973"/>
                <a:gd name="connsiteY114" fmla="*/ 221742 h 304800"/>
                <a:gd name="connsiteX115" fmla="*/ 191670 w 370973"/>
                <a:gd name="connsiteY115" fmla="*/ 296132 h 304800"/>
                <a:gd name="connsiteX116" fmla="*/ 263201 w 370973"/>
                <a:gd name="connsiteY116" fmla="*/ 264986 h 304800"/>
                <a:gd name="connsiteX117" fmla="*/ 264438 w 370973"/>
                <a:gd name="connsiteY117" fmla="*/ 263843 h 304800"/>
                <a:gd name="connsiteX118" fmla="*/ 266911 w 370973"/>
                <a:gd name="connsiteY118" fmla="*/ 263843 h 304800"/>
                <a:gd name="connsiteX119" fmla="*/ 191670 w 370973"/>
                <a:gd name="connsiteY119" fmla="*/ 298418 h 304800"/>
                <a:gd name="connsiteX120" fmla="*/ 114051 w 370973"/>
                <a:gd name="connsiteY120" fmla="*/ 270510 h 304800"/>
                <a:gd name="connsiteX121" fmla="*/ 116429 w 370973"/>
                <a:gd name="connsiteY121" fmla="*/ 270510 h 304800"/>
                <a:gd name="connsiteX122" fmla="*/ 191670 w 370973"/>
                <a:gd name="connsiteY122" fmla="*/ 296323 h 304800"/>
                <a:gd name="connsiteX123" fmla="*/ 165036 w 370973"/>
                <a:gd name="connsiteY123" fmla="*/ 219456 h 304800"/>
                <a:gd name="connsiteX124" fmla="*/ 211455 w 370973"/>
                <a:gd name="connsiteY124" fmla="*/ 217456 h 304800"/>
                <a:gd name="connsiteX125" fmla="*/ 212692 w 370973"/>
                <a:gd name="connsiteY125" fmla="*/ 216408 h 304800"/>
                <a:gd name="connsiteX126" fmla="*/ 215165 w 370973"/>
                <a:gd name="connsiteY126" fmla="*/ 216408 h 304800"/>
                <a:gd name="connsiteX127" fmla="*/ 212692 w 370973"/>
                <a:gd name="connsiteY127" fmla="*/ 218789 h 304800"/>
                <a:gd name="connsiteX128" fmla="*/ 163704 w 370973"/>
                <a:gd name="connsiteY128" fmla="*/ 220885 h 304800"/>
                <a:gd name="connsiteX129" fmla="*/ 161326 w 370973"/>
                <a:gd name="connsiteY129" fmla="*/ 219075 h 304800"/>
                <a:gd name="connsiteX130" fmla="*/ 163704 w 370973"/>
                <a:gd name="connsiteY130" fmla="*/ 219075 h 304800"/>
                <a:gd name="connsiteX131" fmla="*/ 165036 w 370973"/>
                <a:gd name="connsiteY131" fmla="*/ 219932 h 304800"/>
                <a:gd name="connsiteX132" fmla="*/ 148390 w 370973"/>
                <a:gd name="connsiteY132" fmla="*/ 188595 h 304800"/>
                <a:gd name="connsiteX133" fmla="*/ 148390 w 370973"/>
                <a:gd name="connsiteY133" fmla="*/ 189167 h 304800"/>
                <a:gd name="connsiteX134" fmla="*/ 157902 w 370973"/>
                <a:gd name="connsiteY134" fmla="*/ 213265 h 304800"/>
                <a:gd name="connsiteX135" fmla="*/ 181302 w 370973"/>
                <a:gd name="connsiteY135" fmla="*/ 187643 h 304800"/>
                <a:gd name="connsiteX136" fmla="*/ 183584 w 370973"/>
                <a:gd name="connsiteY136" fmla="*/ 187643 h 304800"/>
                <a:gd name="connsiteX137" fmla="*/ 157902 w 370973"/>
                <a:gd name="connsiteY137" fmla="*/ 215551 h 304800"/>
                <a:gd name="connsiteX138" fmla="*/ 148390 w 370973"/>
                <a:gd name="connsiteY138" fmla="*/ 191453 h 304800"/>
                <a:gd name="connsiteX139" fmla="*/ 148390 w 370973"/>
                <a:gd name="connsiteY139" fmla="*/ 188595 h 304800"/>
                <a:gd name="connsiteX140" fmla="*/ 78380 w 370973"/>
                <a:gd name="connsiteY140" fmla="*/ 188595 h 304800"/>
                <a:gd name="connsiteX141" fmla="*/ 78380 w 370973"/>
                <a:gd name="connsiteY141" fmla="*/ 194786 h 304800"/>
                <a:gd name="connsiteX142" fmla="*/ 110721 w 370973"/>
                <a:gd name="connsiteY142" fmla="*/ 267653 h 304800"/>
                <a:gd name="connsiteX143" fmla="*/ 135073 w 370973"/>
                <a:gd name="connsiteY143" fmla="*/ 241078 h 304800"/>
                <a:gd name="connsiteX144" fmla="*/ 132790 w 370973"/>
                <a:gd name="connsiteY144" fmla="*/ 241078 h 304800"/>
                <a:gd name="connsiteX145" fmla="*/ 110721 w 370973"/>
                <a:gd name="connsiteY145" fmla="*/ 265271 h 304800"/>
                <a:gd name="connsiteX146" fmla="*/ 78380 w 370973"/>
                <a:gd name="connsiteY146" fmla="*/ 192405 h 304800"/>
                <a:gd name="connsiteX147" fmla="*/ 78380 w 370973"/>
                <a:gd name="connsiteY147" fmla="*/ 188500 h 304800"/>
                <a:gd name="connsiteX148" fmla="*/ 129365 w 370973"/>
                <a:gd name="connsiteY148" fmla="*/ 237744 h 304800"/>
                <a:gd name="connsiteX149" fmla="*/ 132980 w 370973"/>
                <a:gd name="connsiteY149" fmla="*/ 226886 h 304800"/>
                <a:gd name="connsiteX150" fmla="*/ 134026 w 370973"/>
                <a:gd name="connsiteY150" fmla="*/ 226028 h 304800"/>
                <a:gd name="connsiteX151" fmla="*/ 130507 w 370973"/>
                <a:gd name="connsiteY151" fmla="*/ 236506 h 304800"/>
                <a:gd name="connsiteX152" fmla="*/ 129365 w 370973"/>
                <a:gd name="connsiteY152" fmla="*/ 237744 h 304800"/>
                <a:gd name="connsiteX153" fmla="*/ 110912 w 370973"/>
                <a:gd name="connsiteY153" fmla="*/ 184309 h 304800"/>
                <a:gd name="connsiteX154" fmla="*/ 110912 w 370973"/>
                <a:gd name="connsiteY154" fmla="*/ 182023 h 304800"/>
                <a:gd name="connsiteX155" fmla="*/ 121090 w 370973"/>
                <a:gd name="connsiteY155" fmla="*/ 176975 h 304800"/>
                <a:gd name="connsiteX156" fmla="*/ 129270 w 370973"/>
                <a:gd name="connsiteY156" fmla="*/ 153829 h 304800"/>
                <a:gd name="connsiteX157" fmla="*/ 129841 w 370973"/>
                <a:gd name="connsiteY157" fmla="*/ 152876 h 304800"/>
                <a:gd name="connsiteX158" fmla="*/ 130982 w 370973"/>
                <a:gd name="connsiteY158" fmla="*/ 152876 h 304800"/>
                <a:gd name="connsiteX159" fmla="*/ 121470 w 370973"/>
                <a:gd name="connsiteY159" fmla="*/ 178784 h 304800"/>
                <a:gd name="connsiteX160" fmla="*/ 111387 w 370973"/>
                <a:gd name="connsiteY160" fmla="*/ 183833 h 304800"/>
                <a:gd name="connsiteX161" fmla="*/ 125180 w 370973"/>
                <a:gd name="connsiteY161" fmla="*/ 142399 h 304800"/>
                <a:gd name="connsiteX162" fmla="*/ 128414 w 370973"/>
                <a:gd name="connsiteY162" fmla="*/ 138875 h 304800"/>
                <a:gd name="connsiteX163" fmla="*/ 130602 w 370973"/>
                <a:gd name="connsiteY163" fmla="*/ 138875 h 304800"/>
                <a:gd name="connsiteX164" fmla="*/ 126512 w 370973"/>
                <a:gd name="connsiteY164" fmla="*/ 143256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370973" h="304800">
                  <a:moveTo>
                    <a:pt x="210599" y="28289"/>
                  </a:moveTo>
                  <a:cubicBezTo>
                    <a:pt x="232403" y="31314"/>
                    <a:pt x="253334" y="38874"/>
                    <a:pt x="272047" y="50483"/>
                  </a:cubicBezTo>
                  <a:lnTo>
                    <a:pt x="293830" y="40957"/>
                  </a:lnTo>
                  <a:lnTo>
                    <a:pt x="324174" y="68675"/>
                  </a:lnTo>
                  <a:lnTo>
                    <a:pt x="323033" y="69914"/>
                  </a:lnTo>
                  <a:lnTo>
                    <a:pt x="293830" y="43244"/>
                  </a:lnTo>
                  <a:lnTo>
                    <a:pt x="272047" y="52769"/>
                  </a:lnTo>
                  <a:cubicBezTo>
                    <a:pt x="253439" y="41301"/>
                    <a:pt x="232693" y="33749"/>
                    <a:pt x="211075" y="30575"/>
                  </a:cubicBezTo>
                  <a:lnTo>
                    <a:pt x="200421" y="9239"/>
                  </a:lnTo>
                  <a:lnTo>
                    <a:pt x="159424" y="11049"/>
                  </a:lnTo>
                  <a:lnTo>
                    <a:pt x="150673" y="33242"/>
                  </a:lnTo>
                  <a:cubicBezTo>
                    <a:pt x="129196" y="38148"/>
                    <a:pt x="108979" y="47492"/>
                    <a:pt x="91317" y="60674"/>
                  </a:cubicBezTo>
                  <a:lnTo>
                    <a:pt x="68773" y="53626"/>
                  </a:lnTo>
                  <a:lnTo>
                    <a:pt x="42424" y="82201"/>
                  </a:lnTo>
                  <a:lnTo>
                    <a:pt x="41093" y="81344"/>
                  </a:lnTo>
                  <a:lnTo>
                    <a:pt x="68773" y="51054"/>
                  </a:lnTo>
                  <a:lnTo>
                    <a:pt x="91412" y="58579"/>
                  </a:lnTo>
                  <a:cubicBezTo>
                    <a:pt x="108904" y="45467"/>
                    <a:pt x="128920" y="36127"/>
                    <a:pt x="150197" y="31147"/>
                  </a:cubicBezTo>
                  <a:lnTo>
                    <a:pt x="158948" y="8954"/>
                  </a:lnTo>
                  <a:lnTo>
                    <a:pt x="199945" y="7144"/>
                  </a:lnTo>
                  <a:lnTo>
                    <a:pt x="210599" y="28480"/>
                  </a:lnTo>
                  <a:close/>
                  <a:moveTo>
                    <a:pt x="316659" y="91726"/>
                  </a:moveTo>
                  <a:cubicBezTo>
                    <a:pt x="329470" y="109103"/>
                    <a:pt x="338627" y="128901"/>
                    <a:pt x="343579" y="149924"/>
                  </a:cubicBezTo>
                  <a:lnTo>
                    <a:pt x="365742" y="158687"/>
                  </a:lnTo>
                  <a:lnTo>
                    <a:pt x="367549" y="199739"/>
                  </a:lnTo>
                  <a:lnTo>
                    <a:pt x="367549" y="199739"/>
                  </a:lnTo>
                  <a:lnTo>
                    <a:pt x="365837" y="160973"/>
                  </a:lnTo>
                  <a:lnTo>
                    <a:pt x="343674" y="152210"/>
                  </a:lnTo>
                  <a:cubicBezTo>
                    <a:pt x="338503" y="130297"/>
                    <a:pt x="328779" y="109720"/>
                    <a:pt x="315137" y="91821"/>
                  </a:cubicBezTo>
                  <a:lnTo>
                    <a:pt x="316184" y="91059"/>
                  </a:lnTo>
                  <a:lnTo>
                    <a:pt x="316659" y="91726"/>
                  </a:lnTo>
                  <a:close/>
                  <a:moveTo>
                    <a:pt x="324079" y="271463"/>
                  </a:moveTo>
                  <a:lnTo>
                    <a:pt x="333591" y="293275"/>
                  </a:lnTo>
                  <a:lnTo>
                    <a:pt x="332259" y="292513"/>
                  </a:lnTo>
                  <a:lnTo>
                    <a:pt x="322747" y="271082"/>
                  </a:lnTo>
                  <a:lnTo>
                    <a:pt x="323984" y="271082"/>
                  </a:lnTo>
                  <a:close/>
                  <a:moveTo>
                    <a:pt x="50890" y="306038"/>
                  </a:moveTo>
                  <a:lnTo>
                    <a:pt x="58405" y="283464"/>
                  </a:lnTo>
                  <a:lnTo>
                    <a:pt x="59451" y="282512"/>
                  </a:lnTo>
                  <a:lnTo>
                    <a:pt x="52031" y="304991"/>
                  </a:lnTo>
                  <a:lnTo>
                    <a:pt x="50890" y="306038"/>
                  </a:lnTo>
                  <a:close/>
                  <a:moveTo>
                    <a:pt x="7134" y="177451"/>
                  </a:moveTo>
                  <a:lnTo>
                    <a:pt x="7134" y="175260"/>
                  </a:lnTo>
                  <a:lnTo>
                    <a:pt x="28441" y="164592"/>
                  </a:lnTo>
                  <a:cubicBezTo>
                    <a:pt x="31522" y="143306"/>
                    <a:pt x="38866" y="122862"/>
                    <a:pt x="50034" y="104489"/>
                  </a:cubicBezTo>
                  <a:lnTo>
                    <a:pt x="50605" y="103537"/>
                  </a:lnTo>
                  <a:lnTo>
                    <a:pt x="51746" y="104013"/>
                  </a:lnTo>
                  <a:lnTo>
                    <a:pt x="50605" y="105823"/>
                  </a:lnTo>
                  <a:cubicBezTo>
                    <a:pt x="39152" y="124456"/>
                    <a:pt x="31611" y="145230"/>
                    <a:pt x="28441" y="166878"/>
                  </a:cubicBezTo>
                  <a:lnTo>
                    <a:pt x="7134" y="177451"/>
                  </a:lnTo>
                  <a:close/>
                  <a:moveTo>
                    <a:pt x="109770" y="110776"/>
                  </a:moveTo>
                  <a:lnTo>
                    <a:pt x="133836" y="132874"/>
                  </a:lnTo>
                  <a:lnTo>
                    <a:pt x="137070" y="129445"/>
                  </a:lnTo>
                  <a:lnTo>
                    <a:pt x="147914" y="133064"/>
                  </a:lnTo>
                  <a:cubicBezTo>
                    <a:pt x="154831" y="127958"/>
                    <a:pt x="162685" y="124268"/>
                    <a:pt x="171028" y="122206"/>
                  </a:cubicBezTo>
                  <a:lnTo>
                    <a:pt x="175309" y="111633"/>
                  </a:lnTo>
                  <a:lnTo>
                    <a:pt x="192621" y="110776"/>
                  </a:lnTo>
                  <a:lnTo>
                    <a:pt x="197758" y="121063"/>
                  </a:lnTo>
                  <a:cubicBezTo>
                    <a:pt x="206274" y="122380"/>
                    <a:pt x="214451" y="125358"/>
                    <a:pt x="221823" y="129826"/>
                  </a:cubicBezTo>
                  <a:lnTo>
                    <a:pt x="232287" y="125254"/>
                  </a:lnTo>
                  <a:lnTo>
                    <a:pt x="235711" y="128397"/>
                  </a:lnTo>
                  <a:lnTo>
                    <a:pt x="257874" y="104299"/>
                  </a:lnTo>
                  <a:lnTo>
                    <a:pt x="260157" y="104299"/>
                  </a:lnTo>
                  <a:lnTo>
                    <a:pt x="235711" y="130874"/>
                  </a:lnTo>
                  <a:lnTo>
                    <a:pt x="232287" y="127730"/>
                  </a:lnTo>
                  <a:lnTo>
                    <a:pt x="221823" y="132302"/>
                  </a:lnTo>
                  <a:cubicBezTo>
                    <a:pt x="214451" y="127834"/>
                    <a:pt x="206274" y="124857"/>
                    <a:pt x="197758" y="123539"/>
                  </a:cubicBezTo>
                  <a:lnTo>
                    <a:pt x="192621" y="113348"/>
                  </a:lnTo>
                  <a:lnTo>
                    <a:pt x="175309" y="114109"/>
                  </a:lnTo>
                  <a:lnTo>
                    <a:pt x="171028" y="124682"/>
                  </a:lnTo>
                  <a:cubicBezTo>
                    <a:pt x="162859" y="126774"/>
                    <a:pt x="155172" y="130429"/>
                    <a:pt x="148390" y="135446"/>
                  </a:cubicBezTo>
                  <a:lnTo>
                    <a:pt x="137546" y="131826"/>
                  </a:lnTo>
                  <a:lnTo>
                    <a:pt x="134312" y="135255"/>
                  </a:lnTo>
                  <a:lnTo>
                    <a:pt x="107487" y="110776"/>
                  </a:lnTo>
                  <a:lnTo>
                    <a:pt x="109770" y="110776"/>
                  </a:lnTo>
                  <a:close/>
                  <a:moveTo>
                    <a:pt x="161421" y="158401"/>
                  </a:moveTo>
                  <a:lnTo>
                    <a:pt x="187009" y="181832"/>
                  </a:lnTo>
                  <a:lnTo>
                    <a:pt x="210504" y="156210"/>
                  </a:lnTo>
                  <a:lnTo>
                    <a:pt x="212882" y="156210"/>
                  </a:lnTo>
                  <a:lnTo>
                    <a:pt x="187009" y="184785"/>
                  </a:lnTo>
                  <a:lnTo>
                    <a:pt x="158948" y="158401"/>
                  </a:lnTo>
                  <a:lnTo>
                    <a:pt x="161421" y="158401"/>
                  </a:lnTo>
                  <a:close/>
                  <a:moveTo>
                    <a:pt x="192906" y="186976"/>
                  </a:moveTo>
                  <a:lnTo>
                    <a:pt x="218494" y="210407"/>
                  </a:lnTo>
                  <a:cubicBezTo>
                    <a:pt x="223262" y="204041"/>
                    <a:pt x="225952" y="196358"/>
                    <a:pt x="226199" y="188404"/>
                  </a:cubicBezTo>
                  <a:cubicBezTo>
                    <a:pt x="226422" y="197137"/>
                    <a:pt x="223709" y="205691"/>
                    <a:pt x="218494" y="212693"/>
                  </a:cubicBezTo>
                  <a:lnTo>
                    <a:pt x="190623" y="186976"/>
                  </a:lnTo>
                  <a:lnTo>
                    <a:pt x="192906" y="186976"/>
                  </a:lnTo>
                  <a:close/>
                  <a:moveTo>
                    <a:pt x="246079" y="235744"/>
                  </a:moveTo>
                  <a:lnTo>
                    <a:pt x="270240" y="257842"/>
                  </a:lnTo>
                  <a:cubicBezTo>
                    <a:pt x="286674" y="238492"/>
                    <a:pt x="295828" y="213994"/>
                    <a:pt x="296113" y="188595"/>
                  </a:cubicBezTo>
                  <a:cubicBezTo>
                    <a:pt x="296395" y="214785"/>
                    <a:pt x="287205" y="240193"/>
                    <a:pt x="270240" y="260128"/>
                  </a:cubicBezTo>
                  <a:lnTo>
                    <a:pt x="243511" y="236125"/>
                  </a:lnTo>
                  <a:lnTo>
                    <a:pt x="245794" y="236125"/>
                  </a:lnTo>
                  <a:close/>
                  <a:moveTo>
                    <a:pt x="241609" y="133731"/>
                  </a:moveTo>
                  <a:lnTo>
                    <a:pt x="239421" y="133731"/>
                  </a:lnTo>
                  <a:lnTo>
                    <a:pt x="244557" y="138398"/>
                  </a:lnTo>
                  <a:lnTo>
                    <a:pt x="245128" y="136684"/>
                  </a:lnTo>
                  <a:lnTo>
                    <a:pt x="241609" y="133445"/>
                  </a:lnTo>
                  <a:close/>
                  <a:moveTo>
                    <a:pt x="241609" y="148495"/>
                  </a:moveTo>
                  <a:lnTo>
                    <a:pt x="241133" y="147828"/>
                  </a:lnTo>
                  <a:lnTo>
                    <a:pt x="240087" y="148590"/>
                  </a:lnTo>
                  <a:lnTo>
                    <a:pt x="241133" y="150114"/>
                  </a:lnTo>
                  <a:cubicBezTo>
                    <a:pt x="246205" y="157057"/>
                    <a:pt x="249887" y="164916"/>
                    <a:pt x="251977" y="173260"/>
                  </a:cubicBezTo>
                  <a:lnTo>
                    <a:pt x="262535" y="177451"/>
                  </a:lnTo>
                  <a:lnTo>
                    <a:pt x="263201" y="192596"/>
                  </a:lnTo>
                  <a:lnTo>
                    <a:pt x="263201" y="192596"/>
                  </a:lnTo>
                  <a:lnTo>
                    <a:pt x="262535" y="175355"/>
                  </a:lnTo>
                  <a:lnTo>
                    <a:pt x="251977" y="171164"/>
                  </a:lnTo>
                  <a:cubicBezTo>
                    <a:pt x="250032" y="163187"/>
                    <a:pt x="246648" y="155633"/>
                    <a:pt x="241989" y="148876"/>
                  </a:cubicBezTo>
                  <a:close/>
                  <a:moveTo>
                    <a:pt x="244367" y="221837"/>
                  </a:moveTo>
                  <a:lnTo>
                    <a:pt x="243226" y="221837"/>
                  </a:lnTo>
                  <a:lnTo>
                    <a:pt x="247506" y="231362"/>
                  </a:lnTo>
                  <a:lnTo>
                    <a:pt x="248933" y="232220"/>
                  </a:lnTo>
                  <a:lnTo>
                    <a:pt x="244367" y="221742"/>
                  </a:lnTo>
                  <a:close/>
                  <a:moveTo>
                    <a:pt x="191670" y="296132"/>
                  </a:moveTo>
                  <a:cubicBezTo>
                    <a:pt x="218548" y="295003"/>
                    <a:pt x="244046" y="283901"/>
                    <a:pt x="263201" y="264986"/>
                  </a:cubicBezTo>
                  <a:lnTo>
                    <a:pt x="264438" y="263843"/>
                  </a:lnTo>
                  <a:lnTo>
                    <a:pt x="266911" y="263843"/>
                  </a:lnTo>
                  <a:cubicBezTo>
                    <a:pt x="247720" y="285339"/>
                    <a:pt x="220459" y="297866"/>
                    <a:pt x="191670" y="298418"/>
                  </a:cubicBezTo>
                  <a:cubicBezTo>
                    <a:pt x="163172" y="299481"/>
                    <a:pt x="135364" y="289483"/>
                    <a:pt x="114051" y="270510"/>
                  </a:cubicBezTo>
                  <a:lnTo>
                    <a:pt x="116429" y="270510"/>
                  </a:lnTo>
                  <a:cubicBezTo>
                    <a:pt x="137382" y="288271"/>
                    <a:pt x="164242" y="297486"/>
                    <a:pt x="191670" y="296323"/>
                  </a:cubicBezTo>
                  <a:close/>
                  <a:moveTo>
                    <a:pt x="165036" y="219456"/>
                  </a:moveTo>
                  <a:cubicBezTo>
                    <a:pt x="179260" y="229099"/>
                    <a:pt x="198110" y="228286"/>
                    <a:pt x="211455" y="217456"/>
                  </a:cubicBezTo>
                  <a:lnTo>
                    <a:pt x="212692" y="216408"/>
                  </a:lnTo>
                  <a:lnTo>
                    <a:pt x="215165" y="216408"/>
                  </a:lnTo>
                  <a:lnTo>
                    <a:pt x="212692" y="218789"/>
                  </a:lnTo>
                  <a:cubicBezTo>
                    <a:pt x="198941" y="231073"/>
                    <a:pt x="178450" y="231949"/>
                    <a:pt x="163704" y="220885"/>
                  </a:cubicBezTo>
                  <a:lnTo>
                    <a:pt x="161326" y="219075"/>
                  </a:lnTo>
                  <a:lnTo>
                    <a:pt x="163704" y="219075"/>
                  </a:lnTo>
                  <a:lnTo>
                    <a:pt x="165036" y="219932"/>
                  </a:lnTo>
                  <a:close/>
                  <a:moveTo>
                    <a:pt x="148390" y="188595"/>
                  </a:moveTo>
                  <a:lnTo>
                    <a:pt x="148390" y="189167"/>
                  </a:lnTo>
                  <a:cubicBezTo>
                    <a:pt x="148751" y="198044"/>
                    <a:pt x="152104" y="206538"/>
                    <a:pt x="157902" y="213265"/>
                  </a:cubicBezTo>
                  <a:lnTo>
                    <a:pt x="181302" y="187643"/>
                  </a:lnTo>
                  <a:lnTo>
                    <a:pt x="183584" y="187643"/>
                  </a:lnTo>
                  <a:lnTo>
                    <a:pt x="157902" y="215551"/>
                  </a:lnTo>
                  <a:cubicBezTo>
                    <a:pt x="152078" y="208840"/>
                    <a:pt x="148721" y="200337"/>
                    <a:pt x="148390" y="191453"/>
                  </a:cubicBezTo>
                  <a:lnTo>
                    <a:pt x="148390" y="188595"/>
                  </a:lnTo>
                  <a:close/>
                  <a:moveTo>
                    <a:pt x="78380" y="188595"/>
                  </a:moveTo>
                  <a:cubicBezTo>
                    <a:pt x="78380" y="190691"/>
                    <a:pt x="78380" y="192691"/>
                    <a:pt x="78380" y="194786"/>
                  </a:cubicBezTo>
                  <a:cubicBezTo>
                    <a:pt x="79542" y="222303"/>
                    <a:pt x="91103" y="248350"/>
                    <a:pt x="110721" y="267653"/>
                  </a:cubicBezTo>
                  <a:lnTo>
                    <a:pt x="135073" y="241078"/>
                  </a:lnTo>
                  <a:lnTo>
                    <a:pt x="132790" y="241078"/>
                  </a:lnTo>
                  <a:lnTo>
                    <a:pt x="110721" y="265271"/>
                  </a:lnTo>
                  <a:cubicBezTo>
                    <a:pt x="91103" y="245969"/>
                    <a:pt x="79542" y="219922"/>
                    <a:pt x="78380" y="192405"/>
                  </a:cubicBezTo>
                  <a:cubicBezTo>
                    <a:pt x="78380" y="191072"/>
                    <a:pt x="78380" y="189833"/>
                    <a:pt x="78380" y="188500"/>
                  </a:cubicBezTo>
                  <a:close/>
                  <a:moveTo>
                    <a:pt x="129365" y="237744"/>
                  </a:moveTo>
                  <a:lnTo>
                    <a:pt x="132980" y="226886"/>
                  </a:lnTo>
                  <a:lnTo>
                    <a:pt x="134026" y="226028"/>
                  </a:lnTo>
                  <a:lnTo>
                    <a:pt x="130507" y="236506"/>
                  </a:lnTo>
                  <a:lnTo>
                    <a:pt x="129365" y="237744"/>
                  </a:lnTo>
                  <a:close/>
                  <a:moveTo>
                    <a:pt x="110912" y="184309"/>
                  </a:moveTo>
                  <a:lnTo>
                    <a:pt x="110912" y="182023"/>
                  </a:lnTo>
                  <a:lnTo>
                    <a:pt x="121090" y="176975"/>
                  </a:lnTo>
                  <a:cubicBezTo>
                    <a:pt x="122329" y="168810"/>
                    <a:pt x="125105" y="160956"/>
                    <a:pt x="129270" y="153829"/>
                  </a:cubicBezTo>
                  <a:lnTo>
                    <a:pt x="129841" y="152876"/>
                  </a:lnTo>
                  <a:lnTo>
                    <a:pt x="130982" y="152876"/>
                  </a:lnTo>
                  <a:cubicBezTo>
                    <a:pt x="126000" y="160733"/>
                    <a:pt x="122757" y="169567"/>
                    <a:pt x="121470" y="178784"/>
                  </a:cubicBezTo>
                  <a:lnTo>
                    <a:pt x="111387" y="183833"/>
                  </a:lnTo>
                  <a:close/>
                  <a:moveTo>
                    <a:pt x="125180" y="142399"/>
                  </a:moveTo>
                  <a:lnTo>
                    <a:pt x="128414" y="138875"/>
                  </a:lnTo>
                  <a:lnTo>
                    <a:pt x="130602" y="138875"/>
                  </a:lnTo>
                  <a:lnTo>
                    <a:pt x="126512" y="143256"/>
                  </a:ln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40" name="Freeform 39">
              <a:extLst>
                <a:ext uri="{FF2B5EF4-FFF2-40B4-BE49-F238E27FC236}">
                  <a16:creationId xmlns="" xmlns:a16="http://schemas.microsoft.com/office/drawing/2014/main" id="{1A753DB9-85E5-9D49-9EC5-ED0335EC85FC}"/>
                </a:ext>
              </a:extLst>
            </p:cNvPr>
            <p:cNvSpPr/>
            <p:nvPr/>
          </p:nvSpPr>
          <p:spPr>
            <a:xfrm>
              <a:off x="4542695" y="4468396"/>
              <a:ext cx="1027164" cy="1028552"/>
            </a:xfrm>
            <a:custGeom>
              <a:avLst/>
              <a:gdLst>
                <a:gd name="connsiteX0" fmla="*/ 472469 w 903653"/>
                <a:gd name="connsiteY0" fmla="*/ 56868 h 904875"/>
                <a:gd name="connsiteX1" fmla="*/ 571966 w 903653"/>
                <a:gd name="connsiteY1" fmla="*/ 74965 h 904875"/>
                <a:gd name="connsiteX2" fmla="*/ 585758 w 903653"/>
                <a:gd name="connsiteY2" fmla="*/ 40008 h 904875"/>
                <a:gd name="connsiteX3" fmla="*/ 602024 w 903653"/>
                <a:gd name="connsiteY3" fmla="*/ 32960 h 904875"/>
                <a:gd name="connsiteX4" fmla="*/ 628848 w 903653"/>
                <a:gd name="connsiteY4" fmla="*/ 43628 h 904875"/>
                <a:gd name="connsiteX5" fmla="*/ 635940 w 903653"/>
                <a:gd name="connsiteY5" fmla="*/ 59782 h 904875"/>
                <a:gd name="connsiteX6" fmla="*/ 635887 w 903653"/>
                <a:gd name="connsiteY6" fmla="*/ 59916 h 904875"/>
                <a:gd name="connsiteX7" fmla="*/ 622285 w 903653"/>
                <a:gd name="connsiteY7" fmla="*/ 94872 h 904875"/>
                <a:gd name="connsiteX8" fmla="*/ 707228 w 903653"/>
                <a:gd name="connsiteY8" fmla="*/ 149832 h 904875"/>
                <a:gd name="connsiteX9" fmla="*/ 733387 w 903653"/>
                <a:gd name="connsiteY9" fmla="*/ 122685 h 904875"/>
                <a:gd name="connsiteX10" fmla="*/ 751009 w 903653"/>
                <a:gd name="connsiteY10" fmla="*/ 122615 h 904875"/>
                <a:gd name="connsiteX11" fmla="*/ 751079 w 903653"/>
                <a:gd name="connsiteY11" fmla="*/ 122685 h 904875"/>
                <a:gd name="connsiteX12" fmla="*/ 771816 w 903653"/>
                <a:gd name="connsiteY12" fmla="*/ 142688 h 904875"/>
                <a:gd name="connsiteX13" fmla="*/ 771816 w 903653"/>
                <a:gd name="connsiteY13" fmla="*/ 160500 h 904875"/>
                <a:gd name="connsiteX14" fmla="*/ 745943 w 903653"/>
                <a:gd name="connsiteY14" fmla="*/ 187074 h 904875"/>
                <a:gd name="connsiteX15" fmla="*/ 803491 w 903653"/>
                <a:gd name="connsiteY15" fmla="*/ 270228 h 904875"/>
                <a:gd name="connsiteX16" fmla="*/ 837925 w 903653"/>
                <a:gd name="connsiteY16" fmla="*/ 255273 h 904875"/>
                <a:gd name="connsiteX17" fmla="*/ 854476 w 903653"/>
                <a:gd name="connsiteY17" fmla="*/ 261846 h 904875"/>
                <a:gd name="connsiteX18" fmla="*/ 865891 w 903653"/>
                <a:gd name="connsiteY18" fmla="*/ 288325 h 904875"/>
                <a:gd name="connsiteX19" fmla="*/ 859450 w 903653"/>
                <a:gd name="connsiteY19" fmla="*/ 304751 h 904875"/>
                <a:gd name="connsiteX20" fmla="*/ 859328 w 903653"/>
                <a:gd name="connsiteY20" fmla="*/ 304803 h 904875"/>
                <a:gd name="connsiteX21" fmla="*/ 824798 w 903653"/>
                <a:gd name="connsiteY21" fmla="*/ 320424 h 904875"/>
                <a:gd name="connsiteX22" fmla="*/ 846011 w 903653"/>
                <a:gd name="connsiteY22" fmla="*/ 419389 h 904875"/>
                <a:gd name="connsiteX23" fmla="*/ 883584 w 903653"/>
                <a:gd name="connsiteY23" fmla="*/ 418818 h 904875"/>
                <a:gd name="connsiteX24" fmla="*/ 896330 w 903653"/>
                <a:gd name="connsiteY24" fmla="*/ 431197 h 904875"/>
                <a:gd name="connsiteX25" fmla="*/ 896330 w 903653"/>
                <a:gd name="connsiteY25" fmla="*/ 431200 h 904875"/>
                <a:gd name="connsiteX26" fmla="*/ 896805 w 903653"/>
                <a:gd name="connsiteY26" fmla="*/ 459775 h 904875"/>
                <a:gd name="connsiteX27" fmla="*/ 884440 w 903653"/>
                <a:gd name="connsiteY27" fmla="*/ 472539 h 904875"/>
                <a:gd name="connsiteX28" fmla="*/ 846867 w 903653"/>
                <a:gd name="connsiteY28" fmla="*/ 473110 h 904875"/>
                <a:gd name="connsiteX29" fmla="*/ 828889 w 903653"/>
                <a:gd name="connsiteY29" fmla="*/ 572742 h 904875"/>
                <a:gd name="connsiteX30" fmla="*/ 863703 w 903653"/>
                <a:gd name="connsiteY30" fmla="*/ 586553 h 904875"/>
                <a:gd name="connsiteX31" fmla="*/ 870795 w 903653"/>
                <a:gd name="connsiteY31" fmla="*/ 602707 h 904875"/>
                <a:gd name="connsiteX32" fmla="*/ 870742 w 903653"/>
                <a:gd name="connsiteY32" fmla="*/ 602841 h 904875"/>
                <a:gd name="connsiteX33" fmla="*/ 860089 w 903653"/>
                <a:gd name="connsiteY33" fmla="*/ 629606 h 904875"/>
                <a:gd name="connsiteX34" fmla="*/ 843823 w 903653"/>
                <a:gd name="connsiteY34" fmla="*/ 636655 h 904875"/>
                <a:gd name="connsiteX35" fmla="*/ 808913 w 903653"/>
                <a:gd name="connsiteY35" fmla="*/ 622843 h 904875"/>
                <a:gd name="connsiteX36" fmla="*/ 754028 w 903653"/>
                <a:gd name="connsiteY36" fmla="*/ 707806 h 904875"/>
                <a:gd name="connsiteX37" fmla="*/ 781043 w 903653"/>
                <a:gd name="connsiteY37" fmla="*/ 734000 h 904875"/>
                <a:gd name="connsiteX38" fmla="*/ 781043 w 903653"/>
                <a:gd name="connsiteY38" fmla="*/ 751812 h 904875"/>
                <a:gd name="connsiteX39" fmla="*/ 760972 w 903653"/>
                <a:gd name="connsiteY39" fmla="*/ 772481 h 904875"/>
                <a:gd name="connsiteX40" fmla="*/ 743485 w 903653"/>
                <a:gd name="connsiteY40" fmla="*/ 772687 h 904875"/>
                <a:gd name="connsiteX41" fmla="*/ 743279 w 903653"/>
                <a:gd name="connsiteY41" fmla="*/ 772481 h 904875"/>
                <a:gd name="connsiteX42" fmla="*/ 716265 w 903653"/>
                <a:gd name="connsiteY42" fmla="*/ 746287 h 904875"/>
                <a:gd name="connsiteX43" fmla="*/ 633129 w 903653"/>
                <a:gd name="connsiteY43" fmla="*/ 804009 h 904875"/>
                <a:gd name="connsiteX44" fmla="*/ 648063 w 903653"/>
                <a:gd name="connsiteY44" fmla="*/ 838489 h 904875"/>
                <a:gd name="connsiteX45" fmla="*/ 641500 w 903653"/>
                <a:gd name="connsiteY45" fmla="*/ 854967 h 904875"/>
                <a:gd name="connsiteX46" fmla="*/ 615056 w 903653"/>
                <a:gd name="connsiteY46" fmla="*/ 866493 h 904875"/>
                <a:gd name="connsiteX47" fmla="*/ 598600 w 903653"/>
                <a:gd name="connsiteY47" fmla="*/ 859920 h 904875"/>
                <a:gd name="connsiteX48" fmla="*/ 584236 w 903653"/>
                <a:gd name="connsiteY48" fmla="*/ 825726 h 904875"/>
                <a:gd name="connsiteX49" fmla="*/ 485405 w 903653"/>
                <a:gd name="connsiteY49" fmla="*/ 847062 h 904875"/>
                <a:gd name="connsiteX50" fmla="*/ 485976 w 903653"/>
                <a:gd name="connsiteY50" fmla="*/ 885162 h 904875"/>
                <a:gd name="connsiteX51" fmla="*/ 473705 w 903653"/>
                <a:gd name="connsiteY51" fmla="*/ 897925 h 904875"/>
                <a:gd name="connsiteX52" fmla="*/ 445169 w 903653"/>
                <a:gd name="connsiteY52" fmla="*/ 897925 h 904875"/>
                <a:gd name="connsiteX53" fmla="*/ 432423 w 903653"/>
                <a:gd name="connsiteY53" fmla="*/ 885543 h 904875"/>
                <a:gd name="connsiteX54" fmla="*/ 431852 w 903653"/>
                <a:gd name="connsiteY54" fmla="*/ 847443 h 904875"/>
                <a:gd name="connsiteX55" fmla="*/ 332355 w 903653"/>
                <a:gd name="connsiteY55" fmla="*/ 829345 h 904875"/>
                <a:gd name="connsiteX56" fmla="*/ 317896 w 903653"/>
                <a:gd name="connsiteY56" fmla="*/ 864778 h 904875"/>
                <a:gd name="connsiteX57" fmla="*/ 301630 w 903653"/>
                <a:gd name="connsiteY57" fmla="*/ 871827 h 904875"/>
                <a:gd name="connsiteX58" fmla="*/ 274806 w 903653"/>
                <a:gd name="connsiteY58" fmla="*/ 861159 h 904875"/>
                <a:gd name="connsiteX59" fmla="*/ 267715 w 903653"/>
                <a:gd name="connsiteY59" fmla="*/ 845004 h 904875"/>
                <a:gd name="connsiteX60" fmla="*/ 267767 w 903653"/>
                <a:gd name="connsiteY60" fmla="*/ 844871 h 904875"/>
                <a:gd name="connsiteX61" fmla="*/ 281560 w 903653"/>
                <a:gd name="connsiteY61" fmla="*/ 809914 h 904875"/>
                <a:gd name="connsiteX62" fmla="*/ 196616 w 903653"/>
                <a:gd name="connsiteY62" fmla="*/ 755050 h 904875"/>
                <a:gd name="connsiteX63" fmla="*/ 170458 w 903653"/>
                <a:gd name="connsiteY63" fmla="*/ 782101 h 904875"/>
                <a:gd name="connsiteX64" fmla="*/ 152765 w 903653"/>
                <a:gd name="connsiteY64" fmla="*/ 782101 h 904875"/>
                <a:gd name="connsiteX65" fmla="*/ 132029 w 903653"/>
                <a:gd name="connsiteY65" fmla="*/ 762003 h 904875"/>
                <a:gd name="connsiteX66" fmla="*/ 132029 w 903653"/>
                <a:gd name="connsiteY66" fmla="*/ 744192 h 904875"/>
                <a:gd name="connsiteX67" fmla="*/ 158187 w 903653"/>
                <a:gd name="connsiteY67" fmla="*/ 717141 h 904875"/>
                <a:gd name="connsiteX68" fmla="*/ 101115 w 903653"/>
                <a:gd name="connsiteY68" fmla="*/ 633987 h 904875"/>
                <a:gd name="connsiteX69" fmla="*/ 66680 w 903653"/>
                <a:gd name="connsiteY69" fmla="*/ 648942 h 904875"/>
                <a:gd name="connsiteX70" fmla="*/ 50129 w 903653"/>
                <a:gd name="connsiteY70" fmla="*/ 642369 h 904875"/>
                <a:gd name="connsiteX71" fmla="*/ 38715 w 903653"/>
                <a:gd name="connsiteY71" fmla="*/ 615890 h 904875"/>
                <a:gd name="connsiteX72" fmla="*/ 45183 w 903653"/>
                <a:gd name="connsiteY72" fmla="*/ 599412 h 904875"/>
                <a:gd name="connsiteX73" fmla="*/ 79617 w 903653"/>
                <a:gd name="connsiteY73" fmla="*/ 584457 h 904875"/>
                <a:gd name="connsiteX74" fmla="*/ 58405 w 903653"/>
                <a:gd name="connsiteY74" fmla="*/ 485493 h 904875"/>
                <a:gd name="connsiteX75" fmla="*/ 20356 w 903653"/>
                <a:gd name="connsiteY75" fmla="*/ 486064 h 904875"/>
                <a:gd name="connsiteX76" fmla="*/ 7610 w 903653"/>
                <a:gd name="connsiteY76" fmla="*/ 473685 h 904875"/>
                <a:gd name="connsiteX77" fmla="*/ 7610 w 903653"/>
                <a:gd name="connsiteY77" fmla="*/ 473682 h 904875"/>
                <a:gd name="connsiteX78" fmla="*/ 7134 w 903653"/>
                <a:gd name="connsiteY78" fmla="*/ 445107 h 904875"/>
                <a:gd name="connsiteX79" fmla="*/ 19500 w 903653"/>
                <a:gd name="connsiteY79" fmla="*/ 432438 h 904875"/>
                <a:gd name="connsiteX80" fmla="*/ 57073 w 903653"/>
                <a:gd name="connsiteY80" fmla="*/ 431772 h 904875"/>
                <a:gd name="connsiteX81" fmla="*/ 75051 w 903653"/>
                <a:gd name="connsiteY81" fmla="*/ 332140 h 904875"/>
                <a:gd name="connsiteX82" fmla="*/ 40237 w 903653"/>
                <a:gd name="connsiteY82" fmla="*/ 318329 h 904875"/>
                <a:gd name="connsiteX83" fmla="*/ 33145 w 903653"/>
                <a:gd name="connsiteY83" fmla="*/ 302175 h 904875"/>
                <a:gd name="connsiteX84" fmla="*/ 33198 w 903653"/>
                <a:gd name="connsiteY84" fmla="*/ 302041 h 904875"/>
                <a:gd name="connsiteX85" fmla="*/ 43756 w 903653"/>
                <a:gd name="connsiteY85" fmla="*/ 275276 h 904875"/>
                <a:gd name="connsiteX86" fmla="*/ 60022 w 903653"/>
                <a:gd name="connsiteY86" fmla="*/ 268132 h 904875"/>
                <a:gd name="connsiteX87" fmla="*/ 94932 w 903653"/>
                <a:gd name="connsiteY87" fmla="*/ 281943 h 904875"/>
                <a:gd name="connsiteX88" fmla="*/ 149817 w 903653"/>
                <a:gd name="connsiteY88" fmla="*/ 196980 h 904875"/>
                <a:gd name="connsiteX89" fmla="*/ 122802 w 903653"/>
                <a:gd name="connsiteY89" fmla="*/ 170787 h 904875"/>
                <a:gd name="connsiteX90" fmla="*/ 122802 w 903653"/>
                <a:gd name="connsiteY90" fmla="*/ 152975 h 904875"/>
                <a:gd name="connsiteX91" fmla="*/ 142873 w 903653"/>
                <a:gd name="connsiteY91" fmla="*/ 132306 h 904875"/>
                <a:gd name="connsiteX92" fmla="*/ 160495 w 903653"/>
                <a:gd name="connsiteY92" fmla="*/ 132235 h 904875"/>
                <a:gd name="connsiteX93" fmla="*/ 160565 w 903653"/>
                <a:gd name="connsiteY93" fmla="*/ 132306 h 904875"/>
                <a:gd name="connsiteX94" fmla="*/ 187580 w 903653"/>
                <a:gd name="connsiteY94" fmla="*/ 158499 h 904875"/>
                <a:gd name="connsiteX95" fmla="*/ 270716 w 903653"/>
                <a:gd name="connsiteY95" fmla="*/ 100778 h 904875"/>
                <a:gd name="connsiteX96" fmla="*/ 255782 w 903653"/>
                <a:gd name="connsiteY96" fmla="*/ 66297 h 904875"/>
                <a:gd name="connsiteX97" fmla="*/ 262345 w 903653"/>
                <a:gd name="connsiteY97" fmla="*/ 49819 h 904875"/>
                <a:gd name="connsiteX98" fmla="*/ 288694 w 903653"/>
                <a:gd name="connsiteY98" fmla="*/ 38294 h 904875"/>
                <a:gd name="connsiteX99" fmla="*/ 305245 w 903653"/>
                <a:gd name="connsiteY99" fmla="*/ 44866 h 904875"/>
                <a:gd name="connsiteX100" fmla="*/ 320084 w 903653"/>
                <a:gd name="connsiteY100" fmla="*/ 79347 h 904875"/>
                <a:gd name="connsiteX101" fmla="*/ 419010 w 903653"/>
                <a:gd name="connsiteY101" fmla="*/ 58011 h 904875"/>
                <a:gd name="connsiteX102" fmla="*/ 418345 w 903653"/>
                <a:gd name="connsiteY102" fmla="*/ 19911 h 904875"/>
                <a:gd name="connsiteX103" fmla="*/ 430710 w 903653"/>
                <a:gd name="connsiteY103" fmla="*/ 7147 h 904875"/>
                <a:gd name="connsiteX104" fmla="*/ 459247 w 903653"/>
                <a:gd name="connsiteY104" fmla="*/ 7147 h 904875"/>
                <a:gd name="connsiteX105" fmla="*/ 471991 w 903653"/>
                <a:gd name="connsiteY105" fmla="*/ 19334 h 904875"/>
                <a:gd name="connsiteX106" fmla="*/ 471993 w 903653"/>
                <a:gd name="connsiteY106" fmla="*/ 19434 h 904875"/>
                <a:gd name="connsiteX107" fmla="*/ 472564 w 903653"/>
                <a:gd name="connsiteY107" fmla="*/ 57534 h 904875"/>
                <a:gd name="connsiteX108" fmla="*/ 447547 w 903653"/>
                <a:gd name="connsiteY108" fmla="*/ 182598 h 904875"/>
                <a:gd name="connsiteX109" fmla="*/ 182514 w 903653"/>
                <a:gd name="connsiteY109" fmla="*/ 456821 h 904875"/>
                <a:gd name="connsiteX110" fmla="*/ 456368 w 903653"/>
                <a:gd name="connsiteY110" fmla="*/ 722212 h 904875"/>
                <a:gd name="connsiteX111" fmla="*/ 721402 w 903653"/>
                <a:gd name="connsiteY111" fmla="*/ 448059 h 904875"/>
                <a:gd name="connsiteX112" fmla="*/ 447618 w 903653"/>
                <a:gd name="connsiteY112" fmla="*/ 182596 h 904875"/>
                <a:gd name="connsiteX113" fmla="*/ 447547 w 903653"/>
                <a:gd name="connsiteY113" fmla="*/ 182598 h 90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903653" h="904875">
                  <a:moveTo>
                    <a:pt x="472469" y="56868"/>
                  </a:moveTo>
                  <a:cubicBezTo>
                    <a:pt x="506272" y="58604"/>
                    <a:pt x="539712" y="64686"/>
                    <a:pt x="571966" y="74965"/>
                  </a:cubicBezTo>
                  <a:lnTo>
                    <a:pt x="585758" y="40008"/>
                  </a:lnTo>
                  <a:cubicBezTo>
                    <a:pt x="588356" y="33613"/>
                    <a:pt x="595590" y="30478"/>
                    <a:pt x="602024" y="32960"/>
                  </a:cubicBezTo>
                  <a:lnTo>
                    <a:pt x="628848" y="43628"/>
                  </a:lnTo>
                  <a:cubicBezTo>
                    <a:pt x="635262" y="46128"/>
                    <a:pt x="638437" y="53360"/>
                    <a:pt x="635940" y="59782"/>
                  </a:cubicBezTo>
                  <a:cubicBezTo>
                    <a:pt x="635923" y="59827"/>
                    <a:pt x="635905" y="59871"/>
                    <a:pt x="635887" y="59916"/>
                  </a:cubicBezTo>
                  <a:lnTo>
                    <a:pt x="622285" y="94872"/>
                  </a:lnTo>
                  <a:cubicBezTo>
                    <a:pt x="652837" y="109468"/>
                    <a:pt x="681386" y="127939"/>
                    <a:pt x="707228" y="149832"/>
                  </a:cubicBezTo>
                  <a:lnTo>
                    <a:pt x="733387" y="122685"/>
                  </a:lnTo>
                  <a:cubicBezTo>
                    <a:pt x="738234" y="117793"/>
                    <a:pt x="746123" y="117762"/>
                    <a:pt x="751009" y="122615"/>
                  </a:cubicBezTo>
                  <a:cubicBezTo>
                    <a:pt x="751032" y="122638"/>
                    <a:pt x="751056" y="122662"/>
                    <a:pt x="751079" y="122685"/>
                  </a:cubicBezTo>
                  <a:lnTo>
                    <a:pt x="771816" y="142688"/>
                  </a:lnTo>
                  <a:cubicBezTo>
                    <a:pt x="776688" y="147623"/>
                    <a:pt x="776688" y="155564"/>
                    <a:pt x="771816" y="160500"/>
                  </a:cubicBezTo>
                  <a:lnTo>
                    <a:pt x="745943" y="187074"/>
                  </a:lnTo>
                  <a:cubicBezTo>
                    <a:pt x="768595" y="212216"/>
                    <a:pt x="787936" y="240161"/>
                    <a:pt x="803491" y="270228"/>
                  </a:cubicBezTo>
                  <a:lnTo>
                    <a:pt x="837925" y="255273"/>
                  </a:lnTo>
                  <a:cubicBezTo>
                    <a:pt x="844309" y="252603"/>
                    <a:pt x="851655" y="255520"/>
                    <a:pt x="854476" y="261846"/>
                  </a:cubicBezTo>
                  <a:lnTo>
                    <a:pt x="865891" y="288325"/>
                  </a:lnTo>
                  <a:cubicBezTo>
                    <a:pt x="868642" y="294642"/>
                    <a:pt x="865759" y="301996"/>
                    <a:pt x="859450" y="304751"/>
                  </a:cubicBezTo>
                  <a:cubicBezTo>
                    <a:pt x="859410" y="304769"/>
                    <a:pt x="859369" y="304786"/>
                    <a:pt x="859328" y="304803"/>
                  </a:cubicBezTo>
                  <a:lnTo>
                    <a:pt x="824798" y="320424"/>
                  </a:lnTo>
                  <a:cubicBezTo>
                    <a:pt x="836072" y="352367"/>
                    <a:pt x="843201" y="385627"/>
                    <a:pt x="846011" y="419389"/>
                  </a:cubicBezTo>
                  <a:lnTo>
                    <a:pt x="883584" y="418818"/>
                  </a:lnTo>
                  <a:cubicBezTo>
                    <a:pt x="890517" y="418712"/>
                    <a:pt x="896224" y="424254"/>
                    <a:pt x="896330" y="431197"/>
                  </a:cubicBezTo>
                  <a:cubicBezTo>
                    <a:pt x="896330" y="431198"/>
                    <a:pt x="896330" y="431199"/>
                    <a:pt x="896330" y="431200"/>
                  </a:cubicBezTo>
                  <a:lnTo>
                    <a:pt x="896805" y="459775"/>
                  </a:lnTo>
                  <a:cubicBezTo>
                    <a:pt x="896859" y="466699"/>
                    <a:pt x="891352" y="472383"/>
                    <a:pt x="884440" y="472539"/>
                  </a:cubicBezTo>
                  <a:lnTo>
                    <a:pt x="846867" y="473110"/>
                  </a:lnTo>
                  <a:cubicBezTo>
                    <a:pt x="845203" y="506960"/>
                    <a:pt x="839160" y="540450"/>
                    <a:pt x="828889" y="572742"/>
                  </a:cubicBezTo>
                  <a:lnTo>
                    <a:pt x="863703" y="586553"/>
                  </a:lnTo>
                  <a:cubicBezTo>
                    <a:pt x="870116" y="589053"/>
                    <a:pt x="873292" y="596285"/>
                    <a:pt x="870795" y="602707"/>
                  </a:cubicBezTo>
                  <a:cubicBezTo>
                    <a:pt x="870778" y="602752"/>
                    <a:pt x="870760" y="602796"/>
                    <a:pt x="870742" y="602841"/>
                  </a:cubicBezTo>
                  <a:lnTo>
                    <a:pt x="860089" y="629606"/>
                  </a:lnTo>
                  <a:cubicBezTo>
                    <a:pt x="857491" y="636001"/>
                    <a:pt x="850257" y="639136"/>
                    <a:pt x="843823" y="636655"/>
                  </a:cubicBezTo>
                  <a:lnTo>
                    <a:pt x="808913" y="622843"/>
                  </a:lnTo>
                  <a:cubicBezTo>
                    <a:pt x="794302" y="653387"/>
                    <a:pt x="775858" y="681939"/>
                    <a:pt x="754028" y="707806"/>
                  </a:cubicBezTo>
                  <a:lnTo>
                    <a:pt x="781043" y="734000"/>
                  </a:lnTo>
                  <a:cubicBezTo>
                    <a:pt x="785915" y="738935"/>
                    <a:pt x="785915" y="746876"/>
                    <a:pt x="781043" y="751812"/>
                  </a:cubicBezTo>
                  <a:lnTo>
                    <a:pt x="760972" y="772481"/>
                  </a:lnTo>
                  <a:cubicBezTo>
                    <a:pt x="756200" y="777373"/>
                    <a:pt x="748371" y="777466"/>
                    <a:pt x="743485" y="772687"/>
                  </a:cubicBezTo>
                  <a:cubicBezTo>
                    <a:pt x="743416" y="772619"/>
                    <a:pt x="743347" y="772551"/>
                    <a:pt x="743279" y="772481"/>
                  </a:cubicBezTo>
                  <a:lnTo>
                    <a:pt x="716265" y="746287"/>
                  </a:lnTo>
                  <a:cubicBezTo>
                    <a:pt x="691143" y="769023"/>
                    <a:pt x="663201" y="788423"/>
                    <a:pt x="633129" y="804009"/>
                  </a:cubicBezTo>
                  <a:lnTo>
                    <a:pt x="648063" y="838489"/>
                  </a:lnTo>
                  <a:cubicBezTo>
                    <a:pt x="650778" y="844855"/>
                    <a:pt x="647844" y="852220"/>
                    <a:pt x="641500" y="854967"/>
                  </a:cubicBezTo>
                  <a:lnTo>
                    <a:pt x="615056" y="866493"/>
                  </a:lnTo>
                  <a:cubicBezTo>
                    <a:pt x="608698" y="869155"/>
                    <a:pt x="601382" y="866233"/>
                    <a:pt x="598600" y="859920"/>
                  </a:cubicBezTo>
                  <a:lnTo>
                    <a:pt x="584236" y="825726"/>
                  </a:lnTo>
                  <a:cubicBezTo>
                    <a:pt x="552341" y="837046"/>
                    <a:pt x="519125" y="844217"/>
                    <a:pt x="485405" y="847062"/>
                  </a:cubicBezTo>
                  <a:lnTo>
                    <a:pt x="485976" y="885162"/>
                  </a:lnTo>
                  <a:cubicBezTo>
                    <a:pt x="486082" y="892069"/>
                    <a:pt x="480603" y="897769"/>
                    <a:pt x="473705" y="897925"/>
                  </a:cubicBezTo>
                  <a:lnTo>
                    <a:pt x="445169" y="897925"/>
                  </a:lnTo>
                  <a:cubicBezTo>
                    <a:pt x="438255" y="897979"/>
                    <a:pt x="432578" y="892464"/>
                    <a:pt x="432423" y="885543"/>
                  </a:cubicBezTo>
                  <a:lnTo>
                    <a:pt x="431852" y="847443"/>
                  </a:lnTo>
                  <a:cubicBezTo>
                    <a:pt x="398048" y="845707"/>
                    <a:pt x="364608" y="839624"/>
                    <a:pt x="332355" y="829345"/>
                  </a:cubicBezTo>
                  <a:lnTo>
                    <a:pt x="317896" y="864778"/>
                  </a:lnTo>
                  <a:cubicBezTo>
                    <a:pt x="315338" y="871212"/>
                    <a:pt x="308066" y="874364"/>
                    <a:pt x="301630" y="871827"/>
                  </a:cubicBezTo>
                  <a:lnTo>
                    <a:pt x="274806" y="861159"/>
                  </a:lnTo>
                  <a:cubicBezTo>
                    <a:pt x="268393" y="858659"/>
                    <a:pt x="265218" y="851426"/>
                    <a:pt x="267715" y="845004"/>
                  </a:cubicBezTo>
                  <a:cubicBezTo>
                    <a:pt x="267732" y="844960"/>
                    <a:pt x="267750" y="844915"/>
                    <a:pt x="267767" y="844871"/>
                  </a:cubicBezTo>
                  <a:lnTo>
                    <a:pt x="281560" y="809914"/>
                  </a:lnTo>
                  <a:cubicBezTo>
                    <a:pt x="251031" y="795317"/>
                    <a:pt x="222486" y="776881"/>
                    <a:pt x="196616" y="755050"/>
                  </a:cubicBezTo>
                  <a:lnTo>
                    <a:pt x="170458" y="782101"/>
                  </a:lnTo>
                  <a:cubicBezTo>
                    <a:pt x="165562" y="786968"/>
                    <a:pt x="157661" y="786968"/>
                    <a:pt x="152765" y="782101"/>
                  </a:cubicBezTo>
                  <a:lnTo>
                    <a:pt x="132029" y="762003"/>
                  </a:lnTo>
                  <a:cubicBezTo>
                    <a:pt x="127157" y="757068"/>
                    <a:pt x="127157" y="749127"/>
                    <a:pt x="132029" y="744192"/>
                  </a:cubicBezTo>
                  <a:lnTo>
                    <a:pt x="158187" y="717141"/>
                  </a:lnTo>
                  <a:cubicBezTo>
                    <a:pt x="135682" y="691988"/>
                    <a:pt x="116500" y="664041"/>
                    <a:pt x="101115" y="633987"/>
                  </a:cubicBezTo>
                  <a:lnTo>
                    <a:pt x="66680" y="648942"/>
                  </a:lnTo>
                  <a:cubicBezTo>
                    <a:pt x="60297" y="651667"/>
                    <a:pt x="52913" y="648735"/>
                    <a:pt x="50129" y="642369"/>
                  </a:cubicBezTo>
                  <a:lnTo>
                    <a:pt x="38715" y="615890"/>
                  </a:lnTo>
                  <a:cubicBezTo>
                    <a:pt x="35988" y="609550"/>
                    <a:pt x="38875" y="602195"/>
                    <a:pt x="45183" y="599412"/>
                  </a:cubicBezTo>
                  <a:lnTo>
                    <a:pt x="79617" y="584457"/>
                  </a:lnTo>
                  <a:cubicBezTo>
                    <a:pt x="68308" y="552525"/>
                    <a:pt x="61177" y="519260"/>
                    <a:pt x="58405" y="485493"/>
                  </a:cubicBezTo>
                  <a:lnTo>
                    <a:pt x="20356" y="486064"/>
                  </a:lnTo>
                  <a:cubicBezTo>
                    <a:pt x="13423" y="486170"/>
                    <a:pt x="7716" y="480628"/>
                    <a:pt x="7610" y="473685"/>
                  </a:cubicBezTo>
                  <a:cubicBezTo>
                    <a:pt x="7610" y="473683"/>
                    <a:pt x="7610" y="473683"/>
                    <a:pt x="7610" y="473682"/>
                  </a:cubicBezTo>
                  <a:lnTo>
                    <a:pt x="7134" y="445107"/>
                  </a:lnTo>
                  <a:cubicBezTo>
                    <a:pt x="7081" y="438199"/>
                    <a:pt x="12603" y="432543"/>
                    <a:pt x="19500" y="432438"/>
                  </a:cubicBezTo>
                  <a:lnTo>
                    <a:pt x="57073" y="431772"/>
                  </a:lnTo>
                  <a:cubicBezTo>
                    <a:pt x="58737" y="397922"/>
                    <a:pt x="64780" y="364432"/>
                    <a:pt x="75051" y="332140"/>
                  </a:cubicBezTo>
                  <a:lnTo>
                    <a:pt x="40237" y="318329"/>
                  </a:lnTo>
                  <a:cubicBezTo>
                    <a:pt x="33824" y="315829"/>
                    <a:pt x="30648" y="308596"/>
                    <a:pt x="33145" y="302175"/>
                  </a:cubicBezTo>
                  <a:cubicBezTo>
                    <a:pt x="33162" y="302130"/>
                    <a:pt x="33180" y="302086"/>
                    <a:pt x="33198" y="302041"/>
                  </a:cubicBezTo>
                  <a:lnTo>
                    <a:pt x="43756" y="275276"/>
                  </a:lnTo>
                  <a:cubicBezTo>
                    <a:pt x="46317" y="268843"/>
                    <a:pt x="53562" y="265661"/>
                    <a:pt x="60022" y="268132"/>
                  </a:cubicBezTo>
                  <a:lnTo>
                    <a:pt x="94932" y="281943"/>
                  </a:lnTo>
                  <a:cubicBezTo>
                    <a:pt x="109543" y="251400"/>
                    <a:pt x="127987" y="222848"/>
                    <a:pt x="149817" y="196980"/>
                  </a:cubicBezTo>
                  <a:lnTo>
                    <a:pt x="122802" y="170787"/>
                  </a:lnTo>
                  <a:cubicBezTo>
                    <a:pt x="117930" y="165851"/>
                    <a:pt x="117930" y="157910"/>
                    <a:pt x="122802" y="152975"/>
                  </a:cubicBezTo>
                  <a:lnTo>
                    <a:pt x="142873" y="132306"/>
                  </a:lnTo>
                  <a:cubicBezTo>
                    <a:pt x="147720" y="127413"/>
                    <a:pt x="155609" y="127382"/>
                    <a:pt x="160495" y="132235"/>
                  </a:cubicBezTo>
                  <a:cubicBezTo>
                    <a:pt x="160519" y="132259"/>
                    <a:pt x="160542" y="132282"/>
                    <a:pt x="160565" y="132306"/>
                  </a:cubicBezTo>
                  <a:lnTo>
                    <a:pt x="187580" y="158499"/>
                  </a:lnTo>
                  <a:cubicBezTo>
                    <a:pt x="212727" y="135795"/>
                    <a:pt x="240664" y="116398"/>
                    <a:pt x="270716" y="100778"/>
                  </a:cubicBezTo>
                  <a:lnTo>
                    <a:pt x="255782" y="66297"/>
                  </a:lnTo>
                  <a:cubicBezTo>
                    <a:pt x="253067" y="59932"/>
                    <a:pt x="256001" y="52567"/>
                    <a:pt x="262345" y="49819"/>
                  </a:cubicBezTo>
                  <a:lnTo>
                    <a:pt x="288694" y="38294"/>
                  </a:lnTo>
                  <a:cubicBezTo>
                    <a:pt x="295078" y="35624"/>
                    <a:pt x="302424" y="38540"/>
                    <a:pt x="305245" y="44866"/>
                  </a:cubicBezTo>
                  <a:lnTo>
                    <a:pt x="320084" y="79347"/>
                  </a:lnTo>
                  <a:cubicBezTo>
                    <a:pt x="352015" y="68036"/>
                    <a:pt x="385261" y="60865"/>
                    <a:pt x="419010" y="58011"/>
                  </a:cubicBezTo>
                  <a:lnTo>
                    <a:pt x="418345" y="19911"/>
                  </a:lnTo>
                  <a:cubicBezTo>
                    <a:pt x="418341" y="13008"/>
                    <a:pt x="423820" y="7353"/>
                    <a:pt x="430710" y="7147"/>
                  </a:cubicBezTo>
                  <a:lnTo>
                    <a:pt x="459247" y="7147"/>
                  </a:lnTo>
                  <a:cubicBezTo>
                    <a:pt x="466127" y="6989"/>
                    <a:pt x="471833" y="12445"/>
                    <a:pt x="471991" y="19334"/>
                  </a:cubicBezTo>
                  <a:cubicBezTo>
                    <a:pt x="471992" y="19368"/>
                    <a:pt x="471993" y="19401"/>
                    <a:pt x="471993" y="19434"/>
                  </a:cubicBezTo>
                  <a:lnTo>
                    <a:pt x="472564" y="57534"/>
                  </a:lnTo>
                  <a:close/>
                  <a:moveTo>
                    <a:pt x="447547" y="182598"/>
                  </a:moveTo>
                  <a:cubicBezTo>
                    <a:pt x="298738" y="185037"/>
                    <a:pt x="180079" y="307811"/>
                    <a:pt x="182514" y="456821"/>
                  </a:cubicBezTo>
                  <a:cubicBezTo>
                    <a:pt x="184950" y="605832"/>
                    <a:pt x="307559" y="724651"/>
                    <a:pt x="456368" y="722212"/>
                  </a:cubicBezTo>
                  <a:cubicBezTo>
                    <a:pt x="605149" y="719773"/>
                    <a:pt x="723798" y="597043"/>
                    <a:pt x="721402" y="448059"/>
                  </a:cubicBezTo>
                  <a:cubicBezTo>
                    <a:pt x="719005" y="299048"/>
                    <a:pt x="596428" y="180197"/>
                    <a:pt x="447618" y="182596"/>
                  </a:cubicBezTo>
                  <a:cubicBezTo>
                    <a:pt x="447594" y="182597"/>
                    <a:pt x="447571" y="182597"/>
                    <a:pt x="447547" y="182598"/>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41" name="Freeform 40">
              <a:extLst>
                <a:ext uri="{FF2B5EF4-FFF2-40B4-BE49-F238E27FC236}">
                  <a16:creationId xmlns="" xmlns:a16="http://schemas.microsoft.com/office/drawing/2014/main" id="{6241800A-36DD-734C-8A87-7202FFC5B35A}"/>
                </a:ext>
              </a:extLst>
            </p:cNvPr>
            <p:cNvSpPr/>
            <p:nvPr/>
          </p:nvSpPr>
          <p:spPr>
            <a:xfrm>
              <a:off x="4542587" y="4468071"/>
              <a:ext cx="1027164" cy="1006898"/>
            </a:xfrm>
            <a:custGeom>
              <a:avLst/>
              <a:gdLst>
                <a:gd name="connsiteX0" fmla="*/ 472564 w 903653"/>
                <a:gd name="connsiteY0" fmla="*/ 57153 h 885825"/>
                <a:gd name="connsiteX1" fmla="*/ 572061 w 903653"/>
                <a:gd name="connsiteY1" fmla="*/ 75251 h 885825"/>
                <a:gd name="connsiteX2" fmla="*/ 585854 w 903653"/>
                <a:gd name="connsiteY2" fmla="*/ 40294 h 885825"/>
                <a:gd name="connsiteX3" fmla="*/ 602119 w 903653"/>
                <a:gd name="connsiteY3" fmla="*/ 33246 h 885825"/>
                <a:gd name="connsiteX4" fmla="*/ 628944 w 903653"/>
                <a:gd name="connsiteY4" fmla="*/ 43914 h 885825"/>
                <a:gd name="connsiteX5" fmla="*/ 636839 w 903653"/>
                <a:gd name="connsiteY5" fmla="*/ 56772 h 885825"/>
                <a:gd name="connsiteX6" fmla="*/ 628944 w 903653"/>
                <a:gd name="connsiteY6" fmla="*/ 46200 h 885825"/>
                <a:gd name="connsiteX7" fmla="*/ 602119 w 903653"/>
                <a:gd name="connsiteY7" fmla="*/ 35532 h 885825"/>
                <a:gd name="connsiteX8" fmla="*/ 585853 w 903653"/>
                <a:gd name="connsiteY8" fmla="*/ 42675 h 885825"/>
                <a:gd name="connsiteX9" fmla="*/ 572061 w 903653"/>
                <a:gd name="connsiteY9" fmla="*/ 77537 h 885825"/>
                <a:gd name="connsiteX10" fmla="*/ 472564 w 903653"/>
                <a:gd name="connsiteY10" fmla="*/ 59439 h 885825"/>
                <a:gd name="connsiteX11" fmla="*/ 471993 w 903653"/>
                <a:gd name="connsiteY11" fmla="*/ 21816 h 885825"/>
                <a:gd name="connsiteX12" fmla="*/ 459247 w 903653"/>
                <a:gd name="connsiteY12" fmla="*/ 9528 h 885825"/>
                <a:gd name="connsiteX13" fmla="*/ 430710 w 903653"/>
                <a:gd name="connsiteY13" fmla="*/ 9528 h 885825"/>
                <a:gd name="connsiteX14" fmla="*/ 418440 w 903653"/>
                <a:gd name="connsiteY14" fmla="*/ 21339 h 885825"/>
                <a:gd name="connsiteX15" fmla="*/ 418440 w 903653"/>
                <a:gd name="connsiteY15" fmla="*/ 19911 h 885825"/>
                <a:gd name="connsiteX16" fmla="*/ 430805 w 903653"/>
                <a:gd name="connsiteY16" fmla="*/ 7147 h 885825"/>
                <a:gd name="connsiteX17" fmla="*/ 459342 w 903653"/>
                <a:gd name="connsiteY17" fmla="*/ 7147 h 885825"/>
                <a:gd name="connsiteX18" fmla="*/ 472086 w 903653"/>
                <a:gd name="connsiteY18" fmla="*/ 19334 h 885825"/>
                <a:gd name="connsiteX19" fmla="*/ 472088 w 903653"/>
                <a:gd name="connsiteY19" fmla="*/ 19434 h 885825"/>
                <a:gd name="connsiteX20" fmla="*/ 472659 w 903653"/>
                <a:gd name="connsiteY20" fmla="*/ 57534 h 885825"/>
                <a:gd name="connsiteX21" fmla="*/ 622951 w 903653"/>
                <a:gd name="connsiteY21" fmla="*/ 95253 h 885825"/>
                <a:gd name="connsiteX22" fmla="*/ 707133 w 903653"/>
                <a:gd name="connsiteY22" fmla="*/ 149736 h 885825"/>
                <a:gd name="connsiteX23" fmla="*/ 733292 w 903653"/>
                <a:gd name="connsiteY23" fmla="*/ 122781 h 885825"/>
                <a:gd name="connsiteX24" fmla="*/ 750778 w 903653"/>
                <a:gd name="connsiteY24" fmla="*/ 122574 h 885825"/>
                <a:gd name="connsiteX25" fmla="*/ 750984 w 903653"/>
                <a:gd name="connsiteY25" fmla="*/ 122781 h 885825"/>
                <a:gd name="connsiteX26" fmla="*/ 771721 w 903653"/>
                <a:gd name="connsiteY26" fmla="*/ 142783 h 885825"/>
                <a:gd name="connsiteX27" fmla="*/ 775430 w 903653"/>
                <a:gd name="connsiteY27" fmla="*/ 152975 h 885825"/>
                <a:gd name="connsiteX28" fmla="*/ 771721 w 903653"/>
                <a:gd name="connsiteY28" fmla="*/ 145069 h 885825"/>
                <a:gd name="connsiteX29" fmla="*/ 750984 w 903653"/>
                <a:gd name="connsiteY29" fmla="*/ 125067 h 885825"/>
                <a:gd name="connsiteX30" fmla="*/ 733498 w 903653"/>
                <a:gd name="connsiteY30" fmla="*/ 124860 h 885825"/>
                <a:gd name="connsiteX31" fmla="*/ 733292 w 903653"/>
                <a:gd name="connsiteY31" fmla="*/ 125067 h 885825"/>
                <a:gd name="connsiteX32" fmla="*/ 707133 w 903653"/>
                <a:gd name="connsiteY32" fmla="*/ 152118 h 885825"/>
                <a:gd name="connsiteX33" fmla="*/ 620668 w 903653"/>
                <a:gd name="connsiteY33" fmla="*/ 96396 h 885825"/>
                <a:gd name="connsiteX34" fmla="*/ 622190 w 903653"/>
                <a:gd name="connsiteY34" fmla="*/ 94872 h 885825"/>
                <a:gd name="connsiteX35" fmla="*/ 622951 w 903653"/>
                <a:gd name="connsiteY35" fmla="*/ 94872 h 885825"/>
                <a:gd name="connsiteX36" fmla="*/ 746609 w 903653"/>
                <a:gd name="connsiteY36" fmla="*/ 188503 h 885825"/>
                <a:gd name="connsiteX37" fmla="*/ 803111 w 903653"/>
                <a:gd name="connsiteY37" fmla="*/ 270513 h 885825"/>
                <a:gd name="connsiteX38" fmla="*/ 837545 w 903653"/>
                <a:gd name="connsiteY38" fmla="*/ 255654 h 885825"/>
                <a:gd name="connsiteX39" fmla="*/ 854096 w 903653"/>
                <a:gd name="connsiteY39" fmla="*/ 262131 h 885825"/>
                <a:gd name="connsiteX40" fmla="*/ 865511 w 903653"/>
                <a:gd name="connsiteY40" fmla="*/ 288611 h 885825"/>
                <a:gd name="connsiteX41" fmla="*/ 866462 w 903653"/>
                <a:gd name="connsiteY41" fmla="*/ 294707 h 885825"/>
                <a:gd name="connsiteX42" fmla="*/ 865511 w 903653"/>
                <a:gd name="connsiteY42" fmla="*/ 290897 h 885825"/>
                <a:gd name="connsiteX43" fmla="*/ 854096 w 903653"/>
                <a:gd name="connsiteY43" fmla="*/ 264417 h 885825"/>
                <a:gd name="connsiteX44" fmla="*/ 837545 w 903653"/>
                <a:gd name="connsiteY44" fmla="*/ 257940 h 885825"/>
                <a:gd name="connsiteX45" fmla="*/ 803111 w 903653"/>
                <a:gd name="connsiteY45" fmla="*/ 273085 h 885825"/>
                <a:gd name="connsiteX46" fmla="*/ 745562 w 903653"/>
                <a:gd name="connsiteY46" fmla="*/ 189932 h 885825"/>
                <a:gd name="connsiteX47" fmla="*/ 743470 w 903653"/>
                <a:gd name="connsiteY47" fmla="*/ 187455 h 885825"/>
                <a:gd name="connsiteX48" fmla="*/ 745562 w 903653"/>
                <a:gd name="connsiteY48" fmla="*/ 187455 h 885825"/>
                <a:gd name="connsiteX49" fmla="*/ 746609 w 903653"/>
                <a:gd name="connsiteY49" fmla="*/ 188598 h 885825"/>
                <a:gd name="connsiteX50" fmla="*/ 825274 w 903653"/>
                <a:gd name="connsiteY50" fmla="*/ 321853 h 885825"/>
                <a:gd name="connsiteX51" fmla="*/ 845820 w 903653"/>
                <a:gd name="connsiteY51" fmla="*/ 418818 h 885825"/>
                <a:gd name="connsiteX52" fmla="*/ 883393 w 903653"/>
                <a:gd name="connsiteY52" fmla="*/ 418246 h 885825"/>
                <a:gd name="connsiteX53" fmla="*/ 896140 w 903653"/>
                <a:gd name="connsiteY53" fmla="*/ 430626 h 885825"/>
                <a:gd name="connsiteX54" fmla="*/ 896140 w 903653"/>
                <a:gd name="connsiteY54" fmla="*/ 430629 h 885825"/>
                <a:gd name="connsiteX55" fmla="*/ 896615 w 903653"/>
                <a:gd name="connsiteY55" fmla="*/ 459204 h 885825"/>
                <a:gd name="connsiteX56" fmla="*/ 896615 w 903653"/>
                <a:gd name="connsiteY56" fmla="*/ 460061 h 885825"/>
                <a:gd name="connsiteX57" fmla="*/ 896140 w 903653"/>
                <a:gd name="connsiteY57" fmla="*/ 432629 h 885825"/>
                <a:gd name="connsiteX58" fmla="*/ 883396 w 903653"/>
                <a:gd name="connsiteY58" fmla="*/ 420246 h 885825"/>
                <a:gd name="connsiteX59" fmla="*/ 883393 w 903653"/>
                <a:gd name="connsiteY59" fmla="*/ 420246 h 885825"/>
                <a:gd name="connsiteX60" fmla="*/ 845820 w 903653"/>
                <a:gd name="connsiteY60" fmla="*/ 420818 h 885825"/>
                <a:gd name="connsiteX61" fmla="*/ 824608 w 903653"/>
                <a:gd name="connsiteY61" fmla="*/ 321853 h 885825"/>
                <a:gd name="connsiteX62" fmla="*/ 823086 w 903653"/>
                <a:gd name="connsiteY62" fmla="*/ 317948 h 885825"/>
                <a:gd name="connsiteX63" fmla="*/ 824608 w 903653"/>
                <a:gd name="connsiteY63" fmla="*/ 319567 h 885825"/>
                <a:gd name="connsiteX64" fmla="*/ 825274 w 903653"/>
                <a:gd name="connsiteY64" fmla="*/ 321567 h 885825"/>
                <a:gd name="connsiteX65" fmla="*/ 829269 w 903653"/>
                <a:gd name="connsiteY65" fmla="*/ 572646 h 885825"/>
                <a:gd name="connsiteX66" fmla="*/ 863513 w 903653"/>
                <a:gd name="connsiteY66" fmla="*/ 586267 h 885825"/>
                <a:gd name="connsiteX67" fmla="*/ 871408 w 903653"/>
                <a:gd name="connsiteY67" fmla="*/ 599126 h 885825"/>
                <a:gd name="connsiteX68" fmla="*/ 863513 w 903653"/>
                <a:gd name="connsiteY68" fmla="*/ 588553 h 885825"/>
                <a:gd name="connsiteX69" fmla="*/ 828699 w 903653"/>
                <a:gd name="connsiteY69" fmla="*/ 574742 h 885825"/>
                <a:gd name="connsiteX70" fmla="*/ 829269 w 903653"/>
                <a:gd name="connsiteY70" fmla="*/ 572646 h 885825"/>
                <a:gd name="connsiteX71" fmla="*/ 753172 w 903653"/>
                <a:gd name="connsiteY71" fmla="*/ 706854 h 885825"/>
                <a:gd name="connsiteX72" fmla="*/ 781043 w 903653"/>
                <a:gd name="connsiteY72" fmla="*/ 733809 h 885825"/>
                <a:gd name="connsiteX73" fmla="*/ 784752 w 903653"/>
                <a:gd name="connsiteY73" fmla="*/ 744001 h 885825"/>
                <a:gd name="connsiteX74" fmla="*/ 781043 w 903653"/>
                <a:gd name="connsiteY74" fmla="*/ 736191 h 885825"/>
                <a:gd name="connsiteX75" fmla="*/ 752506 w 903653"/>
                <a:gd name="connsiteY75" fmla="*/ 708092 h 885825"/>
                <a:gd name="connsiteX76" fmla="*/ 753648 w 903653"/>
                <a:gd name="connsiteY76" fmla="*/ 706854 h 885825"/>
                <a:gd name="connsiteX77" fmla="*/ 633604 w 903653"/>
                <a:gd name="connsiteY77" fmla="*/ 804580 h 885825"/>
                <a:gd name="connsiteX78" fmla="*/ 648539 w 903653"/>
                <a:gd name="connsiteY78" fmla="*/ 839061 h 885825"/>
                <a:gd name="connsiteX79" fmla="*/ 649490 w 903653"/>
                <a:gd name="connsiteY79" fmla="*/ 845157 h 885825"/>
                <a:gd name="connsiteX80" fmla="*/ 648539 w 903653"/>
                <a:gd name="connsiteY80" fmla="*/ 841347 h 885825"/>
                <a:gd name="connsiteX81" fmla="*/ 631987 w 903653"/>
                <a:gd name="connsiteY81" fmla="*/ 803247 h 885825"/>
                <a:gd name="connsiteX82" fmla="*/ 633604 w 903653"/>
                <a:gd name="connsiteY82" fmla="*/ 804580 h 885825"/>
                <a:gd name="connsiteX83" fmla="*/ 485310 w 903653"/>
                <a:gd name="connsiteY83" fmla="*/ 849633 h 885825"/>
                <a:gd name="connsiteX84" fmla="*/ 485976 w 903653"/>
                <a:gd name="connsiteY84" fmla="*/ 884971 h 885825"/>
                <a:gd name="connsiteX85" fmla="*/ 485976 w 903653"/>
                <a:gd name="connsiteY85" fmla="*/ 885924 h 885825"/>
                <a:gd name="connsiteX86" fmla="*/ 485405 w 903653"/>
                <a:gd name="connsiteY86" fmla="*/ 849633 h 885825"/>
                <a:gd name="connsiteX87" fmla="*/ 267197 w 903653"/>
                <a:gd name="connsiteY87" fmla="*/ 850872 h 885825"/>
                <a:gd name="connsiteX88" fmla="*/ 268053 w 903653"/>
                <a:gd name="connsiteY88" fmla="*/ 845157 h 885825"/>
                <a:gd name="connsiteX89" fmla="*/ 282606 w 903653"/>
                <a:gd name="connsiteY89" fmla="*/ 808295 h 885825"/>
                <a:gd name="connsiteX90" fmla="*/ 283367 w 903653"/>
                <a:gd name="connsiteY90" fmla="*/ 808295 h 885825"/>
                <a:gd name="connsiteX91" fmla="*/ 268053 w 903653"/>
                <a:gd name="connsiteY91" fmla="*/ 847062 h 885825"/>
                <a:gd name="connsiteX92" fmla="*/ 267197 w 903653"/>
                <a:gd name="connsiteY92" fmla="*/ 850491 h 885825"/>
                <a:gd name="connsiteX93" fmla="*/ 128605 w 903653"/>
                <a:gd name="connsiteY93" fmla="*/ 754669 h 885825"/>
                <a:gd name="connsiteX94" fmla="*/ 132029 w 903653"/>
                <a:gd name="connsiteY94" fmla="*/ 745144 h 885825"/>
                <a:gd name="connsiteX95" fmla="*/ 159234 w 903653"/>
                <a:gd name="connsiteY95" fmla="*/ 716569 h 885825"/>
                <a:gd name="connsiteX96" fmla="*/ 160280 w 903653"/>
                <a:gd name="connsiteY96" fmla="*/ 717807 h 885825"/>
                <a:gd name="connsiteX97" fmla="*/ 131744 w 903653"/>
                <a:gd name="connsiteY97" fmla="*/ 746954 h 885825"/>
                <a:gd name="connsiteX98" fmla="*/ 128319 w 903653"/>
                <a:gd name="connsiteY98" fmla="*/ 754574 h 885825"/>
                <a:gd name="connsiteX99" fmla="*/ 37288 w 903653"/>
                <a:gd name="connsiteY99" fmla="*/ 612651 h 885825"/>
                <a:gd name="connsiteX100" fmla="*/ 44707 w 903653"/>
                <a:gd name="connsiteY100" fmla="*/ 599983 h 885825"/>
                <a:gd name="connsiteX101" fmla="*/ 79712 w 903653"/>
                <a:gd name="connsiteY101" fmla="*/ 584743 h 885825"/>
                <a:gd name="connsiteX102" fmla="*/ 80473 w 903653"/>
                <a:gd name="connsiteY102" fmla="*/ 586743 h 885825"/>
                <a:gd name="connsiteX103" fmla="*/ 44707 w 903653"/>
                <a:gd name="connsiteY103" fmla="*/ 602269 h 885825"/>
                <a:gd name="connsiteX104" fmla="*/ 37288 w 903653"/>
                <a:gd name="connsiteY104" fmla="*/ 612651 h 885825"/>
                <a:gd name="connsiteX105" fmla="*/ 7134 w 903653"/>
                <a:gd name="connsiteY105" fmla="*/ 446821 h 885825"/>
                <a:gd name="connsiteX106" fmla="*/ 7134 w 903653"/>
                <a:gd name="connsiteY106" fmla="*/ 445392 h 885825"/>
                <a:gd name="connsiteX107" fmla="*/ 19500 w 903653"/>
                <a:gd name="connsiteY107" fmla="*/ 432724 h 885825"/>
                <a:gd name="connsiteX108" fmla="*/ 57073 w 903653"/>
                <a:gd name="connsiteY108" fmla="*/ 432057 h 885825"/>
                <a:gd name="connsiteX109" fmla="*/ 74480 w 903653"/>
                <a:gd name="connsiteY109" fmla="*/ 334521 h 885825"/>
                <a:gd name="connsiteX110" fmla="*/ 75146 w 903653"/>
                <a:gd name="connsiteY110" fmla="*/ 332426 h 885825"/>
                <a:gd name="connsiteX111" fmla="*/ 76478 w 903653"/>
                <a:gd name="connsiteY111" fmla="*/ 330807 h 885825"/>
                <a:gd name="connsiteX112" fmla="*/ 75051 w 903653"/>
                <a:gd name="connsiteY112" fmla="*/ 334712 h 885825"/>
                <a:gd name="connsiteX113" fmla="*/ 57073 w 903653"/>
                <a:gd name="connsiteY113" fmla="*/ 434343 h 885825"/>
                <a:gd name="connsiteX114" fmla="*/ 19500 w 903653"/>
                <a:gd name="connsiteY114" fmla="*/ 435010 h 885825"/>
                <a:gd name="connsiteX115" fmla="*/ 7134 w 903653"/>
                <a:gd name="connsiteY115" fmla="*/ 446821 h 885825"/>
                <a:gd name="connsiteX116" fmla="*/ 32627 w 903653"/>
                <a:gd name="connsiteY116" fmla="*/ 308042 h 885825"/>
                <a:gd name="connsiteX117" fmla="*/ 33483 w 903653"/>
                <a:gd name="connsiteY117" fmla="*/ 302327 h 885825"/>
                <a:gd name="connsiteX118" fmla="*/ 44042 w 903653"/>
                <a:gd name="connsiteY118" fmla="*/ 275562 h 885825"/>
                <a:gd name="connsiteX119" fmla="*/ 60307 w 903653"/>
                <a:gd name="connsiteY119" fmla="*/ 268418 h 885825"/>
                <a:gd name="connsiteX120" fmla="*/ 95217 w 903653"/>
                <a:gd name="connsiteY120" fmla="*/ 282229 h 885825"/>
                <a:gd name="connsiteX121" fmla="*/ 149056 w 903653"/>
                <a:gd name="connsiteY121" fmla="*/ 198504 h 885825"/>
                <a:gd name="connsiteX122" fmla="*/ 150197 w 903653"/>
                <a:gd name="connsiteY122" fmla="*/ 197171 h 885825"/>
                <a:gd name="connsiteX123" fmla="*/ 152290 w 903653"/>
                <a:gd name="connsiteY123" fmla="*/ 197171 h 885825"/>
                <a:gd name="connsiteX124" fmla="*/ 150102 w 903653"/>
                <a:gd name="connsiteY124" fmla="*/ 199647 h 885825"/>
                <a:gd name="connsiteX125" fmla="*/ 95217 w 903653"/>
                <a:gd name="connsiteY125" fmla="*/ 284705 h 885825"/>
                <a:gd name="connsiteX126" fmla="*/ 60307 w 903653"/>
                <a:gd name="connsiteY126" fmla="*/ 270799 h 885825"/>
                <a:gd name="connsiteX127" fmla="*/ 44042 w 903653"/>
                <a:gd name="connsiteY127" fmla="*/ 277943 h 885825"/>
                <a:gd name="connsiteX128" fmla="*/ 33483 w 903653"/>
                <a:gd name="connsiteY128" fmla="*/ 304708 h 885825"/>
                <a:gd name="connsiteX129" fmla="*/ 32627 w 903653"/>
                <a:gd name="connsiteY129" fmla="*/ 308137 h 885825"/>
                <a:gd name="connsiteX130" fmla="*/ 119283 w 903653"/>
                <a:gd name="connsiteY130" fmla="*/ 163167 h 885825"/>
                <a:gd name="connsiteX131" fmla="*/ 122802 w 903653"/>
                <a:gd name="connsiteY131" fmla="*/ 153642 h 885825"/>
                <a:gd name="connsiteX132" fmla="*/ 142873 w 903653"/>
                <a:gd name="connsiteY132" fmla="*/ 132972 h 885825"/>
                <a:gd name="connsiteX133" fmla="*/ 160495 w 903653"/>
                <a:gd name="connsiteY133" fmla="*/ 132902 h 885825"/>
                <a:gd name="connsiteX134" fmla="*/ 160565 w 903653"/>
                <a:gd name="connsiteY134" fmla="*/ 132972 h 885825"/>
                <a:gd name="connsiteX135" fmla="*/ 187580 w 903653"/>
                <a:gd name="connsiteY135" fmla="*/ 159166 h 885825"/>
                <a:gd name="connsiteX136" fmla="*/ 269860 w 903653"/>
                <a:gd name="connsiteY136" fmla="*/ 102016 h 885825"/>
                <a:gd name="connsiteX137" fmla="*/ 270716 w 903653"/>
                <a:gd name="connsiteY137" fmla="*/ 101540 h 885825"/>
                <a:gd name="connsiteX138" fmla="*/ 272333 w 903653"/>
                <a:gd name="connsiteY138" fmla="*/ 103064 h 885825"/>
                <a:gd name="connsiteX139" fmla="*/ 270716 w 903653"/>
                <a:gd name="connsiteY139" fmla="*/ 103826 h 885825"/>
                <a:gd name="connsiteX140" fmla="*/ 187580 w 903653"/>
                <a:gd name="connsiteY140" fmla="*/ 161547 h 885825"/>
                <a:gd name="connsiteX141" fmla="*/ 160565 w 903653"/>
                <a:gd name="connsiteY141" fmla="*/ 135354 h 885825"/>
                <a:gd name="connsiteX142" fmla="*/ 142943 w 903653"/>
                <a:gd name="connsiteY142" fmla="*/ 135283 h 885825"/>
                <a:gd name="connsiteX143" fmla="*/ 142873 w 903653"/>
                <a:gd name="connsiteY143" fmla="*/ 135354 h 885825"/>
                <a:gd name="connsiteX144" fmla="*/ 122802 w 903653"/>
                <a:gd name="connsiteY144" fmla="*/ 156023 h 885825"/>
                <a:gd name="connsiteX145" fmla="*/ 119283 w 903653"/>
                <a:gd name="connsiteY145" fmla="*/ 163643 h 885825"/>
                <a:gd name="connsiteX146" fmla="*/ 254831 w 903653"/>
                <a:gd name="connsiteY146" fmla="*/ 62487 h 885825"/>
                <a:gd name="connsiteX147" fmla="*/ 262345 w 903653"/>
                <a:gd name="connsiteY147" fmla="*/ 52105 h 885825"/>
                <a:gd name="connsiteX148" fmla="*/ 288694 w 903653"/>
                <a:gd name="connsiteY148" fmla="*/ 40675 h 885825"/>
                <a:gd name="connsiteX149" fmla="*/ 305245 w 903653"/>
                <a:gd name="connsiteY149" fmla="*/ 47152 h 885825"/>
                <a:gd name="connsiteX150" fmla="*/ 320084 w 903653"/>
                <a:gd name="connsiteY150" fmla="*/ 81633 h 885825"/>
                <a:gd name="connsiteX151" fmla="*/ 419010 w 903653"/>
                <a:gd name="connsiteY151" fmla="*/ 60297 h 885825"/>
                <a:gd name="connsiteX152" fmla="*/ 419010 w 903653"/>
                <a:gd name="connsiteY152" fmla="*/ 58011 h 885825"/>
                <a:gd name="connsiteX153" fmla="*/ 320179 w 903653"/>
                <a:gd name="connsiteY153" fmla="*/ 79347 h 885825"/>
                <a:gd name="connsiteX154" fmla="*/ 304960 w 903653"/>
                <a:gd name="connsiteY154" fmla="*/ 44485 h 885825"/>
                <a:gd name="connsiteX155" fmla="*/ 288409 w 903653"/>
                <a:gd name="connsiteY155" fmla="*/ 37913 h 885825"/>
                <a:gd name="connsiteX156" fmla="*/ 262060 w 903653"/>
                <a:gd name="connsiteY156" fmla="*/ 49438 h 885825"/>
                <a:gd name="connsiteX157" fmla="*/ 254545 w 903653"/>
                <a:gd name="connsiteY157" fmla="*/ 62106 h 885825"/>
                <a:gd name="connsiteX158" fmla="*/ 721782 w 903653"/>
                <a:gd name="connsiteY158" fmla="*/ 455584 h 885825"/>
                <a:gd name="connsiteX159" fmla="*/ 453016 w 903653"/>
                <a:gd name="connsiteY159" fmla="*/ 726142 h 885825"/>
                <a:gd name="connsiteX160" fmla="*/ 182824 w 903653"/>
                <a:gd name="connsiteY160" fmla="*/ 457013 h 885825"/>
                <a:gd name="connsiteX161" fmla="*/ 182824 w 903653"/>
                <a:gd name="connsiteY161" fmla="*/ 459299 h 885825"/>
                <a:gd name="connsiteX162" fmla="*/ 454158 w 903653"/>
                <a:gd name="connsiteY162" fmla="*/ 727285 h 885825"/>
                <a:gd name="connsiteX163" fmla="*/ 721782 w 903653"/>
                <a:gd name="connsiteY163" fmla="*/ 455584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903653" h="885825">
                  <a:moveTo>
                    <a:pt x="472564" y="57153"/>
                  </a:moveTo>
                  <a:cubicBezTo>
                    <a:pt x="506367" y="58890"/>
                    <a:pt x="539807" y="64972"/>
                    <a:pt x="572061" y="75251"/>
                  </a:cubicBezTo>
                  <a:lnTo>
                    <a:pt x="585854" y="40294"/>
                  </a:lnTo>
                  <a:cubicBezTo>
                    <a:pt x="588451" y="33899"/>
                    <a:pt x="595685" y="30764"/>
                    <a:pt x="602119" y="33246"/>
                  </a:cubicBezTo>
                  <a:lnTo>
                    <a:pt x="628944" y="43914"/>
                  </a:lnTo>
                  <a:cubicBezTo>
                    <a:pt x="634138" y="45965"/>
                    <a:pt x="637355" y="51205"/>
                    <a:pt x="636839" y="56772"/>
                  </a:cubicBezTo>
                  <a:cubicBezTo>
                    <a:pt x="636394" y="52045"/>
                    <a:pt x="633346" y="47964"/>
                    <a:pt x="628944" y="46200"/>
                  </a:cubicBezTo>
                  <a:lnTo>
                    <a:pt x="602119" y="35532"/>
                  </a:lnTo>
                  <a:cubicBezTo>
                    <a:pt x="595659" y="33061"/>
                    <a:pt x="588414" y="36243"/>
                    <a:pt x="585853" y="42675"/>
                  </a:cubicBezTo>
                  <a:lnTo>
                    <a:pt x="572061" y="77537"/>
                  </a:lnTo>
                  <a:cubicBezTo>
                    <a:pt x="539807" y="67258"/>
                    <a:pt x="506367" y="61176"/>
                    <a:pt x="472564" y="59439"/>
                  </a:cubicBezTo>
                  <a:lnTo>
                    <a:pt x="471993" y="21816"/>
                  </a:lnTo>
                  <a:cubicBezTo>
                    <a:pt x="471837" y="14909"/>
                    <a:pt x="466145" y="9422"/>
                    <a:pt x="459247" y="9528"/>
                  </a:cubicBezTo>
                  <a:lnTo>
                    <a:pt x="430710" y="9528"/>
                  </a:lnTo>
                  <a:cubicBezTo>
                    <a:pt x="424173" y="9665"/>
                    <a:pt x="418835" y="14803"/>
                    <a:pt x="418440" y="21339"/>
                  </a:cubicBezTo>
                  <a:lnTo>
                    <a:pt x="418440" y="19911"/>
                  </a:lnTo>
                  <a:cubicBezTo>
                    <a:pt x="418386" y="12987"/>
                    <a:pt x="423893" y="7303"/>
                    <a:pt x="430805" y="7147"/>
                  </a:cubicBezTo>
                  <a:lnTo>
                    <a:pt x="459342" y="7147"/>
                  </a:lnTo>
                  <a:cubicBezTo>
                    <a:pt x="466222" y="6989"/>
                    <a:pt x="471928" y="12445"/>
                    <a:pt x="472086" y="19334"/>
                  </a:cubicBezTo>
                  <a:cubicBezTo>
                    <a:pt x="472087" y="19368"/>
                    <a:pt x="472088" y="19401"/>
                    <a:pt x="472088" y="19434"/>
                  </a:cubicBezTo>
                  <a:lnTo>
                    <a:pt x="472659" y="57534"/>
                  </a:lnTo>
                  <a:close/>
                  <a:moveTo>
                    <a:pt x="622951" y="95253"/>
                  </a:moveTo>
                  <a:cubicBezTo>
                    <a:pt x="653209" y="109760"/>
                    <a:pt x="681498" y="128068"/>
                    <a:pt x="707133" y="149736"/>
                  </a:cubicBezTo>
                  <a:lnTo>
                    <a:pt x="733292" y="122781"/>
                  </a:lnTo>
                  <a:cubicBezTo>
                    <a:pt x="738064" y="117888"/>
                    <a:pt x="745893" y="117796"/>
                    <a:pt x="750778" y="122574"/>
                  </a:cubicBezTo>
                  <a:cubicBezTo>
                    <a:pt x="750848" y="122642"/>
                    <a:pt x="750916" y="122711"/>
                    <a:pt x="750984" y="122781"/>
                  </a:cubicBezTo>
                  <a:lnTo>
                    <a:pt x="771721" y="142783"/>
                  </a:lnTo>
                  <a:cubicBezTo>
                    <a:pt x="774457" y="145428"/>
                    <a:pt x="775825" y="149187"/>
                    <a:pt x="775430" y="152975"/>
                  </a:cubicBezTo>
                  <a:cubicBezTo>
                    <a:pt x="775177" y="149980"/>
                    <a:pt x="773861" y="147176"/>
                    <a:pt x="771721" y="145069"/>
                  </a:cubicBezTo>
                  <a:lnTo>
                    <a:pt x="750984" y="125067"/>
                  </a:lnTo>
                  <a:cubicBezTo>
                    <a:pt x="746212" y="120174"/>
                    <a:pt x="738383" y="120082"/>
                    <a:pt x="733498" y="124860"/>
                  </a:cubicBezTo>
                  <a:cubicBezTo>
                    <a:pt x="733428" y="124928"/>
                    <a:pt x="733360" y="124997"/>
                    <a:pt x="733292" y="125067"/>
                  </a:cubicBezTo>
                  <a:lnTo>
                    <a:pt x="707133" y="152118"/>
                  </a:lnTo>
                  <a:cubicBezTo>
                    <a:pt x="680737" y="130016"/>
                    <a:pt x="651691" y="111298"/>
                    <a:pt x="620668" y="96396"/>
                  </a:cubicBezTo>
                  <a:lnTo>
                    <a:pt x="622190" y="94872"/>
                  </a:lnTo>
                  <a:lnTo>
                    <a:pt x="622951" y="94872"/>
                  </a:lnTo>
                  <a:close/>
                  <a:moveTo>
                    <a:pt x="746609" y="188503"/>
                  </a:moveTo>
                  <a:cubicBezTo>
                    <a:pt x="768812" y="213352"/>
                    <a:pt x="787796" y="240906"/>
                    <a:pt x="803111" y="270513"/>
                  </a:cubicBezTo>
                  <a:lnTo>
                    <a:pt x="837545" y="255654"/>
                  </a:lnTo>
                  <a:cubicBezTo>
                    <a:pt x="843902" y="252917"/>
                    <a:pt x="851277" y="255803"/>
                    <a:pt x="854096" y="262131"/>
                  </a:cubicBezTo>
                  <a:lnTo>
                    <a:pt x="865511" y="288611"/>
                  </a:lnTo>
                  <a:cubicBezTo>
                    <a:pt x="866332" y="290531"/>
                    <a:pt x="866659" y="292627"/>
                    <a:pt x="866462" y="294707"/>
                  </a:cubicBezTo>
                  <a:cubicBezTo>
                    <a:pt x="866371" y="293391"/>
                    <a:pt x="866048" y="292101"/>
                    <a:pt x="865511" y="290897"/>
                  </a:cubicBezTo>
                  <a:lnTo>
                    <a:pt x="854096" y="264417"/>
                  </a:lnTo>
                  <a:cubicBezTo>
                    <a:pt x="851277" y="258089"/>
                    <a:pt x="843902" y="255203"/>
                    <a:pt x="837545" y="257940"/>
                  </a:cubicBezTo>
                  <a:lnTo>
                    <a:pt x="803111" y="273085"/>
                  </a:lnTo>
                  <a:cubicBezTo>
                    <a:pt x="787555" y="243019"/>
                    <a:pt x="768215" y="215073"/>
                    <a:pt x="745562" y="189932"/>
                  </a:cubicBezTo>
                  <a:lnTo>
                    <a:pt x="743470" y="187455"/>
                  </a:lnTo>
                  <a:lnTo>
                    <a:pt x="745562" y="187455"/>
                  </a:lnTo>
                  <a:lnTo>
                    <a:pt x="746609" y="188598"/>
                  </a:lnTo>
                  <a:close/>
                  <a:moveTo>
                    <a:pt x="825274" y="321853"/>
                  </a:moveTo>
                  <a:cubicBezTo>
                    <a:pt x="836218" y="353167"/>
                    <a:pt x="843123" y="385752"/>
                    <a:pt x="845820" y="418818"/>
                  </a:cubicBezTo>
                  <a:lnTo>
                    <a:pt x="883393" y="418246"/>
                  </a:lnTo>
                  <a:cubicBezTo>
                    <a:pt x="890327" y="418140"/>
                    <a:pt x="896034" y="423683"/>
                    <a:pt x="896140" y="430626"/>
                  </a:cubicBezTo>
                  <a:cubicBezTo>
                    <a:pt x="896140" y="430627"/>
                    <a:pt x="896140" y="430628"/>
                    <a:pt x="896140" y="430629"/>
                  </a:cubicBezTo>
                  <a:lnTo>
                    <a:pt x="896615" y="459204"/>
                  </a:lnTo>
                  <a:lnTo>
                    <a:pt x="896615" y="460061"/>
                  </a:lnTo>
                  <a:lnTo>
                    <a:pt x="896140" y="432629"/>
                  </a:lnTo>
                  <a:cubicBezTo>
                    <a:pt x="896035" y="425686"/>
                    <a:pt x="890330" y="420142"/>
                    <a:pt x="883396" y="420246"/>
                  </a:cubicBezTo>
                  <a:cubicBezTo>
                    <a:pt x="883395" y="420246"/>
                    <a:pt x="883394" y="420246"/>
                    <a:pt x="883393" y="420246"/>
                  </a:cubicBezTo>
                  <a:lnTo>
                    <a:pt x="845820" y="420818"/>
                  </a:lnTo>
                  <a:cubicBezTo>
                    <a:pt x="843002" y="387058"/>
                    <a:pt x="835873" y="353798"/>
                    <a:pt x="824608" y="321853"/>
                  </a:cubicBezTo>
                  <a:lnTo>
                    <a:pt x="823086" y="317948"/>
                  </a:lnTo>
                  <a:lnTo>
                    <a:pt x="824608" y="319567"/>
                  </a:lnTo>
                  <a:lnTo>
                    <a:pt x="825274" y="321567"/>
                  </a:lnTo>
                  <a:close/>
                  <a:moveTo>
                    <a:pt x="829269" y="572646"/>
                  </a:moveTo>
                  <a:lnTo>
                    <a:pt x="863513" y="586267"/>
                  </a:lnTo>
                  <a:cubicBezTo>
                    <a:pt x="868707" y="588319"/>
                    <a:pt x="871925" y="593559"/>
                    <a:pt x="871408" y="599126"/>
                  </a:cubicBezTo>
                  <a:cubicBezTo>
                    <a:pt x="870963" y="594399"/>
                    <a:pt x="867916" y="590317"/>
                    <a:pt x="863513" y="588553"/>
                  </a:cubicBezTo>
                  <a:lnTo>
                    <a:pt x="828699" y="574742"/>
                  </a:lnTo>
                  <a:lnTo>
                    <a:pt x="829269" y="572646"/>
                  </a:lnTo>
                  <a:close/>
                  <a:moveTo>
                    <a:pt x="753172" y="706854"/>
                  </a:moveTo>
                  <a:lnTo>
                    <a:pt x="781043" y="733809"/>
                  </a:lnTo>
                  <a:cubicBezTo>
                    <a:pt x="783779" y="736455"/>
                    <a:pt x="785147" y="740213"/>
                    <a:pt x="784752" y="744001"/>
                  </a:cubicBezTo>
                  <a:cubicBezTo>
                    <a:pt x="784519" y="741029"/>
                    <a:pt x="783198" y="738247"/>
                    <a:pt x="781043" y="736191"/>
                  </a:cubicBezTo>
                  <a:lnTo>
                    <a:pt x="752506" y="708092"/>
                  </a:lnTo>
                  <a:lnTo>
                    <a:pt x="753648" y="706854"/>
                  </a:lnTo>
                  <a:close/>
                  <a:moveTo>
                    <a:pt x="633604" y="804580"/>
                  </a:moveTo>
                  <a:lnTo>
                    <a:pt x="648539" y="839061"/>
                  </a:lnTo>
                  <a:cubicBezTo>
                    <a:pt x="649360" y="840981"/>
                    <a:pt x="649687" y="843077"/>
                    <a:pt x="649490" y="845157"/>
                  </a:cubicBezTo>
                  <a:cubicBezTo>
                    <a:pt x="649398" y="843841"/>
                    <a:pt x="649076" y="842551"/>
                    <a:pt x="648539" y="841347"/>
                  </a:cubicBezTo>
                  <a:lnTo>
                    <a:pt x="631987" y="803247"/>
                  </a:lnTo>
                  <a:lnTo>
                    <a:pt x="633604" y="804580"/>
                  </a:lnTo>
                  <a:close/>
                  <a:moveTo>
                    <a:pt x="485310" y="849633"/>
                  </a:moveTo>
                  <a:lnTo>
                    <a:pt x="485976" y="884971"/>
                  </a:lnTo>
                  <a:lnTo>
                    <a:pt x="485976" y="885924"/>
                  </a:lnTo>
                  <a:lnTo>
                    <a:pt x="485405" y="849633"/>
                  </a:lnTo>
                  <a:close/>
                  <a:moveTo>
                    <a:pt x="267197" y="850872"/>
                  </a:moveTo>
                  <a:cubicBezTo>
                    <a:pt x="267020" y="848926"/>
                    <a:pt x="267314" y="846966"/>
                    <a:pt x="268053" y="845157"/>
                  </a:cubicBezTo>
                  <a:lnTo>
                    <a:pt x="282606" y="808295"/>
                  </a:lnTo>
                  <a:lnTo>
                    <a:pt x="283367" y="808295"/>
                  </a:lnTo>
                  <a:lnTo>
                    <a:pt x="268053" y="847062"/>
                  </a:lnTo>
                  <a:cubicBezTo>
                    <a:pt x="267590" y="848153"/>
                    <a:pt x="267301" y="849310"/>
                    <a:pt x="267197" y="850491"/>
                  </a:cubicBezTo>
                  <a:close/>
                  <a:moveTo>
                    <a:pt x="128605" y="754669"/>
                  </a:moveTo>
                  <a:cubicBezTo>
                    <a:pt x="128326" y="751149"/>
                    <a:pt x="129574" y="747679"/>
                    <a:pt x="132029" y="745144"/>
                  </a:cubicBezTo>
                  <a:lnTo>
                    <a:pt x="159234" y="716569"/>
                  </a:lnTo>
                  <a:lnTo>
                    <a:pt x="160280" y="717807"/>
                  </a:lnTo>
                  <a:lnTo>
                    <a:pt x="131744" y="746954"/>
                  </a:lnTo>
                  <a:cubicBezTo>
                    <a:pt x="129741" y="749011"/>
                    <a:pt x="128529" y="751709"/>
                    <a:pt x="128319" y="754574"/>
                  </a:cubicBezTo>
                  <a:close/>
                  <a:moveTo>
                    <a:pt x="37288" y="612651"/>
                  </a:moveTo>
                  <a:cubicBezTo>
                    <a:pt x="36755" y="607264"/>
                    <a:pt x="39752" y="602147"/>
                    <a:pt x="44707" y="599983"/>
                  </a:cubicBezTo>
                  <a:lnTo>
                    <a:pt x="79712" y="584743"/>
                  </a:lnTo>
                  <a:lnTo>
                    <a:pt x="80473" y="586743"/>
                  </a:lnTo>
                  <a:lnTo>
                    <a:pt x="44707" y="602269"/>
                  </a:lnTo>
                  <a:cubicBezTo>
                    <a:pt x="40546" y="604138"/>
                    <a:pt x="37712" y="608105"/>
                    <a:pt x="37288" y="612651"/>
                  </a:cubicBezTo>
                  <a:close/>
                  <a:moveTo>
                    <a:pt x="7134" y="446821"/>
                  </a:moveTo>
                  <a:lnTo>
                    <a:pt x="7134" y="445392"/>
                  </a:lnTo>
                  <a:cubicBezTo>
                    <a:pt x="7081" y="438485"/>
                    <a:pt x="12603" y="432829"/>
                    <a:pt x="19500" y="432724"/>
                  </a:cubicBezTo>
                  <a:lnTo>
                    <a:pt x="57073" y="432057"/>
                  </a:lnTo>
                  <a:cubicBezTo>
                    <a:pt x="58742" y="398940"/>
                    <a:pt x="64591" y="366168"/>
                    <a:pt x="74480" y="334521"/>
                  </a:cubicBezTo>
                  <a:lnTo>
                    <a:pt x="75146" y="332426"/>
                  </a:lnTo>
                  <a:lnTo>
                    <a:pt x="76478" y="330807"/>
                  </a:lnTo>
                  <a:lnTo>
                    <a:pt x="75051" y="334712"/>
                  </a:lnTo>
                  <a:cubicBezTo>
                    <a:pt x="64789" y="367006"/>
                    <a:pt x="58746" y="400495"/>
                    <a:pt x="57073" y="434343"/>
                  </a:cubicBezTo>
                  <a:lnTo>
                    <a:pt x="19500" y="435010"/>
                  </a:lnTo>
                  <a:cubicBezTo>
                    <a:pt x="12945" y="435143"/>
                    <a:pt x="7577" y="440270"/>
                    <a:pt x="7134" y="446821"/>
                  </a:cubicBezTo>
                  <a:close/>
                  <a:moveTo>
                    <a:pt x="32627" y="308042"/>
                  </a:moveTo>
                  <a:cubicBezTo>
                    <a:pt x="32443" y="306095"/>
                    <a:pt x="32737" y="304134"/>
                    <a:pt x="33483" y="302327"/>
                  </a:cubicBezTo>
                  <a:lnTo>
                    <a:pt x="44042" y="275562"/>
                  </a:lnTo>
                  <a:cubicBezTo>
                    <a:pt x="46602" y="269129"/>
                    <a:pt x="53847" y="265947"/>
                    <a:pt x="60307" y="268418"/>
                  </a:cubicBezTo>
                  <a:lnTo>
                    <a:pt x="95217" y="282229"/>
                  </a:lnTo>
                  <a:cubicBezTo>
                    <a:pt x="109589" y="252172"/>
                    <a:pt x="127677" y="224043"/>
                    <a:pt x="149056" y="198504"/>
                  </a:cubicBezTo>
                  <a:lnTo>
                    <a:pt x="150197" y="197171"/>
                  </a:lnTo>
                  <a:lnTo>
                    <a:pt x="152290" y="197171"/>
                  </a:lnTo>
                  <a:lnTo>
                    <a:pt x="150102" y="199647"/>
                  </a:lnTo>
                  <a:cubicBezTo>
                    <a:pt x="128250" y="225533"/>
                    <a:pt x="109805" y="254119"/>
                    <a:pt x="95217" y="284705"/>
                  </a:cubicBezTo>
                  <a:lnTo>
                    <a:pt x="60307" y="270799"/>
                  </a:lnTo>
                  <a:cubicBezTo>
                    <a:pt x="53847" y="268328"/>
                    <a:pt x="46602" y="271510"/>
                    <a:pt x="44042" y="277943"/>
                  </a:cubicBezTo>
                  <a:lnTo>
                    <a:pt x="33483" y="304708"/>
                  </a:lnTo>
                  <a:cubicBezTo>
                    <a:pt x="33020" y="305799"/>
                    <a:pt x="32732" y="306956"/>
                    <a:pt x="32627" y="308137"/>
                  </a:cubicBezTo>
                  <a:close/>
                  <a:moveTo>
                    <a:pt x="119283" y="163167"/>
                  </a:moveTo>
                  <a:cubicBezTo>
                    <a:pt x="119078" y="159639"/>
                    <a:pt x="120354" y="156186"/>
                    <a:pt x="122802" y="153642"/>
                  </a:cubicBezTo>
                  <a:lnTo>
                    <a:pt x="142873" y="132972"/>
                  </a:lnTo>
                  <a:cubicBezTo>
                    <a:pt x="147720" y="128080"/>
                    <a:pt x="155609" y="128048"/>
                    <a:pt x="160495" y="132902"/>
                  </a:cubicBezTo>
                  <a:cubicBezTo>
                    <a:pt x="160518" y="132925"/>
                    <a:pt x="160542" y="132949"/>
                    <a:pt x="160565" y="132972"/>
                  </a:cubicBezTo>
                  <a:lnTo>
                    <a:pt x="187580" y="159166"/>
                  </a:lnTo>
                  <a:cubicBezTo>
                    <a:pt x="212476" y="136700"/>
                    <a:pt x="240124" y="117496"/>
                    <a:pt x="269860" y="102016"/>
                  </a:cubicBezTo>
                  <a:lnTo>
                    <a:pt x="270716" y="101540"/>
                  </a:lnTo>
                  <a:lnTo>
                    <a:pt x="272333" y="103064"/>
                  </a:lnTo>
                  <a:lnTo>
                    <a:pt x="270716" y="103826"/>
                  </a:lnTo>
                  <a:cubicBezTo>
                    <a:pt x="240664" y="119446"/>
                    <a:pt x="212726" y="138843"/>
                    <a:pt x="187580" y="161547"/>
                  </a:cubicBezTo>
                  <a:lnTo>
                    <a:pt x="160565" y="135354"/>
                  </a:lnTo>
                  <a:cubicBezTo>
                    <a:pt x="155719" y="130461"/>
                    <a:pt x="147829" y="130430"/>
                    <a:pt x="142943" y="135283"/>
                  </a:cubicBezTo>
                  <a:cubicBezTo>
                    <a:pt x="142920" y="135306"/>
                    <a:pt x="142896" y="135330"/>
                    <a:pt x="142873" y="135354"/>
                  </a:cubicBezTo>
                  <a:lnTo>
                    <a:pt x="122802" y="156023"/>
                  </a:lnTo>
                  <a:cubicBezTo>
                    <a:pt x="120811" y="158097"/>
                    <a:pt x="119571" y="160780"/>
                    <a:pt x="119283" y="163643"/>
                  </a:cubicBezTo>
                  <a:close/>
                  <a:moveTo>
                    <a:pt x="254831" y="62487"/>
                  </a:moveTo>
                  <a:cubicBezTo>
                    <a:pt x="255253" y="57912"/>
                    <a:pt x="258134" y="53931"/>
                    <a:pt x="262345" y="52105"/>
                  </a:cubicBezTo>
                  <a:lnTo>
                    <a:pt x="288694" y="40675"/>
                  </a:lnTo>
                  <a:cubicBezTo>
                    <a:pt x="295052" y="37938"/>
                    <a:pt x="302426" y="40823"/>
                    <a:pt x="305245" y="47152"/>
                  </a:cubicBezTo>
                  <a:lnTo>
                    <a:pt x="320084" y="81633"/>
                  </a:lnTo>
                  <a:cubicBezTo>
                    <a:pt x="352015" y="70321"/>
                    <a:pt x="385261" y="63151"/>
                    <a:pt x="419010" y="60297"/>
                  </a:cubicBezTo>
                  <a:lnTo>
                    <a:pt x="419010" y="58011"/>
                  </a:lnTo>
                  <a:cubicBezTo>
                    <a:pt x="385292" y="60865"/>
                    <a:pt x="352077" y="68035"/>
                    <a:pt x="320179" y="79347"/>
                  </a:cubicBezTo>
                  <a:lnTo>
                    <a:pt x="304960" y="44485"/>
                  </a:lnTo>
                  <a:cubicBezTo>
                    <a:pt x="302138" y="38159"/>
                    <a:pt x="294793" y="35243"/>
                    <a:pt x="288409" y="37913"/>
                  </a:cubicBezTo>
                  <a:lnTo>
                    <a:pt x="262060" y="49438"/>
                  </a:lnTo>
                  <a:cubicBezTo>
                    <a:pt x="257067" y="51571"/>
                    <a:pt x="254027" y="56695"/>
                    <a:pt x="254545" y="62106"/>
                  </a:cubicBezTo>
                  <a:close/>
                  <a:moveTo>
                    <a:pt x="721782" y="455584"/>
                  </a:moveTo>
                  <a:cubicBezTo>
                    <a:pt x="722176" y="604614"/>
                    <a:pt x="601845" y="725747"/>
                    <a:pt x="453016" y="726142"/>
                  </a:cubicBezTo>
                  <a:cubicBezTo>
                    <a:pt x="304187" y="726536"/>
                    <a:pt x="183218" y="606043"/>
                    <a:pt x="182824" y="457013"/>
                  </a:cubicBezTo>
                  <a:lnTo>
                    <a:pt x="182824" y="459299"/>
                  </a:lnTo>
                  <a:cubicBezTo>
                    <a:pt x="183848" y="608329"/>
                    <a:pt x="305329" y="728311"/>
                    <a:pt x="454158" y="727285"/>
                  </a:cubicBezTo>
                  <a:cubicBezTo>
                    <a:pt x="602987" y="726259"/>
                    <a:pt x="722806" y="604614"/>
                    <a:pt x="721782" y="455584"/>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42" name="Freeform 41">
              <a:extLst>
                <a:ext uri="{FF2B5EF4-FFF2-40B4-BE49-F238E27FC236}">
                  <a16:creationId xmlns="" xmlns:a16="http://schemas.microsoft.com/office/drawing/2014/main" id="{47137C31-B773-894D-BB25-CFACCF8D5246}"/>
                </a:ext>
              </a:extLst>
            </p:cNvPr>
            <p:cNvSpPr/>
            <p:nvPr/>
          </p:nvSpPr>
          <p:spPr>
            <a:xfrm>
              <a:off x="4542371" y="4521885"/>
              <a:ext cx="1027164" cy="974418"/>
            </a:xfrm>
            <a:custGeom>
              <a:avLst/>
              <a:gdLst>
                <a:gd name="connsiteX0" fmla="*/ 637028 w 903653"/>
                <a:gd name="connsiteY0" fmla="*/ 7144 h 857250"/>
                <a:gd name="connsiteX1" fmla="*/ 636172 w 903653"/>
                <a:gd name="connsiteY1" fmla="*/ 12859 h 857250"/>
                <a:gd name="connsiteX2" fmla="*/ 622570 w 903653"/>
                <a:gd name="connsiteY2" fmla="*/ 47816 h 857250"/>
                <a:gd name="connsiteX3" fmla="*/ 621048 w 903653"/>
                <a:gd name="connsiteY3" fmla="*/ 49339 h 857250"/>
                <a:gd name="connsiteX4" fmla="*/ 636363 w 903653"/>
                <a:gd name="connsiteY4" fmla="*/ 10573 h 857250"/>
                <a:gd name="connsiteX5" fmla="*/ 637219 w 903653"/>
                <a:gd name="connsiteY5" fmla="*/ 7144 h 857250"/>
                <a:gd name="connsiteX6" fmla="*/ 775620 w 903653"/>
                <a:gd name="connsiteY6" fmla="*/ 103346 h 857250"/>
                <a:gd name="connsiteX7" fmla="*/ 772196 w 903653"/>
                <a:gd name="connsiteY7" fmla="*/ 112871 h 857250"/>
                <a:gd name="connsiteX8" fmla="*/ 746228 w 903653"/>
                <a:gd name="connsiteY8" fmla="*/ 140017 h 857250"/>
                <a:gd name="connsiteX9" fmla="*/ 744135 w 903653"/>
                <a:gd name="connsiteY9" fmla="*/ 140017 h 857250"/>
                <a:gd name="connsiteX10" fmla="*/ 772672 w 903653"/>
                <a:gd name="connsiteY10" fmla="*/ 110871 h 857250"/>
                <a:gd name="connsiteX11" fmla="*/ 776096 w 903653"/>
                <a:gd name="connsiteY11" fmla="*/ 103251 h 857250"/>
                <a:gd name="connsiteX12" fmla="*/ 866937 w 903653"/>
                <a:gd name="connsiteY12" fmla="*/ 245364 h 857250"/>
                <a:gd name="connsiteX13" fmla="*/ 859422 w 903653"/>
                <a:gd name="connsiteY13" fmla="*/ 258032 h 857250"/>
                <a:gd name="connsiteX14" fmla="*/ 824988 w 903653"/>
                <a:gd name="connsiteY14" fmla="*/ 273367 h 857250"/>
                <a:gd name="connsiteX15" fmla="*/ 823562 w 903653"/>
                <a:gd name="connsiteY15" fmla="*/ 271748 h 857250"/>
                <a:gd name="connsiteX16" fmla="*/ 859422 w 903653"/>
                <a:gd name="connsiteY16" fmla="*/ 256127 h 857250"/>
                <a:gd name="connsiteX17" fmla="*/ 866937 w 903653"/>
                <a:gd name="connsiteY17" fmla="*/ 245745 h 857250"/>
                <a:gd name="connsiteX18" fmla="*/ 897090 w 903653"/>
                <a:gd name="connsiteY18" fmla="*/ 411194 h 857250"/>
                <a:gd name="connsiteX19" fmla="*/ 897090 w 903653"/>
                <a:gd name="connsiteY19" fmla="*/ 412623 h 857250"/>
                <a:gd name="connsiteX20" fmla="*/ 884725 w 903653"/>
                <a:gd name="connsiteY20" fmla="*/ 425386 h 857250"/>
                <a:gd name="connsiteX21" fmla="*/ 847152 w 903653"/>
                <a:gd name="connsiteY21" fmla="*/ 425958 h 857250"/>
                <a:gd name="connsiteX22" fmla="*/ 829744 w 903653"/>
                <a:gd name="connsiteY22" fmla="*/ 523494 h 857250"/>
                <a:gd name="connsiteX23" fmla="*/ 829174 w 903653"/>
                <a:gd name="connsiteY23" fmla="*/ 523494 h 857250"/>
                <a:gd name="connsiteX24" fmla="*/ 847152 w 903653"/>
                <a:gd name="connsiteY24" fmla="*/ 423862 h 857250"/>
                <a:gd name="connsiteX25" fmla="*/ 884725 w 903653"/>
                <a:gd name="connsiteY25" fmla="*/ 423196 h 857250"/>
                <a:gd name="connsiteX26" fmla="*/ 897090 w 903653"/>
                <a:gd name="connsiteY26" fmla="*/ 411385 h 857250"/>
                <a:gd name="connsiteX27" fmla="*/ 871883 w 903653"/>
                <a:gd name="connsiteY27" fmla="*/ 549593 h 857250"/>
                <a:gd name="connsiteX28" fmla="*/ 871027 w 903653"/>
                <a:gd name="connsiteY28" fmla="*/ 555308 h 857250"/>
                <a:gd name="connsiteX29" fmla="*/ 860374 w 903653"/>
                <a:gd name="connsiteY29" fmla="*/ 582549 h 857250"/>
                <a:gd name="connsiteX30" fmla="*/ 844108 w 903653"/>
                <a:gd name="connsiteY30" fmla="*/ 589598 h 857250"/>
                <a:gd name="connsiteX31" fmla="*/ 809198 w 903653"/>
                <a:gd name="connsiteY31" fmla="*/ 575786 h 857250"/>
                <a:gd name="connsiteX32" fmla="*/ 755359 w 903653"/>
                <a:gd name="connsiteY32" fmla="*/ 659511 h 857250"/>
                <a:gd name="connsiteX33" fmla="*/ 754313 w 903653"/>
                <a:gd name="connsiteY33" fmla="*/ 660844 h 857250"/>
                <a:gd name="connsiteX34" fmla="*/ 752316 w 903653"/>
                <a:gd name="connsiteY34" fmla="*/ 660844 h 857250"/>
                <a:gd name="connsiteX35" fmla="*/ 754313 w 903653"/>
                <a:gd name="connsiteY35" fmla="*/ 658177 h 857250"/>
                <a:gd name="connsiteX36" fmla="*/ 809198 w 903653"/>
                <a:gd name="connsiteY36" fmla="*/ 573214 h 857250"/>
                <a:gd name="connsiteX37" fmla="*/ 844203 w 903653"/>
                <a:gd name="connsiteY37" fmla="*/ 587693 h 857250"/>
                <a:gd name="connsiteX38" fmla="*/ 860469 w 903653"/>
                <a:gd name="connsiteY38" fmla="*/ 580644 h 857250"/>
                <a:gd name="connsiteX39" fmla="*/ 871027 w 903653"/>
                <a:gd name="connsiteY39" fmla="*/ 553784 h 857250"/>
                <a:gd name="connsiteX40" fmla="*/ 871883 w 903653"/>
                <a:gd name="connsiteY40" fmla="*/ 550355 h 857250"/>
                <a:gd name="connsiteX41" fmla="*/ 785132 w 903653"/>
                <a:gd name="connsiteY41" fmla="*/ 694468 h 857250"/>
                <a:gd name="connsiteX42" fmla="*/ 781708 w 903653"/>
                <a:gd name="connsiteY42" fmla="*/ 703993 h 857250"/>
                <a:gd name="connsiteX43" fmla="*/ 761637 w 903653"/>
                <a:gd name="connsiteY43" fmla="*/ 724757 h 857250"/>
                <a:gd name="connsiteX44" fmla="*/ 744015 w 903653"/>
                <a:gd name="connsiteY44" fmla="*/ 724828 h 857250"/>
                <a:gd name="connsiteX45" fmla="*/ 743945 w 903653"/>
                <a:gd name="connsiteY45" fmla="*/ 724757 h 857250"/>
                <a:gd name="connsiteX46" fmla="*/ 716930 w 903653"/>
                <a:gd name="connsiteY46" fmla="*/ 698563 h 857250"/>
                <a:gd name="connsiteX47" fmla="*/ 634650 w 903653"/>
                <a:gd name="connsiteY47" fmla="*/ 755713 h 857250"/>
                <a:gd name="connsiteX48" fmla="*/ 633794 w 903653"/>
                <a:gd name="connsiteY48" fmla="*/ 755713 h 857250"/>
                <a:gd name="connsiteX49" fmla="*/ 632177 w 903653"/>
                <a:gd name="connsiteY49" fmla="*/ 754285 h 857250"/>
                <a:gd name="connsiteX50" fmla="*/ 716930 w 903653"/>
                <a:gd name="connsiteY50" fmla="*/ 695706 h 857250"/>
                <a:gd name="connsiteX51" fmla="*/ 743945 w 903653"/>
                <a:gd name="connsiteY51" fmla="*/ 721900 h 857250"/>
                <a:gd name="connsiteX52" fmla="*/ 761567 w 903653"/>
                <a:gd name="connsiteY52" fmla="*/ 721970 h 857250"/>
                <a:gd name="connsiteX53" fmla="*/ 761637 w 903653"/>
                <a:gd name="connsiteY53" fmla="*/ 721900 h 857250"/>
                <a:gd name="connsiteX54" fmla="*/ 781708 w 903653"/>
                <a:gd name="connsiteY54" fmla="*/ 701230 h 857250"/>
                <a:gd name="connsiteX55" fmla="*/ 785132 w 903653"/>
                <a:gd name="connsiteY55" fmla="*/ 693610 h 857250"/>
                <a:gd name="connsiteX56" fmla="*/ 649680 w 903653"/>
                <a:gd name="connsiteY56" fmla="*/ 795147 h 857250"/>
                <a:gd name="connsiteX57" fmla="*/ 642165 w 903653"/>
                <a:gd name="connsiteY57" fmla="*/ 807815 h 857250"/>
                <a:gd name="connsiteX58" fmla="*/ 615721 w 903653"/>
                <a:gd name="connsiteY58" fmla="*/ 819341 h 857250"/>
                <a:gd name="connsiteX59" fmla="*/ 599265 w 903653"/>
                <a:gd name="connsiteY59" fmla="*/ 812768 h 857250"/>
                <a:gd name="connsiteX60" fmla="*/ 584521 w 903653"/>
                <a:gd name="connsiteY60" fmla="*/ 778669 h 857250"/>
                <a:gd name="connsiteX61" fmla="*/ 485690 w 903653"/>
                <a:gd name="connsiteY61" fmla="*/ 800005 h 857250"/>
                <a:gd name="connsiteX62" fmla="*/ 485690 w 903653"/>
                <a:gd name="connsiteY62" fmla="*/ 797719 h 857250"/>
                <a:gd name="connsiteX63" fmla="*/ 584521 w 903653"/>
                <a:gd name="connsiteY63" fmla="*/ 776383 h 857250"/>
                <a:gd name="connsiteX64" fmla="*/ 599455 w 903653"/>
                <a:gd name="connsiteY64" fmla="*/ 810863 h 857250"/>
                <a:gd name="connsiteX65" fmla="*/ 615911 w 903653"/>
                <a:gd name="connsiteY65" fmla="*/ 817340 h 857250"/>
                <a:gd name="connsiteX66" fmla="*/ 642355 w 903653"/>
                <a:gd name="connsiteY66" fmla="*/ 805910 h 857250"/>
                <a:gd name="connsiteX67" fmla="*/ 649870 w 903653"/>
                <a:gd name="connsiteY67" fmla="*/ 795528 h 857250"/>
                <a:gd name="connsiteX68" fmla="*/ 486071 w 903653"/>
                <a:gd name="connsiteY68" fmla="*/ 835819 h 857250"/>
                <a:gd name="connsiteX69" fmla="*/ 473800 w 903653"/>
                <a:gd name="connsiteY69" fmla="*/ 847725 h 857250"/>
                <a:gd name="connsiteX70" fmla="*/ 445264 w 903653"/>
                <a:gd name="connsiteY70" fmla="*/ 847725 h 857250"/>
                <a:gd name="connsiteX71" fmla="*/ 432519 w 903653"/>
                <a:gd name="connsiteY71" fmla="*/ 835538 h 857250"/>
                <a:gd name="connsiteX72" fmla="*/ 432517 w 903653"/>
                <a:gd name="connsiteY72" fmla="*/ 835438 h 857250"/>
                <a:gd name="connsiteX73" fmla="*/ 431947 w 903653"/>
                <a:gd name="connsiteY73" fmla="*/ 797338 h 857250"/>
                <a:gd name="connsiteX74" fmla="*/ 332449 w 903653"/>
                <a:gd name="connsiteY74" fmla="*/ 779240 h 857250"/>
                <a:gd name="connsiteX75" fmla="*/ 318181 w 903653"/>
                <a:gd name="connsiteY75" fmla="*/ 815435 h 857250"/>
                <a:gd name="connsiteX76" fmla="*/ 301915 w 903653"/>
                <a:gd name="connsiteY76" fmla="*/ 822484 h 857250"/>
                <a:gd name="connsiteX77" fmla="*/ 275091 w 903653"/>
                <a:gd name="connsiteY77" fmla="*/ 811816 h 857250"/>
                <a:gd name="connsiteX78" fmla="*/ 267196 w 903653"/>
                <a:gd name="connsiteY78" fmla="*/ 801243 h 857250"/>
                <a:gd name="connsiteX79" fmla="*/ 275091 w 903653"/>
                <a:gd name="connsiteY79" fmla="*/ 814102 h 857250"/>
                <a:gd name="connsiteX80" fmla="*/ 301915 w 903653"/>
                <a:gd name="connsiteY80" fmla="*/ 824770 h 857250"/>
                <a:gd name="connsiteX81" fmla="*/ 318181 w 903653"/>
                <a:gd name="connsiteY81" fmla="*/ 817721 h 857250"/>
                <a:gd name="connsiteX82" fmla="*/ 331974 w 903653"/>
                <a:gd name="connsiteY82" fmla="*/ 782764 h 857250"/>
                <a:gd name="connsiteX83" fmla="*/ 431471 w 903653"/>
                <a:gd name="connsiteY83" fmla="*/ 800862 h 857250"/>
                <a:gd name="connsiteX84" fmla="*/ 432042 w 903653"/>
                <a:gd name="connsiteY84" fmla="*/ 838962 h 857250"/>
                <a:gd name="connsiteX85" fmla="*/ 444788 w 903653"/>
                <a:gd name="connsiteY85" fmla="*/ 851345 h 857250"/>
                <a:gd name="connsiteX86" fmla="*/ 473324 w 903653"/>
                <a:gd name="connsiteY86" fmla="*/ 851344 h 857250"/>
                <a:gd name="connsiteX87" fmla="*/ 485690 w 903653"/>
                <a:gd name="connsiteY87" fmla="*/ 838581 h 857250"/>
                <a:gd name="connsiteX88" fmla="*/ 485690 w 903653"/>
                <a:gd name="connsiteY88" fmla="*/ 837152 h 857250"/>
                <a:gd name="connsiteX89" fmla="*/ 281274 w 903653"/>
                <a:gd name="connsiteY89" fmla="*/ 762191 h 857250"/>
                <a:gd name="connsiteX90" fmla="*/ 197092 w 903653"/>
                <a:gd name="connsiteY90" fmla="*/ 707612 h 857250"/>
                <a:gd name="connsiteX91" fmla="*/ 170933 w 903653"/>
                <a:gd name="connsiteY91" fmla="*/ 734663 h 857250"/>
                <a:gd name="connsiteX92" fmla="*/ 153241 w 903653"/>
                <a:gd name="connsiteY92" fmla="*/ 734663 h 857250"/>
                <a:gd name="connsiteX93" fmla="*/ 132504 w 903653"/>
                <a:gd name="connsiteY93" fmla="*/ 714566 h 857250"/>
                <a:gd name="connsiteX94" fmla="*/ 128794 w 903653"/>
                <a:gd name="connsiteY94" fmla="*/ 704374 h 857250"/>
                <a:gd name="connsiteX95" fmla="*/ 132504 w 903653"/>
                <a:gd name="connsiteY95" fmla="*/ 712280 h 857250"/>
                <a:gd name="connsiteX96" fmla="*/ 153241 w 903653"/>
                <a:gd name="connsiteY96" fmla="*/ 732282 h 857250"/>
                <a:gd name="connsiteX97" fmla="*/ 170727 w 903653"/>
                <a:gd name="connsiteY97" fmla="*/ 732488 h 857250"/>
                <a:gd name="connsiteX98" fmla="*/ 170933 w 903653"/>
                <a:gd name="connsiteY98" fmla="*/ 732282 h 857250"/>
                <a:gd name="connsiteX99" fmla="*/ 197092 w 903653"/>
                <a:gd name="connsiteY99" fmla="*/ 705231 h 857250"/>
                <a:gd name="connsiteX100" fmla="*/ 283557 w 903653"/>
                <a:gd name="connsiteY100" fmla="*/ 760952 h 857250"/>
                <a:gd name="connsiteX101" fmla="*/ 281940 w 903653"/>
                <a:gd name="connsiteY101" fmla="*/ 762572 h 857250"/>
                <a:gd name="connsiteX102" fmla="*/ 281274 w 903653"/>
                <a:gd name="connsiteY102" fmla="*/ 762572 h 857250"/>
                <a:gd name="connsiteX103" fmla="*/ 157616 w 903653"/>
                <a:gd name="connsiteY103" fmla="*/ 668846 h 857250"/>
                <a:gd name="connsiteX104" fmla="*/ 101114 w 903653"/>
                <a:gd name="connsiteY104" fmla="*/ 586835 h 857250"/>
                <a:gd name="connsiteX105" fmla="*/ 66680 w 903653"/>
                <a:gd name="connsiteY105" fmla="*/ 601789 h 857250"/>
                <a:gd name="connsiteX106" fmla="*/ 50129 w 903653"/>
                <a:gd name="connsiteY106" fmla="*/ 595217 h 857250"/>
                <a:gd name="connsiteX107" fmla="*/ 38714 w 903653"/>
                <a:gd name="connsiteY107" fmla="*/ 568738 h 857250"/>
                <a:gd name="connsiteX108" fmla="*/ 37763 w 903653"/>
                <a:gd name="connsiteY108" fmla="*/ 562642 h 857250"/>
                <a:gd name="connsiteX109" fmla="*/ 38714 w 903653"/>
                <a:gd name="connsiteY109" fmla="*/ 566452 h 857250"/>
                <a:gd name="connsiteX110" fmla="*/ 50129 w 903653"/>
                <a:gd name="connsiteY110" fmla="*/ 592931 h 857250"/>
                <a:gd name="connsiteX111" fmla="*/ 66680 w 903653"/>
                <a:gd name="connsiteY111" fmla="*/ 599504 h 857250"/>
                <a:gd name="connsiteX112" fmla="*/ 101114 w 903653"/>
                <a:gd name="connsiteY112" fmla="*/ 584549 h 857250"/>
                <a:gd name="connsiteX113" fmla="*/ 160755 w 903653"/>
                <a:gd name="connsiteY113" fmla="*/ 670274 h 857250"/>
                <a:gd name="connsiteX114" fmla="*/ 158663 w 903653"/>
                <a:gd name="connsiteY114" fmla="*/ 670274 h 857250"/>
                <a:gd name="connsiteX115" fmla="*/ 157616 w 903653"/>
                <a:gd name="connsiteY115" fmla="*/ 669131 h 857250"/>
                <a:gd name="connsiteX116" fmla="*/ 78951 w 903653"/>
                <a:gd name="connsiteY116" fmla="*/ 535496 h 857250"/>
                <a:gd name="connsiteX117" fmla="*/ 58405 w 903653"/>
                <a:gd name="connsiteY117" fmla="*/ 438531 h 857250"/>
                <a:gd name="connsiteX118" fmla="*/ 20356 w 903653"/>
                <a:gd name="connsiteY118" fmla="*/ 439102 h 857250"/>
                <a:gd name="connsiteX119" fmla="*/ 7610 w 903653"/>
                <a:gd name="connsiteY119" fmla="*/ 426723 h 857250"/>
                <a:gd name="connsiteX120" fmla="*/ 7610 w 903653"/>
                <a:gd name="connsiteY120" fmla="*/ 426720 h 857250"/>
                <a:gd name="connsiteX121" fmla="*/ 7134 w 903653"/>
                <a:gd name="connsiteY121" fmla="*/ 398145 h 857250"/>
                <a:gd name="connsiteX122" fmla="*/ 7134 w 903653"/>
                <a:gd name="connsiteY122" fmla="*/ 397192 h 857250"/>
                <a:gd name="connsiteX123" fmla="*/ 7610 w 903653"/>
                <a:gd name="connsiteY123" fmla="*/ 424625 h 857250"/>
                <a:gd name="connsiteX124" fmla="*/ 20353 w 903653"/>
                <a:gd name="connsiteY124" fmla="*/ 437007 h 857250"/>
                <a:gd name="connsiteX125" fmla="*/ 20356 w 903653"/>
                <a:gd name="connsiteY125" fmla="*/ 437007 h 857250"/>
                <a:gd name="connsiteX126" fmla="*/ 58405 w 903653"/>
                <a:gd name="connsiteY126" fmla="*/ 436435 h 857250"/>
                <a:gd name="connsiteX127" fmla="*/ 79617 w 903653"/>
                <a:gd name="connsiteY127" fmla="*/ 535400 h 857250"/>
                <a:gd name="connsiteX128" fmla="*/ 80948 w 903653"/>
                <a:gd name="connsiteY128" fmla="*/ 539401 h 857250"/>
                <a:gd name="connsiteX129" fmla="*/ 79617 w 903653"/>
                <a:gd name="connsiteY129" fmla="*/ 537686 h 857250"/>
                <a:gd name="connsiteX130" fmla="*/ 78951 w 903653"/>
                <a:gd name="connsiteY130" fmla="*/ 535686 h 857250"/>
                <a:gd name="connsiteX131" fmla="*/ 75526 w 903653"/>
                <a:gd name="connsiteY131" fmla="*/ 284893 h 857250"/>
                <a:gd name="connsiteX132" fmla="*/ 40712 w 903653"/>
                <a:gd name="connsiteY132" fmla="*/ 271081 h 857250"/>
                <a:gd name="connsiteX133" fmla="*/ 32817 w 903653"/>
                <a:gd name="connsiteY133" fmla="*/ 258223 h 857250"/>
                <a:gd name="connsiteX134" fmla="*/ 40712 w 903653"/>
                <a:gd name="connsiteY134" fmla="*/ 268795 h 857250"/>
                <a:gd name="connsiteX135" fmla="*/ 76953 w 903653"/>
                <a:gd name="connsiteY135" fmla="*/ 283273 h 857250"/>
                <a:gd name="connsiteX136" fmla="*/ 75526 w 903653"/>
                <a:gd name="connsiteY136" fmla="*/ 284893 h 857250"/>
                <a:gd name="connsiteX137" fmla="*/ 150007 w 903653"/>
                <a:gd name="connsiteY137" fmla="*/ 149542 h 857250"/>
                <a:gd name="connsiteX138" fmla="*/ 122992 w 903653"/>
                <a:gd name="connsiteY138" fmla="*/ 123349 h 857250"/>
                <a:gd name="connsiteX139" fmla="*/ 119187 w 903653"/>
                <a:gd name="connsiteY139" fmla="*/ 113157 h 857250"/>
                <a:gd name="connsiteX140" fmla="*/ 122992 w 903653"/>
                <a:gd name="connsiteY140" fmla="*/ 121063 h 857250"/>
                <a:gd name="connsiteX141" fmla="*/ 152194 w 903653"/>
                <a:gd name="connsiteY141" fmla="*/ 149638 h 857250"/>
                <a:gd name="connsiteX142" fmla="*/ 150007 w 903653"/>
                <a:gd name="connsiteY142" fmla="*/ 149638 h 857250"/>
                <a:gd name="connsiteX143" fmla="*/ 270621 w 903653"/>
                <a:gd name="connsiteY143" fmla="*/ 53435 h 857250"/>
                <a:gd name="connsiteX144" fmla="*/ 255782 w 903653"/>
                <a:gd name="connsiteY144" fmla="*/ 18955 h 857250"/>
                <a:gd name="connsiteX145" fmla="*/ 254830 w 903653"/>
                <a:gd name="connsiteY145" fmla="*/ 12859 h 857250"/>
                <a:gd name="connsiteX146" fmla="*/ 255782 w 903653"/>
                <a:gd name="connsiteY146" fmla="*/ 16669 h 857250"/>
                <a:gd name="connsiteX147" fmla="*/ 272333 w 903653"/>
                <a:gd name="connsiteY147" fmla="*/ 54769 h 857250"/>
                <a:gd name="connsiteX148" fmla="*/ 270621 w 903653"/>
                <a:gd name="connsiteY148" fmla="*/ 53245 h 857250"/>
                <a:gd name="connsiteX149" fmla="*/ 447927 w 903653"/>
                <a:gd name="connsiteY149" fmla="*/ 135541 h 857250"/>
                <a:gd name="connsiteX150" fmla="*/ 721777 w 903653"/>
                <a:gd name="connsiteY150" fmla="*/ 400741 h 857250"/>
                <a:gd name="connsiteX151" fmla="*/ 721782 w 903653"/>
                <a:gd name="connsiteY151" fmla="*/ 401002 h 857250"/>
                <a:gd name="connsiteX152" fmla="*/ 721782 w 903653"/>
                <a:gd name="connsiteY152" fmla="*/ 398717 h 857250"/>
                <a:gd name="connsiteX153" fmla="*/ 450448 w 903653"/>
                <a:gd name="connsiteY153" fmla="*/ 130731 h 857250"/>
                <a:gd name="connsiteX154" fmla="*/ 182823 w 903653"/>
                <a:gd name="connsiteY154" fmla="*/ 402431 h 857250"/>
                <a:gd name="connsiteX155" fmla="*/ 447832 w 903653"/>
                <a:gd name="connsiteY155" fmla="*/ 135541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903653" h="857250">
                  <a:moveTo>
                    <a:pt x="637028" y="7144"/>
                  </a:moveTo>
                  <a:cubicBezTo>
                    <a:pt x="637205" y="9090"/>
                    <a:pt x="636911" y="11050"/>
                    <a:pt x="636172" y="12859"/>
                  </a:cubicBezTo>
                  <a:lnTo>
                    <a:pt x="622570" y="47816"/>
                  </a:lnTo>
                  <a:lnTo>
                    <a:pt x="621048" y="49339"/>
                  </a:lnTo>
                  <a:lnTo>
                    <a:pt x="636363" y="10573"/>
                  </a:lnTo>
                  <a:cubicBezTo>
                    <a:pt x="636825" y="9482"/>
                    <a:pt x="637114" y="8325"/>
                    <a:pt x="637219" y="7144"/>
                  </a:cubicBezTo>
                  <a:close/>
                  <a:moveTo>
                    <a:pt x="775620" y="103346"/>
                  </a:moveTo>
                  <a:cubicBezTo>
                    <a:pt x="775899" y="106866"/>
                    <a:pt x="774651" y="110336"/>
                    <a:pt x="772196" y="112871"/>
                  </a:cubicBezTo>
                  <a:lnTo>
                    <a:pt x="746228" y="140017"/>
                  </a:lnTo>
                  <a:lnTo>
                    <a:pt x="744135" y="140017"/>
                  </a:lnTo>
                  <a:lnTo>
                    <a:pt x="772672" y="110871"/>
                  </a:lnTo>
                  <a:cubicBezTo>
                    <a:pt x="774641" y="108792"/>
                    <a:pt x="775848" y="106106"/>
                    <a:pt x="776096" y="103251"/>
                  </a:cubicBezTo>
                  <a:close/>
                  <a:moveTo>
                    <a:pt x="866937" y="245364"/>
                  </a:moveTo>
                  <a:cubicBezTo>
                    <a:pt x="867455" y="250775"/>
                    <a:pt x="864416" y="255899"/>
                    <a:pt x="859422" y="258032"/>
                  </a:cubicBezTo>
                  <a:lnTo>
                    <a:pt x="824988" y="273367"/>
                  </a:lnTo>
                  <a:lnTo>
                    <a:pt x="823562" y="271748"/>
                  </a:lnTo>
                  <a:lnTo>
                    <a:pt x="859422" y="256127"/>
                  </a:lnTo>
                  <a:cubicBezTo>
                    <a:pt x="863675" y="254353"/>
                    <a:pt x="866577" y="250344"/>
                    <a:pt x="866937" y="245745"/>
                  </a:cubicBezTo>
                  <a:close/>
                  <a:moveTo>
                    <a:pt x="897090" y="411194"/>
                  </a:moveTo>
                  <a:lnTo>
                    <a:pt x="897090" y="412623"/>
                  </a:lnTo>
                  <a:cubicBezTo>
                    <a:pt x="897144" y="419546"/>
                    <a:pt x="891637" y="425230"/>
                    <a:pt x="884725" y="425386"/>
                  </a:cubicBezTo>
                  <a:lnTo>
                    <a:pt x="847152" y="425958"/>
                  </a:lnTo>
                  <a:cubicBezTo>
                    <a:pt x="845483" y="459075"/>
                    <a:pt x="839634" y="491848"/>
                    <a:pt x="829744" y="523494"/>
                  </a:cubicBezTo>
                  <a:lnTo>
                    <a:pt x="829174" y="523494"/>
                  </a:lnTo>
                  <a:cubicBezTo>
                    <a:pt x="839436" y="491200"/>
                    <a:pt x="845479" y="457711"/>
                    <a:pt x="847152" y="423862"/>
                  </a:cubicBezTo>
                  <a:lnTo>
                    <a:pt x="884725" y="423196"/>
                  </a:lnTo>
                  <a:cubicBezTo>
                    <a:pt x="891280" y="423063"/>
                    <a:pt x="896648" y="417936"/>
                    <a:pt x="897090" y="411385"/>
                  </a:cubicBezTo>
                  <a:close/>
                  <a:moveTo>
                    <a:pt x="871883" y="549593"/>
                  </a:moveTo>
                  <a:cubicBezTo>
                    <a:pt x="872067" y="551539"/>
                    <a:pt x="871773" y="553501"/>
                    <a:pt x="871027" y="555308"/>
                  </a:cubicBezTo>
                  <a:lnTo>
                    <a:pt x="860374" y="582549"/>
                  </a:lnTo>
                  <a:cubicBezTo>
                    <a:pt x="857776" y="588944"/>
                    <a:pt x="850542" y="592079"/>
                    <a:pt x="844108" y="589598"/>
                  </a:cubicBezTo>
                  <a:lnTo>
                    <a:pt x="809198" y="575786"/>
                  </a:lnTo>
                  <a:cubicBezTo>
                    <a:pt x="794826" y="605843"/>
                    <a:pt x="776738" y="633972"/>
                    <a:pt x="755359" y="659511"/>
                  </a:cubicBezTo>
                  <a:lnTo>
                    <a:pt x="754313" y="660844"/>
                  </a:lnTo>
                  <a:lnTo>
                    <a:pt x="752316" y="660844"/>
                  </a:lnTo>
                  <a:lnTo>
                    <a:pt x="754313" y="658177"/>
                  </a:lnTo>
                  <a:cubicBezTo>
                    <a:pt x="776143" y="632310"/>
                    <a:pt x="794587" y="603758"/>
                    <a:pt x="809198" y="573214"/>
                  </a:cubicBezTo>
                  <a:lnTo>
                    <a:pt x="844203" y="587693"/>
                  </a:lnTo>
                  <a:cubicBezTo>
                    <a:pt x="850637" y="590174"/>
                    <a:pt x="857871" y="587039"/>
                    <a:pt x="860469" y="580644"/>
                  </a:cubicBezTo>
                  <a:lnTo>
                    <a:pt x="871027" y="553784"/>
                  </a:lnTo>
                  <a:cubicBezTo>
                    <a:pt x="871490" y="552692"/>
                    <a:pt x="871779" y="551535"/>
                    <a:pt x="871883" y="550355"/>
                  </a:cubicBezTo>
                  <a:close/>
                  <a:moveTo>
                    <a:pt x="785132" y="694468"/>
                  </a:moveTo>
                  <a:cubicBezTo>
                    <a:pt x="785411" y="697988"/>
                    <a:pt x="784163" y="701458"/>
                    <a:pt x="781708" y="703993"/>
                  </a:cubicBezTo>
                  <a:lnTo>
                    <a:pt x="761637" y="724757"/>
                  </a:lnTo>
                  <a:cubicBezTo>
                    <a:pt x="756791" y="729650"/>
                    <a:pt x="748901" y="729681"/>
                    <a:pt x="744015" y="724828"/>
                  </a:cubicBezTo>
                  <a:cubicBezTo>
                    <a:pt x="743992" y="724804"/>
                    <a:pt x="743968" y="724781"/>
                    <a:pt x="743945" y="724757"/>
                  </a:cubicBezTo>
                  <a:lnTo>
                    <a:pt x="716930" y="698563"/>
                  </a:lnTo>
                  <a:cubicBezTo>
                    <a:pt x="692006" y="720994"/>
                    <a:pt x="664362" y="740194"/>
                    <a:pt x="634650" y="755713"/>
                  </a:cubicBezTo>
                  <a:lnTo>
                    <a:pt x="633794" y="755713"/>
                  </a:lnTo>
                  <a:lnTo>
                    <a:pt x="632177" y="754285"/>
                  </a:lnTo>
                  <a:cubicBezTo>
                    <a:pt x="662670" y="738230"/>
                    <a:pt x="691126" y="718563"/>
                    <a:pt x="716930" y="695706"/>
                  </a:cubicBezTo>
                  <a:lnTo>
                    <a:pt x="743945" y="721900"/>
                  </a:lnTo>
                  <a:cubicBezTo>
                    <a:pt x="748792" y="726792"/>
                    <a:pt x="756681" y="726824"/>
                    <a:pt x="761567" y="721970"/>
                  </a:cubicBezTo>
                  <a:cubicBezTo>
                    <a:pt x="761591" y="721947"/>
                    <a:pt x="761614" y="721923"/>
                    <a:pt x="761637" y="721900"/>
                  </a:cubicBezTo>
                  <a:lnTo>
                    <a:pt x="781708" y="701230"/>
                  </a:lnTo>
                  <a:cubicBezTo>
                    <a:pt x="783710" y="699174"/>
                    <a:pt x="784923" y="696475"/>
                    <a:pt x="785132" y="693610"/>
                  </a:cubicBezTo>
                  <a:close/>
                  <a:moveTo>
                    <a:pt x="649680" y="795147"/>
                  </a:moveTo>
                  <a:cubicBezTo>
                    <a:pt x="650198" y="800558"/>
                    <a:pt x="647158" y="805682"/>
                    <a:pt x="642165" y="807815"/>
                  </a:cubicBezTo>
                  <a:lnTo>
                    <a:pt x="615721" y="819341"/>
                  </a:lnTo>
                  <a:cubicBezTo>
                    <a:pt x="609364" y="822003"/>
                    <a:pt x="602047" y="819081"/>
                    <a:pt x="599265" y="812768"/>
                  </a:cubicBezTo>
                  <a:lnTo>
                    <a:pt x="584521" y="778669"/>
                  </a:lnTo>
                  <a:cubicBezTo>
                    <a:pt x="552626" y="789989"/>
                    <a:pt x="519410" y="797160"/>
                    <a:pt x="485690" y="800005"/>
                  </a:cubicBezTo>
                  <a:lnTo>
                    <a:pt x="485690" y="797719"/>
                  </a:lnTo>
                  <a:cubicBezTo>
                    <a:pt x="519410" y="794874"/>
                    <a:pt x="552626" y="787703"/>
                    <a:pt x="584521" y="776383"/>
                  </a:cubicBezTo>
                  <a:lnTo>
                    <a:pt x="599455" y="810863"/>
                  </a:lnTo>
                  <a:cubicBezTo>
                    <a:pt x="602235" y="817179"/>
                    <a:pt x="609581" y="820070"/>
                    <a:pt x="615911" y="817340"/>
                  </a:cubicBezTo>
                  <a:lnTo>
                    <a:pt x="642355" y="805910"/>
                  </a:lnTo>
                  <a:cubicBezTo>
                    <a:pt x="646567" y="804085"/>
                    <a:pt x="649448" y="800104"/>
                    <a:pt x="649870" y="795528"/>
                  </a:cubicBezTo>
                  <a:close/>
                  <a:moveTo>
                    <a:pt x="486071" y="835819"/>
                  </a:moveTo>
                  <a:cubicBezTo>
                    <a:pt x="485679" y="842372"/>
                    <a:pt x="480353" y="847539"/>
                    <a:pt x="473800" y="847725"/>
                  </a:cubicBezTo>
                  <a:lnTo>
                    <a:pt x="445264" y="847725"/>
                  </a:lnTo>
                  <a:cubicBezTo>
                    <a:pt x="438383" y="847884"/>
                    <a:pt x="432678" y="842427"/>
                    <a:pt x="432519" y="835538"/>
                  </a:cubicBezTo>
                  <a:cubicBezTo>
                    <a:pt x="432518" y="835504"/>
                    <a:pt x="432518" y="835471"/>
                    <a:pt x="432517" y="835438"/>
                  </a:cubicBezTo>
                  <a:lnTo>
                    <a:pt x="431947" y="797338"/>
                  </a:lnTo>
                  <a:cubicBezTo>
                    <a:pt x="398143" y="795602"/>
                    <a:pt x="364703" y="789519"/>
                    <a:pt x="332449" y="779240"/>
                  </a:cubicBezTo>
                  <a:lnTo>
                    <a:pt x="318181" y="815435"/>
                  </a:lnTo>
                  <a:cubicBezTo>
                    <a:pt x="315583" y="821831"/>
                    <a:pt x="308350" y="824965"/>
                    <a:pt x="301915" y="822484"/>
                  </a:cubicBezTo>
                  <a:lnTo>
                    <a:pt x="275091" y="811816"/>
                  </a:lnTo>
                  <a:cubicBezTo>
                    <a:pt x="270689" y="810052"/>
                    <a:pt x="267641" y="805970"/>
                    <a:pt x="267196" y="801243"/>
                  </a:cubicBezTo>
                  <a:cubicBezTo>
                    <a:pt x="266680" y="806810"/>
                    <a:pt x="269897" y="812050"/>
                    <a:pt x="275091" y="814102"/>
                  </a:cubicBezTo>
                  <a:lnTo>
                    <a:pt x="301915" y="824770"/>
                  </a:lnTo>
                  <a:cubicBezTo>
                    <a:pt x="308350" y="827251"/>
                    <a:pt x="315583" y="824117"/>
                    <a:pt x="318181" y="817721"/>
                  </a:cubicBezTo>
                  <a:lnTo>
                    <a:pt x="331974" y="782764"/>
                  </a:lnTo>
                  <a:cubicBezTo>
                    <a:pt x="364228" y="793043"/>
                    <a:pt x="397668" y="799126"/>
                    <a:pt x="431471" y="800862"/>
                  </a:cubicBezTo>
                  <a:lnTo>
                    <a:pt x="432042" y="838962"/>
                  </a:lnTo>
                  <a:cubicBezTo>
                    <a:pt x="432197" y="845884"/>
                    <a:pt x="437874" y="851398"/>
                    <a:pt x="444788" y="851345"/>
                  </a:cubicBezTo>
                  <a:lnTo>
                    <a:pt x="473324" y="851344"/>
                  </a:lnTo>
                  <a:cubicBezTo>
                    <a:pt x="480215" y="851138"/>
                    <a:pt x="485693" y="845484"/>
                    <a:pt x="485690" y="838581"/>
                  </a:cubicBezTo>
                  <a:lnTo>
                    <a:pt x="485690" y="837152"/>
                  </a:lnTo>
                  <a:close/>
                  <a:moveTo>
                    <a:pt x="281274" y="762191"/>
                  </a:moveTo>
                  <a:cubicBezTo>
                    <a:pt x="251032" y="747616"/>
                    <a:pt x="222748" y="729278"/>
                    <a:pt x="197092" y="707612"/>
                  </a:cubicBezTo>
                  <a:lnTo>
                    <a:pt x="170933" y="734663"/>
                  </a:lnTo>
                  <a:cubicBezTo>
                    <a:pt x="166037" y="739530"/>
                    <a:pt x="158137" y="739530"/>
                    <a:pt x="153241" y="734663"/>
                  </a:cubicBezTo>
                  <a:lnTo>
                    <a:pt x="132504" y="714566"/>
                  </a:lnTo>
                  <a:cubicBezTo>
                    <a:pt x="129768" y="711920"/>
                    <a:pt x="128400" y="708162"/>
                    <a:pt x="128794" y="704374"/>
                  </a:cubicBezTo>
                  <a:cubicBezTo>
                    <a:pt x="129004" y="707380"/>
                    <a:pt x="130327" y="710199"/>
                    <a:pt x="132504" y="712280"/>
                  </a:cubicBezTo>
                  <a:lnTo>
                    <a:pt x="153241" y="732282"/>
                  </a:lnTo>
                  <a:cubicBezTo>
                    <a:pt x="158013" y="737174"/>
                    <a:pt x="165842" y="737267"/>
                    <a:pt x="170727" y="732488"/>
                  </a:cubicBezTo>
                  <a:cubicBezTo>
                    <a:pt x="170797" y="732420"/>
                    <a:pt x="170865" y="732352"/>
                    <a:pt x="170933" y="732282"/>
                  </a:cubicBezTo>
                  <a:lnTo>
                    <a:pt x="197092" y="705231"/>
                  </a:lnTo>
                  <a:cubicBezTo>
                    <a:pt x="223346" y="727524"/>
                    <a:pt x="252418" y="746259"/>
                    <a:pt x="283557" y="760952"/>
                  </a:cubicBezTo>
                  <a:lnTo>
                    <a:pt x="281940" y="762572"/>
                  </a:lnTo>
                  <a:lnTo>
                    <a:pt x="281274" y="762572"/>
                  </a:lnTo>
                  <a:close/>
                  <a:moveTo>
                    <a:pt x="157616" y="668846"/>
                  </a:moveTo>
                  <a:cubicBezTo>
                    <a:pt x="135413" y="643997"/>
                    <a:pt x="116429" y="616443"/>
                    <a:pt x="101114" y="586835"/>
                  </a:cubicBezTo>
                  <a:lnTo>
                    <a:pt x="66680" y="601789"/>
                  </a:lnTo>
                  <a:cubicBezTo>
                    <a:pt x="60297" y="604515"/>
                    <a:pt x="52912" y="601583"/>
                    <a:pt x="50129" y="595217"/>
                  </a:cubicBezTo>
                  <a:lnTo>
                    <a:pt x="38714" y="568738"/>
                  </a:lnTo>
                  <a:cubicBezTo>
                    <a:pt x="37893" y="566817"/>
                    <a:pt x="37566" y="564721"/>
                    <a:pt x="37763" y="562642"/>
                  </a:cubicBezTo>
                  <a:cubicBezTo>
                    <a:pt x="37855" y="563958"/>
                    <a:pt x="38177" y="565248"/>
                    <a:pt x="38714" y="566452"/>
                  </a:cubicBezTo>
                  <a:lnTo>
                    <a:pt x="50129" y="592931"/>
                  </a:lnTo>
                  <a:cubicBezTo>
                    <a:pt x="52950" y="599257"/>
                    <a:pt x="60296" y="602174"/>
                    <a:pt x="66680" y="599504"/>
                  </a:cubicBezTo>
                  <a:lnTo>
                    <a:pt x="101114" y="584549"/>
                  </a:lnTo>
                  <a:cubicBezTo>
                    <a:pt x="117360" y="615495"/>
                    <a:pt x="137395" y="644292"/>
                    <a:pt x="160755" y="670274"/>
                  </a:cubicBezTo>
                  <a:lnTo>
                    <a:pt x="158663" y="670274"/>
                  </a:lnTo>
                  <a:lnTo>
                    <a:pt x="157616" y="669131"/>
                  </a:lnTo>
                  <a:close/>
                  <a:moveTo>
                    <a:pt x="78951" y="535496"/>
                  </a:moveTo>
                  <a:cubicBezTo>
                    <a:pt x="68007" y="504182"/>
                    <a:pt x="61102" y="471597"/>
                    <a:pt x="58405" y="438531"/>
                  </a:cubicBezTo>
                  <a:lnTo>
                    <a:pt x="20356" y="439102"/>
                  </a:lnTo>
                  <a:cubicBezTo>
                    <a:pt x="13422" y="439208"/>
                    <a:pt x="7716" y="433666"/>
                    <a:pt x="7610" y="426723"/>
                  </a:cubicBezTo>
                  <a:cubicBezTo>
                    <a:pt x="7610" y="426722"/>
                    <a:pt x="7610" y="426721"/>
                    <a:pt x="7610" y="426720"/>
                  </a:cubicBezTo>
                  <a:lnTo>
                    <a:pt x="7134" y="398145"/>
                  </a:lnTo>
                  <a:lnTo>
                    <a:pt x="7134" y="397192"/>
                  </a:lnTo>
                  <a:lnTo>
                    <a:pt x="7610" y="424625"/>
                  </a:lnTo>
                  <a:cubicBezTo>
                    <a:pt x="7714" y="431568"/>
                    <a:pt x="13419" y="437111"/>
                    <a:pt x="20353" y="437007"/>
                  </a:cubicBezTo>
                  <a:cubicBezTo>
                    <a:pt x="20354" y="437007"/>
                    <a:pt x="20355" y="437007"/>
                    <a:pt x="20356" y="437007"/>
                  </a:cubicBezTo>
                  <a:lnTo>
                    <a:pt x="58405" y="436435"/>
                  </a:lnTo>
                  <a:cubicBezTo>
                    <a:pt x="61177" y="470203"/>
                    <a:pt x="68307" y="503468"/>
                    <a:pt x="79617" y="535400"/>
                  </a:cubicBezTo>
                  <a:lnTo>
                    <a:pt x="80948" y="539401"/>
                  </a:lnTo>
                  <a:lnTo>
                    <a:pt x="79617" y="537686"/>
                  </a:lnTo>
                  <a:lnTo>
                    <a:pt x="78951" y="535686"/>
                  </a:lnTo>
                  <a:close/>
                  <a:moveTo>
                    <a:pt x="75526" y="284893"/>
                  </a:moveTo>
                  <a:lnTo>
                    <a:pt x="40712" y="271081"/>
                  </a:lnTo>
                  <a:cubicBezTo>
                    <a:pt x="35518" y="269030"/>
                    <a:pt x="32301" y="263790"/>
                    <a:pt x="32817" y="258223"/>
                  </a:cubicBezTo>
                  <a:cubicBezTo>
                    <a:pt x="33241" y="262958"/>
                    <a:pt x="36296" y="267049"/>
                    <a:pt x="40712" y="268795"/>
                  </a:cubicBezTo>
                  <a:lnTo>
                    <a:pt x="76953" y="283273"/>
                  </a:lnTo>
                  <a:lnTo>
                    <a:pt x="75526" y="284893"/>
                  </a:lnTo>
                  <a:close/>
                  <a:moveTo>
                    <a:pt x="150007" y="149542"/>
                  </a:moveTo>
                  <a:lnTo>
                    <a:pt x="122992" y="123349"/>
                  </a:lnTo>
                  <a:cubicBezTo>
                    <a:pt x="120269" y="120690"/>
                    <a:pt x="118873" y="116952"/>
                    <a:pt x="119187" y="113157"/>
                  </a:cubicBezTo>
                  <a:cubicBezTo>
                    <a:pt x="119474" y="116162"/>
                    <a:pt x="120824" y="118966"/>
                    <a:pt x="122992" y="121063"/>
                  </a:cubicBezTo>
                  <a:lnTo>
                    <a:pt x="152194" y="149638"/>
                  </a:lnTo>
                  <a:lnTo>
                    <a:pt x="150007" y="149638"/>
                  </a:lnTo>
                  <a:close/>
                  <a:moveTo>
                    <a:pt x="270621" y="53435"/>
                  </a:moveTo>
                  <a:lnTo>
                    <a:pt x="255782" y="18955"/>
                  </a:lnTo>
                  <a:cubicBezTo>
                    <a:pt x="254960" y="17034"/>
                    <a:pt x="254633" y="14938"/>
                    <a:pt x="254830" y="12859"/>
                  </a:cubicBezTo>
                  <a:cubicBezTo>
                    <a:pt x="254922" y="14175"/>
                    <a:pt x="255244" y="15464"/>
                    <a:pt x="255782" y="16669"/>
                  </a:cubicBezTo>
                  <a:lnTo>
                    <a:pt x="272333" y="54769"/>
                  </a:lnTo>
                  <a:lnTo>
                    <a:pt x="270621" y="53245"/>
                  </a:lnTo>
                  <a:close/>
                  <a:moveTo>
                    <a:pt x="447927" y="135541"/>
                  </a:moveTo>
                  <a:cubicBezTo>
                    <a:pt x="596683" y="133050"/>
                    <a:pt x="719290" y="251784"/>
                    <a:pt x="721777" y="400741"/>
                  </a:cubicBezTo>
                  <a:cubicBezTo>
                    <a:pt x="721779" y="400828"/>
                    <a:pt x="721780" y="400915"/>
                    <a:pt x="721782" y="401002"/>
                  </a:cubicBezTo>
                  <a:lnTo>
                    <a:pt x="721782" y="398717"/>
                  </a:lnTo>
                  <a:cubicBezTo>
                    <a:pt x="720757" y="249686"/>
                    <a:pt x="599277" y="129705"/>
                    <a:pt x="450448" y="130731"/>
                  </a:cubicBezTo>
                  <a:cubicBezTo>
                    <a:pt x="301618" y="131757"/>
                    <a:pt x="181799" y="253401"/>
                    <a:pt x="182823" y="402431"/>
                  </a:cubicBezTo>
                  <a:cubicBezTo>
                    <a:pt x="184351" y="256261"/>
                    <a:pt x="301870" y="137907"/>
                    <a:pt x="447832" y="135541"/>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43" name="Freeform 42">
              <a:extLst>
                <a:ext uri="{FF2B5EF4-FFF2-40B4-BE49-F238E27FC236}">
                  <a16:creationId xmlns="" xmlns:a16="http://schemas.microsoft.com/office/drawing/2014/main" id="{2E64ADF2-164F-004C-8AD5-8F00833E3301}"/>
                </a:ext>
              </a:extLst>
            </p:cNvPr>
            <p:cNvSpPr/>
            <p:nvPr/>
          </p:nvSpPr>
          <p:spPr>
            <a:xfrm>
              <a:off x="5320097" y="3938532"/>
              <a:ext cx="551424" cy="552170"/>
            </a:xfrm>
            <a:custGeom>
              <a:avLst/>
              <a:gdLst>
                <a:gd name="connsiteX0" fmla="*/ 200992 w 485119"/>
                <a:gd name="connsiteY0" fmla="*/ 130016 h 485775"/>
                <a:gd name="connsiteX1" fmla="*/ 360241 w 485119"/>
                <a:gd name="connsiteY1" fmla="*/ 200400 h 485775"/>
                <a:gd name="connsiteX2" fmla="*/ 289953 w 485119"/>
                <a:gd name="connsiteY2" fmla="*/ 359865 h 485775"/>
                <a:gd name="connsiteX3" fmla="*/ 130703 w 485119"/>
                <a:gd name="connsiteY3" fmla="*/ 289481 h 485775"/>
                <a:gd name="connsiteX4" fmla="*/ 130697 w 485119"/>
                <a:gd name="connsiteY4" fmla="*/ 289465 h 485775"/>
                <a:gd name="connsiteX5" fmla="*/ 200992 w 485119"/>
                <a:gd name="connsiteY5" fmla="*/ 130016 h 485775"/>
                <a:gd name="connsiteX6" fmla="*/ 143253 w 485119"/>
                <a:gd name="connsiteY6" fmla="*/ 28289 h 485775"/>
                <a:gd name="connsiteX7" fmla="*/ 152765 w 485119"/>
                <a:gd name="connsiteY7" fmla="*/ 77057 h 485775"/>
                <a:gd name="connsiteX8" fmla="*/ 114716 w 485119"/>
                <a:gd name="connsiteY8" fmla="*/ 105156 h 485775"/>
                <a:gd name="connsiteX9" fmla="*/ 70295 w 485119"/>
                <a:gd name="connsiteY9" fmla="*/ 81725 h 485775"/>
                <a:gd name="connsiteX10" fmla="*/ 48797 w 485119"/>
                <a:gd name="connsiteY10" fmla="*/ 108585 h 485775"/>
                <a:gd name="connsiteX11" fmla="*/ 81044 w 485119"/>
                <a:gd name="connsiteY11" fmla="*/ 146685 h 485775"/>
                <a:gd name="connsiteX12" fmla="*/ 62019 w 485119"/>
                <a:gd name="connsiteY12" fmla="*/ 190214 h 485775"/>
                <a:gd name="connsiteX13" fmla="*/ 12461 w 485119"/>
                <a:gd name="connsiteY13" fmla="*/ 191738 h 485775"/>
                <a:gd name="connsiteX14" fmla="*/ 7134 w 485119"/>
                <a:gd name="connsiteY14" fmla="*/ 225743 h 485775"/>
                <a:gd name="connsiteX15" fmla="*/ 53934 w 485119"/>
                <a:gd name="connsiteY15" fmla="*/ 242221 h 485775"/>
                <a:gd name="connsiteX16" fmla="*/ 59070 w 485119"/>
                <a:gd name="connsiteY16" fmla="*/ 289846 h 485775"/>
                <a:gd name="connsiteX17" fmla="*/ 16837 w 485119"/>
                <a:gd name="connsiteY17" fmla="*/ 315944 h 485775"/>
                <a:gd name="connsiteX18" fmla="*/ 29297 w 485119"/>
                <a:gd name="connsiteY18" fmla="*/ 348044 h 485775"/>
                <a:gd name="connsiteX19" fmla="*/ 78000 w 485119"/>
                <a:gd name="connsiteY19" fmla="*/ 338519 h 485775"/>
                <a:gd name="connsiteX20" fmla="*/ 106536 w 485119"/>
                <a:gd name="connsiteY20" fmla="*/ 376619 h 485775"/>
                <a:gd name="connsiteX21" fmla="*/ 83136 w 485119"/>
                <a:gd name="connsiteY21" fmla="*/ 420338 h 485775"/>
                <a:gd name="connsiteX22" fmla="*/ 109865 w 485119"/>
                <a:gd name="connsiteY22" fmla="*/ 441865 h 485775"/>
                <a:gd name="connsiteX23" fmla="*/ 147914 w 485119"/>
                <a:gd name="connsiteY23" fmla="*/ 409575 h 485775"/>
                <a:gd name="connsiteX24" fmla="*/ 191384 w 485119"/>
                <a:gd name="connsiteY24" fmla="*/ 428625 h 485775"/>
                <a:gd name="connsiteX25" fmla="*/ 192906 w 485119"/>
                <a:gd name="connsiteY25" fmla="*/ 478250 h 485775"/>
                <a:gd name="connsiteX26" fmla="*/ 226865 w 485119"/>
                <a:gd name="connsiteY26" fmla="*/ 483584 h 485775"/>
                <a:gd name="connsiteX27" fmla="*/ 243321 w 485119"/>
                <a:gd name="connsiteY27" fmla="*/ 436721 h 485775"/>
                <a:gd name="connsiteX28" fmla="*/ 290881 w 485119"/>
                <a:gd name="connsiteY28" fmla="*/ 431578 h 485775"/>
                <a:gd name="connsiteX29" fmla="*/ 317040 w 485119"/>
                <a:gd name="connsiteY29" fmla="*/ 473774 h 485775"/>
                <a:gd name="connsiteX30" fmla="*/ 349001 w 485119"/>
                <a:gd name="connsiteY30" fmla="*/ 461391 h 485775"/>
                <a:gd name="connsiteX31" fmla="*/ 339964 w 485119"/>
                <a:gd name="connsiteY31" fmla="*/ 412623 h 485775"/>
                <a:gd name="connsiteX32" fmla="*/ 378013 w 485119"/>
                <a:gd name="connsiteY32" fmla="*/ 384048 h 485775"/>
                <a:gd name="connsiteX33" fmla="*/ 421673 w 485119"/>
                <a:gd name="connsiteY33" fmla="*/ 407480 h 485775"/>
                <a:gd name="connsiteX34" fmla="*/ 443171 w 485119"/>
                <a:gd name="connsiteY34" fmla="*/ 380714 h 485775"/>
                <a:gd name="connsiteX35" fmla="*/ 410925 w 485119"/>
                <a:gd name="connsiteY35" fmla="*/ 342614 h 485775"/>
                <a:gd name="connsiteX36" fmla="*/ 429949 w 485119"/>
                <a:gd name="connsiteY36" fmla="*/ 299085 h 485775"/>
                <a:gd name="connsiteX37" fmla="*/ 479602 w 485119"/>
                <a:gd name="connsiteY37" fmla="*/ 297561 h 485775"/>
                <a:gd name="connsiteX38" fmla="*/ 484834 w 485119"/>
                <a:gd name="connsiteY38" fmla="*/ 263557 h 485775"/>
                <a:gd name="connsiteX39" fmla="*/ 438129 w 485119"/>
                <a:gd name="connsiteY39" fmla="*/ 247079 h 485775"/>
                <a:gd name="connsiteX40" fmla="*/ 432993 w 485119"/>
                <a:gd name="connsiteY40" fmla="*/ 199454 h 485775"/>
                <a:gd name="connsiteX41" fmla="*/ 475132 w 485119"/>
                <a:gd name="connsiteY41" fmla="*/ 173260 h 485775"/>
                <a:gd name="connsiteX42" fmla="*/ 461529 w 485119"/>
                <a:gd name="connsiteY42" fmla="*/ 142589 h 485775"/>
                <a:gd name="connsiteX43" fmla="*/ 412827 w 485119"/>
                <a:gd name="connsiteY43" fmla="*/ 152114 h 485775"/>
                <a:gd name="connsiteX44" fmla="*/ 384766 w 485119"/>
                <a:gd name="connsiteY44" fmla="*/ 114014 h 485775"/>
                <a:gd name="connsiteX45" fmla="*/ 408261 w 485119"/>
                <a:gd name="connsiteY45" fmla="*/ 70295 h 485775"/>
                <a:gd name="connsiteX46" fmla="*/ 381437 w 485119"/>
                <a:gd name="connsiteY46" fmla="*/ 48768 h 485775"/>
                <a:gd name="connsiteX47" fmla="*/ 343389 w 485119"/>
                <a:gd name="connsiteY47" fmla="*/ 81058 h 485775"/>
                <a:gd name="connsiteX48" fmla="*/ 299918 w 485119"/>
                <a:gd name="connsiteY48" fmla="*/ 62008 h 485775"/>
                <a:gd name="connsiteX49" fmla="*/ 298396 w 485119"/>
                <a:gd name="connsiteY49" fmla="*/ 12383 h 485775"/>
                <a:gd name="connsiteX50" fmla="*/ 264438 w 485119"/>
                <a:gd name="connsiteY50" fmla="*/ 7144 h 485775"/>
                <a:gd name="connsiteX51" fmla="*/ 248647 w 485119"/>
                <a:gd name="connsiteY51" fmla="*/ 53150 h 485775"/>
                <a:gd name="connsiteX52" fmla="*/ 201087 w 485119"/>
                <a:gd name="connsiteY52" fmla="*/ 58293 h 485775"/>
                <a:gd name="connsiteX53" fmla="*/ 174928 w 485119"/>
                <a:gd name="connsiteY53" fmla="*/ 16097 h 485775"/>
                <a:gd name="connsiteX54" fmla="*/ 142968 w 485119"/>
                <a:gd name="connsiteY54" fmla="*/ 28575 h 485775"/>
                <a:gd name="connsiteX55" fmla="*/ 187960 w 485119"/>
                <a:gd name="connsiteY55" fmla="*/ 96107 h 485775"/>
                <a:gd name="connsiteX56" fmla="*/ 96942 w 485119"/>
                <a:gd name="connsiteY56" fmla="*/ 302509 h 485775"/>
                <a:gd name="connsiteX57" fmla="*/ 303065 w 485119"/>
                <a:gd name="connsiteY57" fmla="*/ 393650 h 485775"/>
                <a:gd name="connsiteX58" fmla="*/ 394088 w 485119"/>
                <a:gd name="connsiteY58" fmla="*/ 187262 h 485775"/>
                <a:gd name="connsiteX59" fmla="*/ 188151 w 485119"/>
                <a:gd name="connsiteY59" fmla="*/ 96033 h 485775"/>
                <a:gd name="connsiteX60" fmla="*/ 187960 w 485119"/>
                <a:gd name="connsiteY60" fmla="*/ 96107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85119" h="485775">
                  <a:moveTo>
                    <a:pt x="200992" y="130016"/>
                  </a:moveTo>
                  <a:cubicBezTo>
                    <a:pt x="264377" y="105417"/>
                    <a:pt x="335675" y="136929"/>
                    <a:pt x="360241" y="200400"/>
                  </a:cubicBezTo>
                  <a:cubicBezTo>
                    <a:pt x="384807" y="263871"/>
                    <a:pt x="353338" y="335265"/>
                    <a:pt x="289953" y="359865"/>
                  </a:cubicBezTo>
                  <a:cubicBezTo>
                    <a:pt x="226568" y="384464"/>
                    <a:pt x="155269" y="352952"/>
                    <a:pt x="130703" y="289481"/>
                  </a:cubicBezTo>
                  <a:cubicBezTo>
                    <a:pt x="130701" y="289476"/>
                    <a:pt x="130699" y="289470"/>
                    <a:pt x="130697" y="289465"/>
                  </a:cubicBezTo>
                  <a:cubicBezTo>
                    <a:pt x="106142" y="225997"/>
                    <a:pt x="137613" y="154613"/>
                    <a:pt x="200992" y="130016"/>
                  </a:cubicBezTo>
                  <a:close/>
                  <a:moveTo>
                    <a:pt x="143253" y="28289"/>
                  </a:moveTo>
                  <a:lnTo>
                    <a:pt x="152765" y="77057"/>
                  </a:lnTo>
                  <a:cubicBezTo>
                    <a:pt x="138958" y="84792"/>
                    <a:pt x="126175" y="94232"/>
                    <a:pt x="114716" y="105156"/>
                  </a:cubicBezTo>
                  <a:lnTo>
                    <a:pt x="70295" y="81725"/>
                  </a:lnTo>
                  <a:lnTo>
                    <a:pt x="48797" y="108585"/>
                  </a:lnTo>
                  <a:lnTo>
                    <a:pt x="81044" y="146685"/>
                  </a:lnTo>
                  <a:cubicBezTo>
                    <a:pt x="72919" y="160346"/>
                    <a:pt x="66528" y="174969"/>
                    <a:pt x="62019" y="190214"/>
                  </a:cubicBezTo>
                  <a:lnTo>
                    <a:pt x="12461" y="191738"/>
                  </a:lnTo>
                  <a:lnTo>
                    <a:pt x="7134" y="225743"/>
                  </a:lnTo>
                  <a:lnTo>
                    <a:pt x="53934" y="242221"/>
                  </a:lnTo>
                  <a:cubicBezTo>
                    <a:pt x="53593" y="258251"/>
                    <a:pt x="55320" y="274258"/>
                    <a:pt x="59070" y="289846"/>
                  </a:cubicBezTo>
                  <a:lnTo>
                    <a:pt x="16837" y="315944"/>
                  </a:lnTo>
                  <a:lnTo>
                    <a:pt x="29297" y="348044"/>
                  </a:lnTo>
                  <a:lnTo>
                    <a:pt x="78000" y="338519"/>
                  </a:lnTo>
                  <a:cubicBezTo>
                    <a:pt x="85904" y="352350"/>
                    <a:pt x="95489" y="365147"/>
                    <a:pt x="106536" y="376619"/>
                  </a:cubicBezTo>
                  <a:lnTo>
                    <a:pt x="83136" y="420338"/>
                  </a:lnTo>
                  <a:lnTo>
                    <a:pt x="109865" y="441865"/>
                  </a:lnTo>
                  <a:lnTo>
                    <a:pt x="147914" y="409575"/>
                  </a:lnTo>
                  <a:cubicBezTo>
                    <a:pt x="161565" y="417694"/>
                    <a:pt x="176166" y="424092"/>
                    <a:pt x="191384" y="428625"/>
                  </a:cubicBezTo>
                  <a:lnTo>
                    <a:pt x="192906" y="478250"/>
                  </a:lnTo>
                  <a:lnTo>
                    <a:pt x="226865" y="483584"/>
                  </a:lnTo>
                  <a:lnTo>
                    <a:pt x="243321" y="436721"/>
                  </a:lnTo>
                  <a:cubicBezTo>
                    <a:pt x="259329" y="437062"/>
                    <a:pt x="275315" y="435333"/>
                    <a:pt x="290881" y="431578"/>
                  </a:cubicBezTo>
                  <a:lnTo>
                    <a:pt x="317040" y="473774"/>
                  </a:lnTo>
                  <a:lnTo>
                    <a:pt x="349001" y="461391"/>
                  </a:lnTo>
                  <a:lnTo>
                    <a:pt x="339964" y="412623"/>
                  </a:lnTo>
                  <a:cubicBezTo>
                    <a:pt x="353777" y="404708"/>
                    <a:pt x="366557" y="395110"/>
                    <a:pt x="378013" y="384048"/>
                  </a:cubicBezTo>
                  <a:lnTo>
                    <a:pt x="421673" y="407480"/>
                  </a:lnTo>
                  <a:lnTo>
                    <a:pt x="443171" y="380714"/>
                  </a:lnTo>
                  <a:lnTo>
                    <a:pt x="410925" y="342614"/>
                  </a:lnTo>
                  <a:cubicBezTo>
                    <a:pt x="418996" y="328926"/>
                    <a:pt x="425384" y="314310"/>
                    <a:pt x="429949" y="299085"/>
                  </a:cubicBezTo>
                  <a:lnTo>
                    <a:pt x="479602" y="297561"/>
                  </a:lnTo>
                  <a:lnTo>
                    <a:pt x="484834" y="263557"/>
                  </a:lnTo>
                  <a:lnTo>
                    <a:pt x="438129" y="247079"/>
                  </a:lnTo>
                  <a:cubicBezTo>
                    <a:pt x="438425" y="231050"/>
                    <a:pt x="436699" y="215049"/>
                    <a:pt x="432993" y="199454"/>
                  </a:cubicBezTo>
                  <a:lnTo>
                    <a:pt x="475132" y="173260"/>
                  </a:lnTo>
                  <a:lnTo>
                    <a:pt x="461529" y="142589"/>
                  </a:lnTo>
                  <a:lnTo>
                    <a:pt x="412827" y="152114"/>
                  </a:lnTo>
                  <a:cubicBezTo>
                    <a:pt x="405103" y="138288"/>
                    <a:pt x="395676" y="125488"/>
                    <a:pt x="384766" y="114014"/>
                  </a:cubicBezTo>
                  <a:lnTo>
                    <a:pt x="408261" y="70295"/>
                  </a:lnTo>
                  <a:lnTo>
                    <a:pt x="381437" y="48768"/>
                  </a:lnTo>
                  <a:lnTo>
                    <a:pt x="343389" y="81058"/>
                  </a:lnTo>
                  <a:cubicBezTo>
                    <a:pt x="329726" y="72961"/>
                    <a:pt x="315128" y="66564"/>
                    <a:pt x="299918" y="62008"/>
                  </a:cubicBezTo>
                  <a:lnTo>
                    <a:pt x="298396" y="12383"/>
                  </a:lnTo>
                  <a:lnTo>
                    <a:pt x="264438" y="7144"/>
                  </a:lnTo>
                  <a:lnTo>
                    <a:pt x="248647" y="53150"/>
                  </a:lnTo>
                  <a:cubicBezTo>
                    <a:pt x="232641" y="52853"/>
                    <a:pt x="216661" y="54581"/>
                    <a:pt x="201087" y="58293"/>
                  </a:cubicBezTo>
                  <a:lnTo>
                    <a:pt x="174928" y="16097"/>
                  </a:lnTo>
                  <a:lnTo>
                    <a:pt x="142968" y="28575"/>
                  </a:lnTo>
                  <a:close/>
                  <a:moveTo>
                    <a:pt x="187960" y="96107"/>
                  </a:moveTo>
                  <a:cubicBezTo>
                    <a:pt x="105907" y="127936"/>
                    <a:pt x="65157" y="220345"/>
                    <a:pt x="96942" y="302509"/>
                  </a:cubicBezTo>
                  <a:cubicBezTo>
                    <a:pt x="128727" y="384673"/>
                    <a:pt x="221012" y="425479"/>
                    <a:pt x="303065" y="393650"/>
                  </a:cubicBezTo>
                  <a:cubicBezTo>
                    <a:pt x="385113" y="361824"/>
                    <a:pt x="425865" y="269423"/>
                    <a:pt x="394088" y="187262"/>
                  </a:cubicBezTo>
                  <a:cubicBezTo>
                    <a:pt x="362378" y="105125"/>
                    <a:pt x="270177" y="64280"/>
                    <a:pt x="188151" y="96033"/>
                  </a:cubicBezTo>
                  <a:cubicBezTo>
                    <a:pt x="188087" y="96058"/>
                    <a:pt x="188024" y="96083"/>
                    <a:pt x="187960" y="96107"/>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44" name="Freeform 43">
              <a:extLst>
                <a:ext uri="{FF2B5EF4-FFF2-40B4-BE49-F238E27FC236}">
                  <a16:creationId xmlns="" xmlns:a16="http://schemas.microsoft.com/office/drawing/2014/main" id="{C0ACAD56-13E5-DC4E-8417-9A65E923F5A9}"/>
                </a:ext>
              </a:extLst>
            </p:cNvPr>
            <p:cNvSpPr/>
            <p:nvPr/>
          </p:nvSpPr>
          <p:spPr>
            <a:xfrm>
              <a:off x="5319881" y="3962460"/>
              <a:ext cx="551424" cy="530516"/>
            </a:xfrm>
            <a:custGeom>
              <a:avLst/>
              <a:gdLst>
                <a:gd name="connsiteX0" fmla="*/ 368786 w 485119"/>
                <a:gd name="connsiteY0" fmla="*/ 222599 h 466725"/>
                <a:gd name="connsiteX1" fmla="*/ 245699 w 485119"/>
                <a:gd name="connsiteY1" fmla="*/ 345853 h 466725"/>
                <a:gd name="connsiteX2" fmla="*/ 122611 w 485119"/>
                <a:gd name="connsiteY2" fmla="*/ 222599 h 466725"/>
                <a:gd name="connsiteX3" fmla="*/ 130887 w 485119"/>
                <a:gd name="connsiteY3" fmla="*/ 265748 h 466725"/>
                <a:gd name="connsiteX4" fmla="*/ 290207 w 485119"/>
                <a:gd name="connsiteY4" fmla="*/ 335972 h 466725"/>
                <a:gd name="connsiteX5" fmla="*/ 368691 w 485119"/>
                <a:gd name="connsiteY5" fmla="*/ 222504 h 466725"/>
                <a:gd name="connsiteX6" fmla="*/ 143443 w 485119"/>
                <a:gd name="connsiteY6" fmla="*/ 7144 h 466725"/>
                <a:gd name="connsiteX7" fmla="*/ 143919 w 485119"/>
                <a:gd name="connsiteY7" fmla="*/ 7144 h 466725"/>
                <a:gd name="connsiteX8" fmla="*/ 153431 w 485119"/>
                <a:gd name="connsiteY8" fmla="*/ 58388 h 466725"/>
                <a:gd name="connsiteX9" fmla="*/ 152575 w 485119"/>
                <a:gd name="connsiteY9" fmla="*/ 56102 h 466725"/>
                <a:gd name="connsiteX10" fmla="*/ 143063 w 485119"/>
                <a:gd name="connsiteY10" fmla="*/ 7239 h 466725"/>
                <a:gd name="connsiteX11" fmla="*/ 407691 w 485119"/>
                <a:gd name="connsiteY11" fmla="*/ 47625 h 466725"/>
                <a:gd name="connsiteX12" fmla="*/ 408737 w 485119"/>
                <a:gd name="connsiteY12" fmla="*/ 48387 h 466725"/>
                <a:gd name="connsiteX13" fmla="*/ 385622 w 485119"/>
                <a:gd name="connsiteY13" fmla="*/ 92107 h 466725"/>
                <a:gd name="connsiteX14" fmla="*/ 383910 w 485119"/>
                <a:gd name="connsiteY14" fmla="*/ 92964 h 466725"/>
                <a:gd name="connsiteX15" fmla="*/ 384766 w 485119"/>
                <a:gd name="connsiteY15" fmla="*/ 91154 h 466725"/>
                <a:gd name="connsiteX16" fmla="*/ 407120 w 485119"/>
                <a:gd name="connsiteY16" fmla="*/ 49340 h 466725"/>
                <a:gd name="connsiteX17" fmla="*/ 408071 w 485119"/>
                <a:gd name="connsiteY17" fmla="*/ 47625 h 466725"/>
                <a:gd name="connsiteX18" fmla="*/ 473610 w 485119"/>
                <a:gd name="connsiteY18" fmla="*/ 151448 h 466725"/>
                <a:gd name="connsiteX19" fmla="*/ 474466 w 485119"/>
                <a:gd name="connsiteY19" fmla="*/ 153543 h 466725"/>
                <a:gd name="connsiteX20" fmla="*/ 432232 w 485119"/>
                <a:gd name="connsiteY20" fmla="*/ 179737 h 466725"/>
                <a:gd name="connsiteX21" fmla="*/ 431376 w 485119"/>
                <a:gd name="connsiteY21" fmla="*/ 177737 h 466725"/>
                <a:gd name="connsiteX22" fmla="*/ 473610 w 485119"/>
                <a:gd name="connsiteY22" fmla="*/ 151448 h 466725"/>
                <a:gd name="connsiteX23" fmla="*/ 437464 w 485119"/>
                <a:gd name="connsiteY23" fmla="*/ 222599 h 466725"/>
                <a:gd name="connsiteX24" fmla="*/ 437464 w 485119"/>
                <a:gd name="connsiteY24" fmla="*/ 224409 h 466725"/>
                <a:gd name="connsiteX25" fmla="*/ 437464 w 485119"/>
                <a:gd name="connsiteY25" fmla="*/ 224409 h 466725"/>
                <a:gd name="connsiteX26" fmla="*/ 437464 w 485119"/>
                <a:gd name="connsiteY26" fmla="*/ 222599 h 466725"/>
                <a:gd name="connsiteX27" fmla="*/ 483788 w 485119"/>
                <a:gd name="connsiteY27" fmla="*/ 243364 h 466725"/>
                <a:gd name="connsiteX28" fmla="*/ 483788 w 485119"/>
                <a:gd name="connsiteY28" fmla="*/ 243364 h 466725"/>
                <a:gd name="connsiteX29" fmla="*/ 478556 w 485119"/>
                <a:gd name="connsiteY29" fmla="*/ 277368 h 466725"/>
                <a:gd name="connsiteX30" fmla="*/ 428903 w 485119"/>
                <a:gd name="connsiteY30" fmla="*/ 278892 h 466725"/>
                <a:gd name="connsiteX31" fmla="*/ 410639 w 485119"/>
                <a:gd name="connsiteY31" fmla="*/ 320897 h 466725"/>
                <a:gd name="connsiteX32" fmla="*/ 409688 w 485119"/>
                <a:gd name="connsiteY32" fmla="*/ 322421 h 466725"/>
                <a:gd name="connsiteX33" fmla="*/ 408071 w 485119"/>
                <a:gd name="connsiteY33" fmla="*/ 322993 h 466725"/>
                <a:gd name="connsiteX34" fmla="*/ 428903 w 485119"/>
                <a:gd name="connsiteY34" fmla="*/ 276225 h 466725"/>
                <a:gd name="connsiteX35" fmla="*/ 478556 w 485119"/>
                <a:gd name="connsiteY35" fmla="*/ 274701 h 466725"/>
                <a:gd name="connsiteX36" fmla="*/ 483407 w 485119"/>
                <a:gd name="connsiteY36" fmla="*/ 243173 h 466725"/>
                <a:gd name="connsiteX37" fmla="*/ 441268 w 485119"/>
                <a:gd name="connsiteY37" fmla="*/ 359093 h 466725"/>
                <a:gd name="connsiteX38" fmla="*/ 420817 w 485119"/>
                <a:gd name="connsiteY38" fmla="*/ 384524 h 466725"/>
                <a:gd name="connsiteX39" fmla="*/ 377252 w 485119"/>
                <a:gd name="connsiteY39" fmla="*/ 360998 h 466725"/>
                <a:gd name="connsiteX40" fmla="*/ 339203 w 485119"/>
                <a:gd name="connsiteY40" fmla="*/ 389573 h 466725"/>
                <a:gd name="connsiteX41" fmla="*/ 338157 w 485119"/>
                <a:gd name="connsiteY41" fmla="*/ 390144 h 466725"/>
                <a:gd name="connsiteX42" fmla="*/ 339108 w 485119"/>
                <a:gd name="connsiteY42" fmla="*/ 392240 h 466725"/>
                <a:gd name="connsiteX43" fmla="*/ 339584 w 485119"/>
                <a:gd name="connsiteY43" fmla="*/ 392240 h 466725"/>
                <a:gd name="connsiteX44" fmla="*/ 377632 w 485119"/>
                <a:gd name="connsiteY44" fmla="*/ 364427 h 466725"/>
                <a:gd name="connsiteX45" fmla="*/ 421198 w 485119"/>
                <a:gd name="connsiteY45" fmla="*/ 387858 h 466725"/>
                <a:gd name="connsiteX46" fmla="*/ 442790 w 485119"/>
                <a:gd name="connsiteY46" fmla="*/ 361093 h 466725"/>
                <a:gd name="connsiteX47" fmla="*/ 441649 w 485119"/>
                <a:gd name="connsiteY47" fmla="*/ 359855 h 466725"/>
                <a:gd name="connsiteX48" fmla="*/ 347479 w 485119"/>
                <a:gd name="connsiteY48" fmla="*/ 438150 h 466725"/>
                <a:gd name="connsiteX49" fmla="*/ 347479 w 485119"/>
                <a:gd name="connsiteY49" fmla="*/ 440531 h 466725"/>
                <a:gd name="connsiteX50" fmla="*/ 315518 w 485119"/>
                <a:gd name="connsiteY50" fmla="*/ 452914 h 466725"/>
                <a:gd name="connsiteX51" fmla="*/ 289359 w 485119"/>
                <a:gd name="connsiteY51" fmla="*/ 410718 h 466725"/>
                <a:gd name="connsiteX52" fmla="*/ 241799 w 485119"/>
                <a:gd name="connsiteY52" fmla="*/ 415862 h 466725"/>
                <a:gd name="connsiteX53" fmla="*/ 225343 w 485119"/>
                <a:gd name="connsiteY53" fmla="*/ 462725 h 466725"/>
                <a:gd name="connsiteX54" fmla="*/ 191384 w 485119"/>
                <a:gd name="connsiteY54" fmla="*/ 457391 h 466725"/>
                <a:gd name="connsiteX55" fmla="*/ 189862 w 485119"/>
                <a:gd name="connsiteY55" fmla="*/ 407765 h 466725"/>
                <a:gd name="connsiteX56" fmla="*/ 146392 w 485119"/>
                <a:gd name="connsiteY56" fmla="*/ 388715 h 466725"/>
                <a:gd name="connsiteX57" fmla="*/ 108343 w 485119"/>
                <a:gd name="connsiteY57" fmla="*/ 421005 h 466725"/>
                <a:gd name="connsiteX58" fmla="*/ 81614 w 485119"/>
                <a:gd name="connsiteY58" fmla="*/ 399479 h 466725"/>
                <a:gd name="connsiteX59" fmla="*/ 82565 w 485119"/>
                <a:gd name="connsiteY59" fmla="*/ 397669 h 466725"/>
                <a:gd name="connsiteX60" fmla="*/ 108343 w 485119"/>
                <a:gd name="connsiteY60" fmla="*/ 418433 h 466725"/>
                <a:gd name="connsiteX61" fmla="*/ 146392 w 485119"/>
                <a:gd name="connsiteY61" fmla="*/ 386144 h 466725"/>
                <a:gd name="connsiteX62" fmla="*/ 189863 w 485119"/>
                <a:gd name="connsiteY62" fmla="*/ 405194 h 466725"/>
                <a:gd name="connsiteX63" fmla="*/ 191384 w 485119"/>
                <a:gd name="connsiteY63" fmla="*/ 454819 h 466725"/>
                <a:gd name="connsiteX64" fmla="*/ 225343 w 485119"/>
                <a:gd name="connsiteY64" fmla="*/ 460058 h 466725"/>
                <a:gd name="connsiteX65" fmla="*/ 242940 w 485119"/>
                <a:gd name="connsiteY65" fmla="*/ 413099 h 466725"/>
                <a:gd name="connsiteX66" fmla="*/ 290501 w 485119"/>
                <a:gd name="connsiteY66" fmla="*/ 407956 h 466725"/>
                <a:gd name="connsiteX67" fmla="*/ 316659 w 485119"/>
                <a:gd name="connsiteY67" fmla="*/ 450152 h 466725"/>
                <a:gd name="connsiteX68" fmla="*/ 348240 w 485119"/>
                <a:gd name="connsiteY68" fmla="*/ 437960 h 466725"/>
                <a:gd name="connsiteX69" fmla="*/ 105204 w 485119"/>
                <a:gd name="connsiteY69" fmla="*/ 354616 h 466725"/>
                <a:gd name="connsiteX70" fmla="*/ 78000 w 485119"/>
                <a:gd name="connsiteY70" fmla="*/ 317087 h 466725"/>
                <a:gd name="connsiteX71" fmla="*/ 29297 w 485119"/>
                <a:gd name="connsiteY71" fmla="*/ 326612 h 466725"/>
                <a:gd name="connsiteX72" fmla="*/ 16932 w 485119"/>
                <a:gd name="connsiteY72" fmla="*/ 294608 h 466725"/>
                <a:gd name="connsiteX73" fmla="*/ 17693 w 485119"/>
                <a:gd name="connsiteY73" fmla="*/ 294037 h 466725"/>
                <a:gd name="connsiteX74" fmla="*/ 29297 w 485119"/>
                <a:gd name="connsiteY74" fmla="*/ 324041 h 466725"/>
                <a:gd name="connsiteX75" fmla="*/ 78000 w 485119"/>
                <a:gd name="connsiteY75" fmla="*/ 314516 h 466725"/>
                <a:gd name="connsiteX76" fmla="*/ 106536 w 485119"/>
                <a:gd name="connsiteY76" fmla="*/ 352616 h 466725"/>
                <a:gd name="connsiteX77" fmla="*/ 108058 w 485119"/>
                <a:gd name="connsiteY77" fmla="*/ 354330 h 466725"/>
                <a:gd name="connsiteX78" fmla="*/ 106536 w 485119"/>
                <a:gd name="connsiteY78" fmla="*/ 355187 h 466725"/>
                <a:gd name="connsiteX79" fmla="*/ 105680 w 485119"/>
                <a:gd name="connsiteY79" fmla="*/ 354235 h 466725"/>
                <a:gd name="connsiteX80" fmla="*/ 58500 w 485119"/>
                <a:gd name="connsiteY80" fmla="*/ 265748 h 466725"/>
                <a:gd name="connsiteX81" fmla="*/ 53839 w 485119"/>
                <a:gd name="connsiteY81" fmla="*/ 222885 h 466725"/>
                <a:gd name="connsiteX82" fmla="*/ 60021 w 485119"/>
                <a:gd name="connsiteY82" fmla="*/ 270510 h 466725"/>
                <a:gd name="connsiteX83" fmla="*/ 59070 w 485119"/>
                <a:gd name="connsiteY83" fmla="*/ 268605 h 466725"/>
                <a:gd name="connsiteX84" fmla="*/ 58500 w 485119"/>
                <a:gd name="connsiteY84" fmla="*/ 266224 h 466725"/>
                <a:gd name="connsiteX85" fmla="*/ 53839 w 485119"/>
                <a:gd name="connsiteY85" fmla="*/ 220694 h 466725"/>
                <a:gd name="connsiteX86" fmla="*/ 7134 w 485119"/>
                <a:gd name="connsiteY86" fmla="*/ 204216 h 466725"/>
                <a:gd name="connsiteX87" fmla="*/ 7134 w 485119"/>
                <a:gd name="connsiteY87" fmla="*/ 201740 h 466725"/>
                <a:gd name="connsiteX88" fmla="*/ 53553 w 485119"/>
                <a:gd name="connsiteY88" fmla="*/ 218123 h 466725"/>
                <a:gd name="connsiteX89" fmla="*/ 53553 w 485119"/>
                <a:gd name="connsiteY89" fmla="*/ 220694 h 466725"/>
                <a:gd name="connsiteX90" fmla="*/ 80282 w 485119"/>
                <a:gd name="connsiteY90" fmla="*/ 124111 h 466725"/>
                <a:gd name="connsiteX91" fmla="*/ 48987 w 485119"/>
                <a:gd name="connsiteY91" fmla="*/ 87440 h 466725"/>
                <a:gd name="connsiteX92" fmla="*/ 50034 w 485119"/>
                <a:gd name="connsiteY92" fmla="*/ 86011 h 466725"/>
                <a:gd name="connsiteX93" fmla="*/ 81234 w 485119"/>
                <a:gd name="connsiteY93" fmla="*/ 122492 h 466725"/>
                <a:gd name="connsiteX94" fmla="*/ 83041 w 485119"/>
                <a:gd name="connsiteY94" fmla="*/ 124682 h 466725"/>
                <a:gd name="connsiteX95" fmla="*/ 81234 w 485119"/>
                <a:gd name="connsiteY95" fmla="*/ 125254 h 466725"/>
                <a:gd name="connsiteX96" fmla="*/ 80282 w 485119"/>
                <a:gd name="connsiteY96" fmla="*/ 124111 h 466725"/>
                <a:gd name="connsiteX97" fmla="*/ 188150 w 485119"/>
                <a:gd name="connsiteY97" fmla="*/ 75057 h 466725"/>
                <a:gd name="connsiteX98" fmla="*/ 394041 w 485119"/>
                <a:gd name="connsiteY98" fmla="*/ 166724 h 466725"/>
                <a:gd name="connsiteX99" fmla="*/ 404647 w 485119"/>
                <a:gd name="connsiteY99" fmla="*/ 222599 h 466725"/>
                <a:gd name="connsiteX100" fmla="*/ 249164 w 485119"/>
                <a:gd name="connsiteY100" fmla="*/ 59109 h 466725"/>
                <a:gd name="connsiteX101" fmla="*/ 85895 w 485119"/>
                <a:gd name="connsiteY101" fmla="*/ 214801 h 466725"/>
                <a:gd name="connsiteX102" fmla="*/ 85895 w 485119"/>
                <a:gd name="connsiteY102" fmla="*/ 222599 h 466725"/>
                <a:gd name="connsiteX103" fmla="*/ 188150 w 485119"/>
                <a:gd name="connsiteY103" fmla="*/ 75057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485119" h="466725">
                  <a:moveTo>
                    <a:pt x="368786" y="222599"/>
                  </a:moveTo>
                  <a:cubicBezTo>
                    <a:pt x="368786" y="290670"/>
                    <a:pt x="313678" y="345853"/>
                    <a:pt x="245699" y="345853"/>
                  </a:cubicBezTo>
                  <a:cubicBezTo>
                    <a:pt x="177719" y="345853"/>
                    <a:pt x="122611" y="290670"/>
                    <a:pt x="122611" y="222599"/>
                  </a:cubicBezTo>
                  <a:cubicBezTo>
                    <a:pt x="122714" y="237367"/>
                    <a:pt x="125519" y="251992"/>
                    <a:pt x="130887" y="265748"/>
                  </a:cubicBezTo>
                  <a:cubicBezTo>
                    <a:pt x="155516" y="329194"/>
                    <a:pt x="226846" y="360634"/>
                    <a:pt x="290207" y="335972"/>
                  </a:cubicBezTo>
                  <a:cubicBezTo>
                    <a:pt x="337047" y="317739"/>
                    <a:pt x="368115" y="272824"/>
                    <a:pt x="368691" y="222504"/>
                  </a:cubicBezTo>
                  <a:close/>
                  <a:moveTo>
                    <a:pt x="143443" y="7144"/>
                  </a:moveTo>
                  <a:lnTo>
                    <a:pt x="143919" y="7144"/>
                  </a:lnTo>
                  <a:lnTo>
                    <a:pt x="153431" y="58388"/>
                  </a:lnTo>
                  <a:lnTo>
                    <a:pt x="152575" y="56102"/>
                  </a:lnTo>
                  <a:lnTo>
                    <a:pt x="143063" y="7239"/>
                  </a:lnTo>
                  <a:close/>
                  <a:moveTo>
                    <a:pt x="407691" y="47625"/>
                  </a:moveTo>
                  <a:lnTo>
                    <a:pt x="408737" y="48387"/>
                  </a:lnTo>
                  <a:lnTo>
                    <a:pt x="385622" y="92107"/>
                  </a:lnTo>
                  <a:lnTo>
                    <a:pt x="383910" y="92964"/>
                  </a:lnTo>
                  <a:lnTo>
                    <a:pt x="384766" y="91154"/>
                  </a:lnTo>
                  <a:lnTo>
                    <a:pt x="407120" y="49340"/>
                  </a:lnTo>
                  <a:lnTo>
                    <a:pt x="408071" y="47625"/>
                  </a:lnTo>
                  <a:close/>
                  <a:moveTo>
                    <a:pt x="473610" y="151448"/>
                  </a:moveTo>
                  <a:lnTo>
                    <a:pt x="474466" y="153543"/>
                  </a:lnTo>
                  <a:lnTo>
                    <a:pt x="432232" y="179737"/>
                  </a:lnTo>
                  <a:lnTo>
                    <a:pt x="431376" y="177737"/>
                  </a:lnTo>
                  <a:lnTo>
                    <a:pt x="473610" y="151448"/>
                  </a:lnTo>
                  <a:close/>
                  <a:moveTo>
                    <a:pt x="437464" y="222599"/>
                  </a:moveTo>
                  <a:lnTo>
                    <a:pt x="437464" y="224409"/>
                  </a:lnTo>
                  <a:lnTo>
                    <a:pt x="437464" y="224409"/>
                  </a:lnTo>
                  <a:lnTo>
                    <a:pt x="437464" y="222599"/>
                  </a:lnTo>
                  <a:close/>
                  <a:moveTo>
                    <a:pt x="483788" y="243364"/>
                  </a:moveTo>
                  <a:lnTo>
                    <a:pt x="483788" y="243364"/>
                  </a:lnTo>
                  <a:lnTo>
                    <a:pt x="478556" y="277368"/>
                  </a:lnTo>
                  <a:lnTo>
                    <a:pt x="428903" y="278892"/>
                  </a:lnTo>
                  <a:cubicBezTo>
                    <a:pt x="424497" y="293568"/>
                    <a:pt x="418366" y="307669"/>
                    <a:pt x="410639" y="320897"/>
                  </a:cubicBezTo>
                  <a:lnTo>
                    <a:pt x="409688" y="322421"/>
                  </a:lnTo>
                  <a:lnTo>
                    <a:pt x="408071" y="322993"/>
                  </a:lnTo>
                  <a:cubicBezTo>
                    <a:pt x="416679" y="308202"/>
                    <a:pt x="423664" y="292521"/>
                    <a:pt x="428903" y="276225"/>
                  </a:cubicBezTo>
                  <a:lnTo>
                    <a:pt x="478556" y="274701"/>
                  </a:lnTo>
                  <a:lnTo>
                    <a:pt x="483407" y="243173"/>
                  </a:lnTo>
                  <a:close/>
                  <a:moveTo>
                    <a:pt x="441268" y="359093"/>
                  </a:moveTo>
                  <a:lnTo>
                    <a:pt x="420817" y="384524"/>
                  </a:lnTo>
                  <a:lnTo>
                    <a:pt x="377252" y="360998"/>
                  </a:lnTo>
                  <a:cubicBezTo>
                    <a:pt x="365821" y="372089"/>
                    <a:pt x="353037" y="381690"/>
                    <a:pt x="339203" y="389573"/>
                  </a:cubicBezTo>
                  <a:lnTo>
                    <a:pt x="338157" y="390144"/>
                  </a:lnTo>
                  <a:lnTo>
                    <a:pt x="339108" y="392240"/>
                  </a:lnTo>
                  <a:lnTo>
                    <a:pt x="339584" y="392240"/>
                  </a:lnTo>
                  <a:cubicBezTo>
                    <a:pt x="353361" y="384571"/>
                    <a:pt x="366140" y="375230"/>
                    <a:pt x="377632" y="364427"/>
                  </a:cubicBezTo>
                  <a:lnTo>
                    <a:pt x="421198" y="387858"/>
                  </a:lnTo>
                  <a:lnTo>
                    <a:pt x="442790" y="361093"/>
                  </a:lnTo>
                  <a:lnTo>
                    <a:pt x="441649" y="359855"/>
                  </a:lnTo>
                  <a:close/>
                  <a:moveTo>
                    <a:pt x="347479" y="438150"/>
                  </a:moveTo>
                  <a:lnTo>
                    <a:pt x="347479" y="440531"/>
                  </a:lnTo>
                  <a:lnTo>
                    <a:pt x="315518" y="452914"/>
                  </a:lnTo>
                  <a:lnTo>
                    <a:pt x="289359" y="410718"/>
                  </a:lnTo>
                  <a:cubicBezTo>
                    <a:pt x="273785" y="414430"/>
                    <a:pt x="257805" y="416158"/>
                    <a:pt x="241799" y="415862"/>
                  </a:cubicBezTo>
                  <a:lnTo>
                    <a:pt x="225343" y="462725"/>
                  </a:lnTo>
                  <a:lnTo>
                    <a:pt x="191384" y="457391"/>
                  </a:lnTo>
                  <a:lnTo>
                    <a:pt x="189862" y="407765"/>
                  </a:lnTo>
                  <a:cubicBezTo>
                    <a:pt x="174637" y="403250"/>
                    <a:pt x="160034" y="396851"/>
                    <a:pt x="146392" y="388715"/>
                  </a:cubicBezTo>
                  <a:lnTo>
                    <a:pt x="108343" y="421005"/>
                  </a:lnTo>
                  <a:lnTo>
                    <a:pt x="81614" y="399479"/>
                  </a:lnTo>
                  <a:lnTo>
                    <a:pt x="82565" y="397669"/>
                  </a:lnTo>
                  <a:lnTo>
                    <a:pt x="108343" y="418433"/>
                  </a:lnTo>
                  <a:lnTo>
                    <a:pt x="146392" y="386144"/>
                  </a:lnTo>
                  <a:cubicBezTo>
                    <a:pt x="160035" y="394279"/>
                    <a:pt x="174637" y="400678"/>
                    <a:pt x="189863" y="405194"/>
                  </a:cubicBezTo>
                  <a:lnTo>
                    <a:pt x="191384" y="454819"/>
                  </a:lnTo>
                  <a:lnTo>
                    <a:pt x="225343" y="460058"/>
                  </a:lnTo>
                  <a:lnTo>
                    <a:pt x="242940" y="413099"/>
                  </a:lnTo>
                  <a:cubicBezTo>
                    <a:pt x="258947" y="413395"/>
                    <a:pt x="274927" y="411667"/>
                    <a:pt x="290501" y="407956"/>
                  </a:cubicBezTo>
                  <a:lnTo>
                    <a:pt x="316659" y="450152"/>
                  </a:lnTo>
                  <a:lnTo>
                    <a:pt x="348240" y="437960"/>
                  </a:lnTo>
                  <a:close/>
                  <a:moveTo>
                    <a:pt x="105204" y="354616"/>
                  </a:moveTo>
                  <a:cubicBezTo>
                    <a:pt x="94634" y="343270"/>
                    <a:pt x="85497" y="330666"/>
                    <a:pt x="78000" y="317087"/>
                  </a:cubicBezTo>
                  <a:lnTo>
                    <a:pt x="29297" y="326612"/>
                  </a:lnTo>
                  <a:lnTo>
                    <a:pt x="16932" y="294608"/>
                  </a:lnTo>
                  <a:lnTo>
                    <a:pt x="17693" y="294037"/>
                  </a:lnTo>
                  <a:lnTo>
                    <a:pt x="29297" y="324041"/>
                  </a:lnTo>
                  <a:lnTo>
                    <a:pt x="78000" y="314516"/>
                  </a:lnTo>
                  <a:cubicBezTo>
                    <a:pt x="85904" y="328347"/>
                    <a:pt x="95489" y="341144"/>
                    <a:pt x="106536" y="352616"/>
                  </a:cubicBezTo>
                  <a:lnTo>
                    <a:pt x="108058" y="354330"/>
                  </a:lnTo>
                  <a:lnTo>
                    <a:pt x="106536" y="355187"/>
                  </a:lnTo>
                  <a:lnTo>
                    <a:pt x="105680" y="354235"/>
                  </a:lnTo>
                  <a:close/>
                  <a:moveTo>
                    <a:pt x="58500" y="265748"/>
                  </a:moveTo>
                  <a:cubicBezTo>
                    <a:pt x="55353" y="251679"/>
                    <a:pt x="53789" y="237302"/>
                    <a:pt x="53839" y="222885"/>
                  </a:cubicBezTo>
                  <a:cubicBezTo>
                    <a:pt x="54145" y="238939"/>
                    <a:pt x="56219" y="254911"/>
                    <a:pt x="60021" y="270510"/>
                  </a:cubicBezTo>
                  <a:lnTo>
                    <a:pt x="59070" y="268605"/>
                  </a:lnTo>
                  <a:lnTo>
                    <a:pt x="58500" y="266224"/>
                  </a:lnTo>
                  <a:close/>
                  <a:moveTo>
                    <a:pt x="53839" y="220694"/>
                  </a:moveTo>
                  <a:lnTo>
                    <a:pt x="7134" y="204216"/>
                  </a:lnTo>
                  <a:lnTo>
                    <a:pt x="7134" y="201740"/>
                  </a:lnTo>
                  <a:lnTo>
                    <a:pt x="53553" y="218123"/>
                  </a:lnTo>
                  <a:lnTo>
                    <a:pt x="53553" y="220694"/>
                  </a:lnTo>
                  <a:close/>
                  <a:moveTo>
                    <a:pt x="80282" y="124111"/>
                  </a:moveTo>
                  <a:lnTo>
                    <a:pt x="48987" y="87440"/>
                  </a:lnTo>
                  <a:lnTo>
                    <a:pt x="50034" y="86011"/>
                  </a:lnTo>
                  <a:lnTo>
                    <a:pt x="81234" y="122492"/>
                  </a:lnTo>
                  <a:lnTo>
                    <a:pt x="83041" y="124682"/>
                  </a:lnTo>
                  <a:lnTo>
                    <a:pt x="81234" y="125254"/>
                  </a:lnTo>
                  <a:lnTo>
                    <a:pt x="80282" y="124111"/>
                  </a:lnTo>
                  <a:close/>
                  <a:moveTo>
                    <a:pt x="188150" y="75057"/>
                  </a:moveTo>
                  <a:cubicBezTo>
                    <a:pt x="270284" y="43438"/>
                    <a:pt x="362465" y="84479"/>
                    <a:pt x="394041" y="166724"/>
                  </a:cubicBezTo>
                  <a:cubicBezTo>
                    <a:pt x="400890" y="184563"/>
                    <a:pt x="404482" y="203488"/>
                    <a:pt x="404647" y="222599"/>
                  </a:cubicBezTo>
                  <a:cubicBezTo>
                    <a:pt x="406797" y="134459"/>
                    <a:pt x="337185" y="61262"/>
                    <a:pt x="249164" y="59109"/>
                  </a:cubicBezTo>
                  <a:cubicBezTo>
                    <a:pt x="161144" y="56955"/>
                    <a:pt x="88045" y="126661"/>
                    <a:pt x="85895" y="214801"/>
                  </a:cubicBezTo>
                  <a:cubicBezTo>
                    <a:pt x="85831" y="217400"/>
                    <a:pt x="85831" y="220000"/>
                    <a:pt x="85895" y="222599"/>
                  </a:cubicBezTo>
                  <a:cubicBezTo>
                    <a:pt x="86476" y="157054"/>
                    <a:pt x="127034" y="98534"/>
                    <a:pt x="188150" y="75057"/>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45" name="Freeform 44">
              <a:extLst>
                <a:ext uri="{FF2B5EF4-FFF2-40B4-BE49-F238E27FC236}">
                  <a16:creationId xmlns="" xmlns:a16="http://schemas.microsoft.com/office/drawing/2014/main" id="{4C9B1AF3-898B-4B4E-8122-F9C733A8E9EE}"/>
                </a:ext>
              </a:extLst>
            </p:cNvPr>
            <p:cNvSpPr/>
            <p:nvPr/>
          </p:nvSpPr>
          <p:spPr>
            <a:xfrm>
              <a:off x="5320097" y="3937342"/>
              <a:ext cx="551424" cy="530516"/>
            </a:xfrm>
            <a:custGeom>
              <a:avLst/>
              <a:gdLst>
                <a:gd name="connsiteX0" fmla="*/ 200992 w 485119"/>
                <a:gd name="connsiteY0" fmla="*/ 131064 h 466725"/>
                <a:gd name="connsiteX1" fmla="*/ 360225 w 485119"/>
                <a:gd name="connsiteY1" fmla="*/ 201454 h 466725"/>
                <a:gd name="connsiteX2" fmla="*/ 368596 w 485119"/>
                <a:gd name="connsiteY2" fmla="*/ 247269 h 466725"/>
                <a:gd name="connsiteX3" fmla="*/ 245509 w 485119"/>
                <a:gd name="connsiteY3" fmla="*/ 124015 h 466725"/>
                <a:gd name="connsiteX4" fmla="*/ 122421 w 485119"/>
                <a:gd name="connsiteY4" fmla="*/ 247269 h 466725"/>
                <a:gd name="connsiteX5" fmla="*/ 200992 w 485119"/>
                <a:gd name="connsiteY5" fmla="*/ 131064 h 466725"/>
                <a:gd name="connsiteX6" fmla="*/ 143253 w 485119"/>
                <a:gd name="connsiteY6" fmla="*/ 29242 h 466725"/>
                <a:gd name="connsiteX7" fmla="*/ 175214 w 485119"/>
                <a:gd name="connsiteY7" fmla="*/ 16859 h 466725"/>
                <a:gd name="connsiteX8" fmla="*/ 201372 w 485119"/>
                <a:gd name="connsiteY8" fmla="*/ 59055 h 466725"/>
                <a:gd name="connsiteX9" fmla="*/ 248933 w 485119"/>
                <a:gd name="connsiteY9" fmla="*/ 53912 h 466725"/>
                <a:gd name="connsiteX10" fmla="*/ 265389 w 485119"/>
                <a:gd name="connsiteY10" fmla="*/ 7144 h 466725"/>
                <a:gd name="connsiteX11" fmla="*/ 299347 w 485119"/>
                <a:gd name="connsiteY11" fmla="*/ 12383 h 466725"/>
                <a:gd name="connsiteX12" fmla="*/ 300869 w 485119"/>
                <a:gd name="connsiteY12" fmla="*/ 62008 h 466725"/>
                <a:gd name="connsiteX13" fmla="*/ 344340 w 485119"/>
                <a:gd name="connsiteY13" fmla="*/ 81058 h 466725"/>
                <a:gd name="connsiteX14" fmla="*/ 382388 w 485119"/>
                <a:gd name="connsiteY14" fmla="*/ 48768 h 466725"/>
                <a:gd name="connsiteX15" fmla="*/ 409213 w 485119"/>
                <a:gd name="connsiteY15" fmla="*/ 70295 h 466725"/>
                <a:gd name="connsiteX16" fmla="*/ 407310 w 485119"/>
                <a:gd name="connsiteY16" fmla="*/ 71438 h 466725"/>
                <a:gd name="connsiteX17" fmla="*/ 382388 w 485119"/>
                <a:gd name="connsiteY17" fmla="*/ 51340 h 466725"/>
                <a:gd name="connsiteX18" fmla="*/ 344340 w 485119"/>
                <a:gd name="connsiteY18" fmla="*/ 83725 h 466725"/>
                <a:gd name="connsiteX19" fmla="*/ 300869 w 485119"/>
                <a:gd name="connsiteY19" fmla="*/ 64675 h 466725"/>
                <a:gd name="connsiteX20" fmla="*/ 299347 w 485119"/>
                <a:gd name="connsiteY20" fmla="*/ 15050 h 466725"/>
                <a:gd name="connsiteX21" fmla="*/ 265389 w 485119"/>
                <a:gd name="connsiteY21" fmla="*/ 9716 h 466725"/>
                <a:gd name="connsiteX22" fmla="*/ 248933 w 485119"/>
                <a:gd name="connsiteY22" fmla="*/ 56579 h 466725"/>
                <a:gd name="connsiteX23" fmla="*/ 201372 w 485119"/>
                <a:gd name="connsiteY23" fmla="*/ 61722 h 466725"/>
                <a:gd name="connsiteX24" fmla="*/ 175214 w 485119"/>
                <a:gd name="connsiteY24" fmla="*/ 19526 h 466725"/>
                <a:gd name="connsiteX25" fmla="*/ 144109 w 485119"/>
                <a:gd name="connsiteY25" fmla="*/ 31528 h 466725"/>
                <a:gd name="connsiteX26" fmla="*/ 143253 w 485119"/>
                <a:gd name="connsiteY26" fmla="*/ 29242 h 466725"/>
                <a:gd name="connsiteX27" fmla="*/ 385908 w 485119"/>
                <a:gd name="connsiteY27" fmla="*/ 114967 h 466725"/>
                <a:gd name="connsiteX28" fmla="*/ 413113 w 485119"/>
                <a:gd name="connsiteY28" fmla="*/ 152495 h 466725"/>
                <a:gd name="connsiteX29" fmla="*/ 461815 w 485119"/>
                <a:gd name="connsiteY29" fmla="*/ 142970 h 466725"/>
                <a:gd name="connsiteX30" fmla="*/ 474276 w 485119"/>
                <a:gd name="connsiteY30" fmla="*/ 174974 h 466725"/>
                <a:gd name="connsiteX31" fmla="*/ 472659 w 485119"/>
                <a:gd name="connsiteY31" fmla="*/ 173355 h 466725"/>
                <a:gd name="connsiteX32" fmla="*/ 461529 w 485119"/>
                <a:gd name="connsiteY32" fmla="*/ 146209 h 466725"/>
                <a:gd name="connsiteX33" fmla="*/ 412827 w 485119"/>
                <a:gd name="connsiteY33" fmla="*/ 155734 h 466725"/>
                <a:gd name="connsiteX34" fmla="*/ 386479 w 485119"/>
                <a:gd name="connsiteY34" fmla="*/ 119063 h 466725"/>
                <a:gd name="connsiteX35" fmla="*/ 383054 w 485119"/>
                <a:gd name="connsiteY35" fmla="*/ 115443 h 466725"/>
                <a:gd name="connsiteX36" fmla="*/ 384766 w 485119"/>
                <a:gd name="connsiteY36" fmla="*/ 114586 h 466725"/>
                <a:gd name="connsiteX37" fmla="*/ 385622 w 485119"/>
                <a:gd name="connsiteY37" fmla="*/ 115538 h 466725"/>
                <a:gd name="connsiteX38" fmla="*/ 432993 w 485119"/>
                <a:gd name="connsiteY38" fmla="*/ 204121 h 466725"/>
                <a:gd name="connsiteX39" fmla="*/ 437654 w 485119"/>
                <a:gd name="connsiteY39" fmla="*/ 246983 h 466725"/>
                <a:gd name="connsiteX40" fmla="*/ 431566 w 485119"/>
                <a:gd name="connsiteY40" fmla="*/ 199835 h 466725"/>
                <a:gd name="connsiteX41" fmla="*/ 432422 w 485119"/>
                <a:gd name="connsiteY41" fmla="*/ 201835 h 466725"/>
                <a:gd name="connsiteX42" fmla="*/ 432993 w 485119"/>
                <a:gd name="connsiteY42" fmla="*/ 204121 h 466725"/>
                <a:gd name="connsiteX43" fmla="*/ 437654 w 485119"/>
                <a:gd name="connsiteY43" fmla="*/ 249174 h 466725"/>
                <a:gd name="connsiteX44" fmla="*/ 484358 w 485119"/>
                <a:gd name="connsiteY44" fmla="*/ 265652 h 466725"/>
                <a:gd name="connsiteX45" fmla="*/ 483598 w 485119"/>
                <a:gd name="connsiteY45" fmla="*/ 267938 h 466725"/>
                <a:gd name="connsiteX46" fmla="*/ 437654 w 485119"/>
                <a:gd name="connsiteY46" fmla="*/ 251746 h 466725"/>
                <a:gd name="connsiteX47" fmla="*/ 437654 w 485119"/>
                <a:gd name="connsiteY47" fmla="*/ 249174 h 466725"/>
                <a:gd name="connsiteX48" fmla="*/ 410259 w 485119"/>
                <a:gd name="connsiteY48" fmla="*/ 344424 h 466725"/>
                <a:gd name="connsiteX49" fmla="*/ 442600 w 485119"/>
                <a:gd name="connsiteY49" fmla="*/ 382524 h 466725"/>
                <a:gd name="connsiteX50" fmla="*/ 440317 w 485119"/>
                <a:gd name="connsiteY50" fmla="*/ 382524 h 466725"/>
                <a:gd name="connsiteX51" fmla="*/ 408642 w 485119"/>
                <a:gd name="connsiteY51" fmla="*/ 345377 h 466725"/>
                <a:gd name="connsiteX52" fmla="*/ 410259 w 485119"/>
                <a:gd name="connsiteY52" fmla="*/ 344805 h 466725"/>
                <a:gd name="connsiteX53" fmla="*/ 339013 w 485119"/>
                <a:gd name="connsiteY53" fmla="*/ 413576 h 466725"/>
                <a:gd name="connsiteX54" fmla="*/ 348050 w 485119"/>
                <a:gd name="connsiteY54" fmla="*/ 462344 h 466725"/>
                <a:gd name="connsiteX55" fmla="*/ 348050 w 485119"/>
                <a:gd name="connsiteY55" fmla="*/ 462344 h 466725"/>
                <a:gd name="connsiteX56" fmla="*/ 338537 w 485119"/>
                <a:gd name="connsiteY56" fmla="*/ 411290 h 466725"/>
                <a:gd name="connsiteX57" fmla="*/ 339584 w 485119"/>
                <a:gd name="connsiteY57" fmla="*/ 413385 h 466725"/>
                <a:gd name="connsiteX58" fmla="*/ 82851 w 485119"/>
                <a:gd name="connsiteY58" fmla="*/ 421100 h 466725"/>
                <a:gd name="connsiteX59" fmla="*/ 105395 w 485119"/>
                <a:gd name="connsiteY59" fmla="*/ 379095 h 466725"/>
                <a:gd name="connsiteX60" fmla="*/ 106251 w 485119"/>
                <a:gd name="connsiteY60" fmla="*/ 377381 h 466725"/>
                <a:gd name="connsiteX61" fmla="*/ 107773 w 485119"/>
                <a:gd name="connsiteY61" fmla="*/ 376619 h 466725"/>
                <a:gd name="connsiteX62" fmla="*/ 84753 w 485119"/>
                <a:gd name="connsiteY62" fmla="*/ 420053 h 466725"/>
                <a:gd name="connsiteX63" fmla="*/ 82851 w 485119"/>
                <a:gd name="connsiteY63" fmla="*/ 421100 h 466725"/>
                <a:gd name="connsiteX64" fmla="*/ 17122 w 485119"/>
                <a:gd name="connsiteY64" fmla="*/ 316325 h 466725"/>
                <a:gd name="connsiteX65" fmla="*/ 58690 w 485119"/>
                <a:gd name="connsiteY65" fmla="*/ 290417 h 466725"/>
                <a:gd name="connsiteX66" fmla="*/ 59261 w 485119"/>
                <a:gd name="connsiteY66" fmla="*/ 290417 h 466725"/>
                <a:gd name="connsiteX67" fmla="*/ 60307 w 485119"/>
                <a:gd name="connsiteY67" fmla="*/ 292418 h 466725"/>
                <a:gd name="connsiteX68" fmla="*/ 59261 w 485119"/>
                <a:gd name="connsiteY68" fmla="*/ 292989 h 466725"/>
                <a:gd name="connsiteX69" fmla="*/ 18739 w 485119"/>
                <a:gd name="connsiteY69" fmla="*/ 318135 h 466725"/>
                <a:gd name="connsiteX70" fmla="*/ 17122 w 485119"/>
                <a:gd name="connsiteY70" fmla="*/ 316611 h 466725"/>
                <a:gd name="connsiteX71" fmla="*/ 54029 w 485119"/>
                <a:gd name="connsiteY71" fmla="*/ 247174 h 466725"/>
                <a:gd name="connsiteX72" fmla="*/ 54029 w 485119"/>
                <a:gd name="connsiteY72" fmla="*/ 245364 h 466725"/>
                <a:gd name="connsiteX73" fmla="*/ 54029 w 485119"/>
                <a:gd name="connsiteY73" fmla="*/ 245364 h 466725"/>
                <a:gd name="connsiteX74" fmla="*/ 54029 w 485119"/>
                <a:gd name="connsiteY74" fmla="*/ 247174 h 466725"/>
                <a:gd name="connsiteX75" fmla="*/ 7324 w 485119"/>
                <a:gd name="connsiteY75" fmla="*/ 226314 h 466725"/>
                <a:gd name="connsiteX76" fmla="*/ 12651 w 485119"/>
                <a:gd name="connsiteY76" fmla="*/ 192310 h 466725"/>
                <a:gd name="connsiteX77" fmla="*/ 62210 w 485119"/>
                <a:gd name="connsiteY77" fmla="*/ 190786 h 466725"/>
                <a:gd name="connsiteX78" fmla="*/ 80473 w 485119"/>
                <a:gd name="connsiteY78" fmla="*/ 148780 h 466725"/>
                <a:gd name="connsiteX79" fmla="*/ 81329 w 485119"/>
                <a:gd name="connsiteY79" fmla="*/ 147256 h 466725"/>
                <a:gd name="connsiteX80" fmla="*/ 83231 w 485119"/>
                <a:gd name="connsiteY80" fmla="*/ 147256 h 466725"/>
                <a:gd name="connsiteX81" fmla="*/ 81044 w 485119"/>
                <a:gd name="connsiteY81" fmla="*/ 149447 h 466725"/>
                <a:gd name="connsiteX82" fmla="*/ 62019 w 485119"/>
                <a:gd name="connsiteY82" fmla="*/ 192977 h 466725"/>
                <a:gd name="connsiteX83" fmla="*/ 12461 w 485119"/>
                <a:gd name="connsiteY83" fmla="*/ 194501 h 466725"/>
                <a:gd name="connsiteX84" fmla="*/ 7895 w 485119"/>
                <a:gd name="connsiteY84" fmla="*/ 223076 h 466725"/>
                <a:gd name="connsiteX85" fmla="*/ 7134 w 485119"/>
                <a:gd name="connsiteY85" fmla="*/ 225457 h 466725"/>
                <a:gd name="connsiteX86" fmla="*/ 49178 w 485119"/>
                <a:gd name="connsiteY86" fmla="*/ 109538 h 466725"/>
                <a:gd name="connsiteX87" fmla="*/ 51270 w 485119"/>
                <a:gd name="connsiteY87" fmla="*/ 109538 h 466725"/>
                <a:gd name="connsiteX88" fmla="*/ 70295 w 485119"/>
                <a:gd name="connsiteY88" fmla="*/ 85439 h 466725"/>
                <a:gd name="connsiteX89" fmla="*/ 113956 w 485119"/>
                <a:gd name="connsiteY89" fmla="*/ 108871 h 466725"/>
                <a:gd name="connsiteX90" fmla="*/ 152004 w 485119"/>
                <a:gd name="connsiteY90" fmla="*/ 80963 h 466725"/>
                <a:gd name="connsiteX91" fmla="*/ 153051 w 485119"/>
                <a:gd name="connsiteY91" fmla="*/ 80296 h 466725"/>
                <a:gd name="connsiteX92" fmla="*/ 152194 w 485119"/>
                <a:gd name="connsiteY92" fmla="*/ 78200 h 466725"/>
                <a:gd name="connsiteX93" fmla="*/ 152194 w 485119"/>
                <a:gd name="connsiteY93" fmla="*/ 78200 h 466725"/>
                <a:gd name="connsiteX94" fmla="*/ 114146 w 485119"/>
                <a:gd name="connsiteY94" fmla="*/ 106013 h 466725"/>
                <a:gd name="connsiteX95" fmla="*/ 70295 w 485119"/>
                <a:gd name="connsiteY95" fmla="*/ 82772 h 466725"/>
                <a:gd name="connsiteX96" fmla="*/ 48797 w 485119"/>
                <a:gd name="connsiteY96" fmla="*/ 109633 h 466725"/>
                <a:gd name="connsiteX97" fmla="*/ 404456 w 485119"/>
                <a:gd name="connsiteY97" fmla="*/ 247555 h 466725"/>
                <a:gd name="connsiteX98" fmla="*/ 241187 w 485119"/>
                <a:gd name="connsiteY98" fmla="*/ 403247 h 466725"/>
                <a:gd name="connsiteX99" fmla="*/ 85705 w 485119"/>
                <a:gd name="connsiteY99" fmla="*/ 247555 h 466725"/>
                <a:gd name="connsiteX100" fmla="*/ 241187 w 485119"/>
                <a:gd name="connsiteY100" fmla="*/ 411045 h 466725"/>
                <a:gd name="connsiteX101" fmla="*/ 404456 w 485119"/>
                <a:gd name="connsiteY101" fmla="*/ 255353 h 466725"/>
                <a:gd name="connsiteX102" fmla="*/ 404456 w 485119"/>
                <a:gd name="connsiteY102" fmla="*/ 247555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85119" h="466725">
                  <a:moveTo>
                    <a:pt x="200992" y="131064"/>
                  </a:moveTo>
                  <a:cubicBezTo>
                    <a:pt x="264374" y="106476"/>
                    <a:pt x="335662" y="137989"/>
                    <a:pt x="360225" y="201454"/>
                  </a:cubicBezTo>
                  <a:cubicBezTo>
                    <a:pt x="365862" y="216064"/>
                    <a:pt x="368702" y="231607"/>
                    <a:pt x="368596" y="247269"/>
                  </a:cubicBezTo>
                  <a:cubicBezTo>
                    <a:pt x="368596" y="179198"/>
                    <a:pt x="313488" y="124015"/>
                    <a:pt x="245509" y="124015"/>
                  </a:cubicBezTo>
                  <a:cubicBezTo>
                    <a:pt x="177529" y="124015"/>
                    <a:pt x="122421" y="179198"/>
                    <a:pt x="122421" y="247269"/>
                  </a:cubicBezTo>
                  <a:cubicBezTo>
                    <a:pt x="121829" y="195911"/>
                    <a:pt x="153151" y="149586"/>
                    <a:pt x="200992" y="131064"/>
                  </a:cubicBezTo>
                  <a:close/>
                  <a:moveTo>
                    <a:pt x="143253" y="29242"/>
                  </a:moveTo>
                  <a:lnTo>
                    <a:pt x="175214" y="16859"/>
                  </a:lnTo>
                  <a:lnTo>
                    <a:pt x="201372" y="59055"/>
                  </a:lnTo>
                  <a:cubicBezTo>
                    <a:pt x="216946" y="55343"/>
                    <a:pt x="232926" y="53615"/>
                    <a:pt x="248933" y="53912"/>
                  </a:cubicBezTo>
                  <a:lnTo>
                    <a:pt x="265389" y="7144"/>
                  </a:lnTo>
                  <a:lnTo>
                    <a:pt x="299347" y="12383"/>
                  </a:lnTo>
                  <a:lnTo>
                    <a:pt x="300869" y="62008"/>
                  </a:lnTo>
                  <a:cubicBezTo>
                    <a:pt x="316064" y="66606"/>
                    <a:pt x="330657" y="73001"/>
                    <a:pt x="344340" y="81058"/>
                  </a:cubicBezTo>
                  <a:lnTo>
                    <a:pt x="382388" y="48768"/>
                  </a:lnTo>
                  <a:lnTo>
                    <a:pt x="409213" y="70295"/>
                  </a:lnTo>
                  <a:lnTo>
                    <a:pt x="407310" y="71438"/>
                  </a:lnTo>
                  <a:lnTo>
                    <a:pt x="382388" y="51340"/>
                  </a:lnTo>
                  <a:lnTo>
                    <a:pt x="344340" y="83725"/>
                  </a:lnTo>
                  <a:cubicBezTo>
                    <a:pt x="330697" y="75589"/>
                    <a:pt x="316094" y="69190"/>
                    <a:pt x="300869" y="64675"/>
                  </a:cubicBezTo>
                  <a:lnTo>
                    <a:pt x="299347" y="15050"/>
                  </a:lnTo>
                  <a:lnTo>
                    <a:pt x="265389" y="9716"/>
                  </a:lnTo>
                  <a:lnTo>
                    <a:pt x="248933" y="56579"/>
                  </a:lnTo>
                  <a:cubicBezTo>
                    <a:pt x="232924" y="56238"/>
                    <a:pt x="216939" y="57966"/>
                    <a:pt x="201372" y="61722"/>
                  </a:cubicBezTo>
                  <a:lnTo>
                    <a:pt x="175214" y="19526"/>
                  </a:lnTo>
                  <a:lnTo>
                    <a:pt x="144109" y="31528"/>
                  </a:lnTo>
                  <a:lnTo>
                    <a:pt x="143253" y="29242"/>
                  </a:lnTo>
                  <a:close/>
                  <a:moveTo>
                    <a:pt x="385908" y="114967"/>
                  </a:moveTo>
                  <a:cubicBezTo>
                    <a:pt x="396465" y="126323"/>
                    <a:pt x="405600" y="138926"/>
                    <a:pt x="413113" y="152495"/>
                  </a:cubicBezTo>
                  <a:lnTo>
                    <a:pt x="461815" y="142970"/>
                  </a:lnTo>
                  <a:lnTo>
                    <a:pt x="474276" y="174974"/>
                  </a:lnTo>
                  <a:lnTo>
                    <a:pt x="472659" y="173355"/>
                  </a:lnTo>
                  <a:lnTo>
                    <a:pt x="461529" y="146209"/>
                  </a:lnTo>
                  <a:lnTo>
                    <a:pt x="412827" y="155734"/>
                  </a:lnTo>
                  <a:cubicBezTo>
                    <a:pt x="405540" y="142500"/>
                    <a:pt x="396693" y="130188"/>
                    <a:pt x="386479" y="119063"/>
                  </a:cubicBezTo>
                  <a:lnTo>
                    <a:pt x="383054" y="115443"/>
                  </a:lnTo>
                  <a:lnTo>
                    <a:pt x="384766" y="114586"/>
                  </a:lnTo>
                  <a:lnTo>
                    <a:pt x="385622" y="115538"/>
                  </a:lnTo>
                  <a:close/>
                  <a:moveTo>
                    <a:pt x="432993" y="204121"/>
                  </a:moveTo>
                  <a:cubicBezTo>
                    <a:pt x="436192" y="218181"/>
                    <a:pt x="437756" y="232564"/>
                    <a:pt x="437654" y="246983"/>
                  </a:cubicBezTo>
                  <a:cubicBezTo>
                    <a:pt x="437216" y="231102"/>
                    <a:pt x="435176" y="215305"/>
                    <a:pt x="431566" y="199835"/>
                  </a:cubicBezTo>
                  <a:lnTo>
                    <a:pt x="432422" y="201835"/>
                  </a:lnTo>
                  <a:lnTo>
                    <a:pt x="432993" y="204121"/>
                  </a:lnTo>
                  <a:close/>
                  <a:moveTo>
                    <a:pt x="437654" y="249174"/>
                  </a:moveTo>
                  <a:lnTo>
                    <a:pt x="484358" y="265652"/>
                  </a:lnTo>
                  <a:lnTo>
                    <a:pt x="483598" y="267938"/>
                  </a:lnTo>
                  <a:lnTo>
                    <a:pt x="437654" y="251746"/>
                  </a:lnTo>
                  <a:lnTo>
                    <a:pt x="437654" y="249174"/>
                  </a:lnTo>
                  <a:close/>
                  <a:moveTo>
                    <a:pt x="410259" y="344424"/>
                  </a:moveTo>
                  <a:lnTo>
                    <a:pt x="442600" y="382524"/>
                  </a:lnTo>
                  <a:lnTo>
                    <a:pt x="440317" y="382524"/>
                  </a:lnTo>
                  <a:lnTo>
                    <a:pt x="408642" y="345377"/>
                  </a:lnTo>
                  <a:lnTo>
                    <a:pt x="410259" y="344805"/>
                  </a:lnTo>
                  <a:close/>
                  <a:moveTo>
                    <a:pt x="339013" y="413576"/>
                  </a:moveTo>
                  <a:lnTo>
                    <a:pt x="348050" y="462344"/>
                  </a:lnTo>
                  <a:lnTo>
                    <a:pt x="348050" y="462344"/>
                  </a:lnTo>
                  <a:lnTo>
                    <a:pt x="338537" y="411290"/>
                  </a:lnTo>
                  <a:lnTo>
                    <a:pt x="339584" y="413385"/>
                  </a:lnTo>
                  <a:close/>
                  <a:moveTo>
                    <a:pt x="82851" y="421100"/>
                  </a:moveTo>
                  <a:lnTo>
                    <a:pt x="105395" y="379095"/>
                  </a:lnTo>
                  <a:lnTo>
                    <a:pt x="106251" y="377381"/>
                  </a:lnTo>
                  <a:lnTo>
                    <a:pt x="107773" y="376619"/>
                  </a:lnTo>
                  <a:lnTo>
                    <a:pt x="84753" y="420053"/>
                  </a:lnTo>
                  <a:lnTo>
                    <a:pt x="82851" y="421100"/>
                  </a:lnTo>
                  <a:close/>
                  <a:moveTo>
                    <a:pt x="17122" y="316325"/>
                  </a:moveTo>
                  <a:lnTo>
                    <a:pt x="58690" y="290417"/>
                  </a:lnTo>
                  <a:lnTo>
                    <a:pt x="59261" y="290417"/>
                  </a:lnTo>
                  <a:lnTo>
                    <a:pt x="60307" y="292418"/>
                  </a:lnTo>
                  <a:lnTo>
                    <a:pt x="59261" y="292989"/>
                  </a:lnTo>
                  <a:lnTo>
                    <a:pt x="18739" y="318135"/>
                  </a:lnTo>
                  <a:lnTo>
                    <a:pt x="17122" y="316611"/>
                  </a:lnTo>
                  <a:close/>
                  <a:moveTo>
                    <a:pt x="54029" y="247174"/>
                  </a:moveTo>
                  <a:lnTo>
                    <a:pt x="54029" y="245364"/>
                  </a:lnTo>
                  <a:lnTo>
                    <a:pt x="54029" y="245364"/>
                  </a:lnTo>
                  <a:lnTo>
                    <a:pt x="54029" y="247174"/>
                  </a:lnTo>
                  <a:close/>
                  <a:moveTo>
                    <a:pt x="7324" y="226314"/>
                  </a:moveTo>
                  <a:lnTo>
                    <a:pt x="12651" y="192310"/>
                  </a:lnTo>
                  <a:lnTo>
                    <a:pt x="62210" y="190786"/>
                  </a:lnTo>
                  <a:cubicBezTo>
                    <a:pt x="66615" y="176109"/>
                    <a:pt x="72746" y="162009"/>
                    <a:pt x="80473" y="148780"/>
                  </a:cubicBezTo>
                  <a:lnTo>
                    <a:pt x="81329" y="147256"/>
                  </a:lnTo>
                  <a:lnTo>
                    <a:pt x="83231" y="147256"/>
                  </a:lnTo>
                  <a:lnTo>
                    <a:pt x="81044" y="149447"/>
                  </a:lnTo>
                  <a:cubicBezTo>
                    <a:pt x="72919" y="163108"/>
                    <a:pt x="66528" y="177731"/>
                    <a:pt x="62019" y="192977"/>
                  </a:cubicBezTo>
                  <a:lnTo>
                    <a:pt x="12461" y="194501"/>
                  </a:lnTo>
                  <a:lnTo>
                    <a:pt x="7895" y="223076"/>
                  </a:lnTo>
                  <a:lnTo>
                    <a:pt x="7134" y="225457"/>
                  </a:lnTo>
                  <a:close/>
                  <a:moveTo>
                    <a:pt x="49178" y="109538"/>
                  </a:moveTo>
                  <a:lnTo>
                    <a:pt x="51270" y="109538"/>
                  </a:lnTo>
                  <a:lnTo>
                    <a:pt x="70295" y="85439"/>
                  </a:lnTo>
                  <a:lnTo>
                    <a:pt x="113956" y="108871"/>
                  </a:lnTo>
                  <a:cubicBezTo>
                    <a:pt x="125433" y="98024"/>
                    <a:pt x="138214" y="88649"/>
                    <a:pt x="152004" y="80963"/>
                  </a:cubicBezTo>
                  <a:lnTo>
                    <a:pt x="153051" y="80296"/>
                  </a:lnTo>
                  <a:lnTo>
                    <a:pt x="152194" y="78200"/>
                  </a:lnTo>
                  <a:lnTo>
                    <a:pt x="152194" y="78200"/>
                  </a:lnTo>
                  <a:cubicBezTo>
                    <a:pt x="138398" y="85839"/>
                    <a:pt x="125616" y="95183"/>
                    <a:pt x="114146" y="106013"/>
                  </a:cubicBezTo>
                  <a:lnTo>
                    <a:pt x="70295" y="82772"/>
                  </a:lnTo>
                  <a:lnTo>
                    <a:pt x="48797" y="109633"/>
                  </a:lnTo>
                  <a:close/>
                  <a:moveTo>
                    <a:pt x="404456" y="247555"/>
                  </a:moveTo>
                  <a:cubicBezTo>
                    <a:pt x="402306" y="335695"/>
                    <a:pt x="329208" y="405400"/>
                    <a:pt x="241187" y="403247"/>
                  </a:cubicBezTo>
                  <a:cubicBezTo>
                    <a:pt x="156191" y="401168"/>
                    <a:pt x="87781" y="332665"/>
                    <a:pt x="85705" y="247555"/>
                  </a:cubicBezTo>
                  <a:cubicBezTo>
                    <a:pt x="83554" y="335695"/>
                    <a:pt x="153166" y="408892"/>
                    <a:pt x="241187" y="411045"/>
                  </a:cubicBezTo>
                  <a:cubicBezTo>
                    <a:pt x="329208" y="413199"/>
                    <a:pt x="402306" y="343493"/>
                    <a:pt x="404456" y="255353"/>
                  </a:cubicBezTo>
                  <a:cubicBezTo>
                    <a:pt x="404520" y="252754"/>
                    <a:pt x="404520" y="250154"/>
                    <a:pt x="404456" y="247555"/>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46" name="Freeform 45">
              <a:extLst>
                <a:ext uri="{FF2B5EF4-FFF2-40B4-BE49-F238E27FC236}">
                  <a16:creationId xmlns="" xmlns:a16="http://schemas.microsoft.com/office/drawing/2014/main" id="{807140BA-8AA2-0447-9528-6CCC823607CA}"/>
                </a:ext>
              </a:extLst>
            </p:cNvPr>
            <p:cNvSpPr/>
            <p:nvPr/>
          </p:nvSpPr>
          <p:spPr>
            <a:xfrm>
              <a:off x="5616244" y="4480959"/>
              <a:ext cx="205433" cy="205710"/>
            </a:xfrm>
            <a:custGeom>
              <a:avLst/>
              <a:gdLst>
                <a:gd name="connsiteX0" fmla="*/ 105870 w 180730"/>
                <a:gd name="connsiteY0" fmla="*/ 17431 h 180975"/>
                <a:gd name="connsiteX1" fmla="*/ 135453 w 180730"/>
                <a:gd name="connsiteY1" fmla="*/ 28194 h 180975"/>
                <a:gd name="connsiteX2" fmla="*/ 146107 w 180730"/>
                <a:gd name="connsiteY2" fmla="*/ 23622 h 180975"/>
                <a:gd name="connsiteX3" fmla="*/ 160755 w 180730"/>
                <a:gd name="connsiteY3" fmla="*/ 37148 h 180975"/>
                <a:gd name="connsiteX4" fmla="*/ 157141 w 180730"/>
                <a:gd name="connsiteY4" fmla="*/ 48101 h 180975"/>
                <a:gd name="connsiteX5" fmla="*/ 170458 w 180730"/>
                <a:gd name="connsiteY5" fmla="*/ 76676 h 180975"/>
                <a:gd name="connsiteX6" fmla="*/ 181206 w 180730"/>
                <a:gd name="connsiteY6" fmla="*/ 80867 h 180975"/>
                <a:gd name="connsiteX7" fmla="*/ 182062 w 180730"/>
                <a:gd name="connsiteY7" fmla="*/ 100775 h 180975"/>
                <a:gd name="connsiteX8" fmla="*/ 171694 w 180730"/>
                <a:gd name="connsiteY8" fmla="*/ 106013 h 180975"/>
                <a:gd name="connsiteX9" fmla="*/ 160945 w 180730"/>
                <a:gd name="connsiteY9" fmla="*/ 135636 h 180975"/>
                <a:gd name="connsiteX10" fmla="*/ 165511 w 180730"/>
                <a:gd name="connsiteY10" fmla="*/ 146209 h 180975"/>
                <a:gd name="connsiteX11" fmla="*/ 152099 w 180730"/>
                <a:gd name="connsiteY11" fmla="*/ 160973 h 180975"/>
                <a:gd name="connsiteX12" fmla="*/ 141160 w 180730"/>
                <a:gd name="connsiteY12" fmla="*/ 157258 h 180975"/>
                <a:gd name="connsiteX13" fmla="*/ 112624 w 180730"/>
                <a:gd name="connsiteY13" fmla="*/ 170593 h 180975"/>
                <a:gd name="connsiteX14" fmla="*/ 108343 w 180730"/>
                <a:gd name="connsiteY14" fmla="*/ 181356 h 180975"/>
                <a:gd name="connsiteX15" fmla="*/ 88463 w 180730"/>
                <a:gd name="connsiteY15" fmla="*/ 182213 h 180975"/>
                <a:gd name="connsiteX16" fmla="*/ 83326 w 180730"/>
                <a:gd name="connsiteY16" fmla="*/ 171926 h 180975"/>
                <a:gd name="connsiteX17" fmla="*/ 53744 w 180730"/>
                <a:gd name="connsiteY17" fmla="*/ 161068 h 180975"/>
                <a:gd name="connsiteX18" fmla="*/ 43090 w 180730"/>
                <a:gd name="connsiteY18" fmla="*/ 165735 h 180975"/>
                <a:gd name="connsiteX19" fmla="*/ 28441 w 180730"/>
                <a:gd name="connsiteY19" fmla="*/ 152210 h 180975"/>
                <a:gd name="connsiteX20" fmla="*/ 32056 w 180730"/>
                <a:gd name="connsiteY20" fmla="*/ 141256 h 180975"/>
                <a:gd name="connsiteX21" fmla="*/ 18739 w 180730"/>
                <a:gd name="connsiteY21" fmla="*/ 112681 h 180975"/>
                <a:gd name="connsiteX22" fmla="*/ 7990 w 180730"/>
                <a:gd name="connsiteY22" fmla="*/ 108490 h 180975"/>
                <a:gd name="connsiteX23" fmla="*/ 7134 w 180730"/>
                <a:gd name="connsiteY23" fmla="*/ 88487 h 180975"/>
                <a:gd name="connsiteX24" fmla="*/ 17502 w 180730"/>
                <a:gd name="connsiteY24" fmla="*/ 83344 h 180975"/>
                <a:gd name="connsiteX25" fmla="*/ 28251 w 180730"/>
                <a:gd name="connsiteY25" fmla="*/ 53721 h 180975"/>
                <a:gd name="connsiteX26" fmla="*/ 23685 w 180730"/>
                <a:gd name="connsiteY26" fmla="*/ 43148 h 180975"/>
                <a:gd name="connsiteX27" fmla="*/ 37097 w 180730"/>
                <a:gd name="connsiteY27" fmla="*/ 28385 h 180975"/>
                <a:gd name="connsiteX28" fmla="*/ 48036 w 180730"/>
                <a:gd name="connsiteY28" fmla="*/ 32099 h 180975"/>
                <a:gd name="connsiteX29" fmla="*/ 76573 w 180730"/>
                <a:gd name="connsiteY29" fmla="*/ 18764 h 180975"/>
                <a:gd name="connsiteX30" fmla="*/ 80853 w 180730"/>
                <a:gd name="connsiteY30" fmla="*/ 8001 h 180975"/>
                <a:gd name="connsiteX31" fmla="*/ 100734 w 180730"/>
                <a:gd name="connsiteY31" fmla="*/ 7144 h 180975"/>
                <a:gd name="connsiteX32" fmla="*/ 105870 w 180730"/>
                <a:gd name="connsiteY32" fmla="*/ 17431 h 180975"/>
                <a:gd name="connsiteX33" fmla="*/ 56978 w 180730"/>
                <a:gd name="connsiteY33" fmla="*/ 57531 h 180975"/>
                <a:gd name="connsiteX34" fmla="*/ 68678 w 180730"/>
                <a:gd name="connsiteY34" fmla="*/ 68294 h 180975"/>
                <a:gd name="connsiteX35" fmla="*/ 70200 w 180730"/>
                <a:gd name="connsiteY35" fmla="*/ 66580 h 180975"/>
                <a:gd name="connsiteX36" fmla="*/ 75431 w 180730"/>
                <a:gd name="connsiteY36" fmla="*/ 68294 h 180975"/>
                <a:gd name="connsiteX37" fmla="*/ 86751 w 180730"/>
                <a:gd name="connsiteY37" fmla="*/ 63056 h 180975"/>
                <a:gd name="connsiteX38" fmla="*/ 88748 w 180730"/>
                <a:gd name="connsiteY38" fmla="*/ 57912 h 180975"/>
                <a:gd name="connsiteX39" fmla="*/ 97214 w 180730"/>
                <a:gd name="connsiteY39" fmla="*/ 57912 h 180975"/>
                <a:gd name="connsiteX40" fmla="*/ 99687 w 180730"/>
                <a:gd name="connsiteY40" fmla="*/ 62865 h 180975"/>
                <a:gd name="connsiteX41" fmla="*/ 111292 w 180730"/>
                <a:gd name="connsiteY41" fmla="*/ 67151 h 180975"/>
                <a:gd name="connsiteX42" fmla="*/ 116429 w 180730"/>
                <a:gd name="connsiteY42" fmla="*/ 64960 h 180975"/>
                <a:gd name="connsiteX43" fmla="*/ 118141 w 180730"/>
                <a:gd name="connsiteY43" fmla="*/ 66485 h 180975"/>
                <a:gd name="connsiteX44" fmla="*/ 128795 w 180730"/>
                <a:gd name="connsiteY44" fmla="*/ 54769 h 180975"/>
                <a:gd name="connsiteX45" fmla="*/ 56978 w 180730"/>
                <a:gd name="connsiteY45" fmla="*/ 57912 h 180975"/>
                <a:gd name="connsiteX46" fmla="*/ 82090 w 180730"/>
                <a:gd name="connsiteY46" fmla="*/ 80581 h 180975"/>
                <a:gd name="connsiteX47" fmla="*/ 94456 w 180730"/>
                <a:gd name="connsiteY47" fmla="*/ 91916 h 180975"/>
                <a:gd name="connsiteX48" fmla="*/ 105870 w 180730"/>
                <a:gd name="connsiteY48" fmla="*/ 79534 h 180975"/>
                <a:gd name="connsiteX49" fmla="*/ 93790 w 180730"/>
                <a:gd name="connsiteY49" fmla="*/ 75819 h 180975"/>
                <a:gd name="connsiteX50" fmla="*/ 82090 w 180730"/>
                <a:gd name="connsiteY50" fmla="*/ 80581 h 180975"/>
                <a:gd name="connsiteX51" fmla="*/ 97309 w 180730"/>
                <a:gd name="connsiteY51" fmla="*/ 94583 h 180975"/>
                <a:gd name="connsiteX52" fmla="*/ 109770 w 180730"/>
                <a:gd name="connsiteY52" fmla="*/ 105918 h 180975"/>
                <a:gd name="connsiteX53" fmla="*/ 108724 w 180730"/>
                <a:gd name="connsiteY53" fmla="*/ 82106 h 180975"/>
                <a:gd name="connsiteX54" fmla="*/ 97309 w 180730"/>
                <a:gd name="connsiteY54" fmla="*/ 94583 h 180975"/>
                <a:gd name="connsiteX55" fmla="*/ 123087 w 180730"/>
                <a:gd name="connsiteY55" fmla="*/ 118205 h 180975"/>
                <a:gd name="connsiteX56" fmla="*/ 134882 w 180730"/>
                <a:gd name="connsiteY56" fmla="*/ 128969 h 180975"/>
                <a:gd name="connsiteX57" fmla="*/ 147343 w 180730"/>
                <a:gd name="connsiteY57" fmla="*/ 92393 h 180975"/>
                <a:gd name="connsiteX58" fmla="*/ 131648 w 180730"/>
                <a:gd name="connsiteY58" fmla="*/ 57055 h 180975"/>
                <a:gd name="connsiteX59" fmla="*/ 120995 w 180730"/>
                <a:gd name="connsiteY59" fmla="*/ 68771 h 180975"/>
                <a:gd name="connsiteX60" fmla="*/ 122612 w 180730"/>
                <a:gd name="connsiteY60" fmla="*/ 70294 h 180975"/>
                <a:gd name="connsiteX61" fmla="*/ 120899 w 180730"/>
                <a:gd name="connsiteY61" fmla="*/ 75533 h 180975"/>
                <a:gd name="connsiteX62" fmla="*/ 126131 w 180730"/>
                <a:gd name="connsiteY62" fmla="*/ 86773 h 180975"/>
                <a:gd name="connsiteX63" fmla="*/ 131268 w 180730"/>
                <a:gd name="connsiteY63" fmla="*/ 88868 h 180975"/>
                <a:gd name="connsiteX64" fmla="*/ 131268 w 180730"/>
                <a:gd name="connsiteY64" fmla="*/ 97250 h 180975"/>
                <a:gd name="connsiteX65" fmla="*/ 126321 w 180730"/>
                <a:gd name="connsiteY65" fmla="*/ 99727 h 180975"/>
                <a:gd name="connsiteX66" fmla="*/ 122136 w 180730"/>
                <a:gd name="connsiteY66" fmla="*/ 111443 h 180975"/>
                <a:gd name="connsiteX67" fmla="*/ 124324 w 180730"/>
                <a:gd name="connsiteY67" fmla="*/ 116491 h 180975"/>
                <a:gd name="connsiteX68" fmla="*/ 122707 w 180730"/>
                <a:gd name="connsiteY68" fmla="*/ 118205 h 180975"/>
                <a:gd name="connsiteX69" fmla="*/ 132599 w 180730"/>
                <a:gd name="connsiteY69" fmla="*/ 131826 h 180975"/>
                <a:gd name="connsiteX70" fmla="*/ 120899 w 180730"/>
                <a:gd name="connsiteY70" fmla="*/ 121063 h 180975"/>
                <a:gd name="connsiteX71" fmla="*/ 119377 w 180730"/>
                <a:gd name="connsiteY71" fmla="*/ 122777 h 180975"/>
                <a:gd name="connsiteX72" fmla="*/ 114051 w 180730"/>
                <a:gd name="connsiteY72" fmla="*/ 120968 h 180975"/>
                <a:gd name="connsiteX73" fmla="*/ 102826 w 180730"/>
                <a:gd name="connsiteY73" fmla="*/ 126302 h 180975"/>
                <a:gd name="connsiteX74" fmla="*/ 100829 w 180730"/>
                <a:gd name="connsiteY74" fmla="*/ 131445 h 180975"/>
                <a:gd name="connsiteX75" fmla="*/ 92363 w 180730"/>
                <a:gd name="connsiteY75" fmla="*/ 131445 h 180975"/>
                <a:gd name="connsiteX76" fmla="*/ 89890 w 180730"/>
                <a:gd name="connsiteY76" fmla="*/ 126492 h 180975"/>
                <a:gd name="connsiteX77" fmla="*/ 78190 w 180730"/>
                <a:gd name="connsiteY77" fmla="*/ 122206 h 180975"/>
                <a:gd name="connsiteX78" fmla="*/ 73148 w 180730"/>
                <a:gd name="connsiteY78" fmla="*/ 124397 h 180975"/>
                <a:gd name="connsiteX79" fmla="*/ 71436 w 180730"/>
                <a:gd name="connsiteY79" fmla="*/ 122873 h 180975"/>
                <a:gd name="connsiteX80" fmla="*/ 60783 w 180730"/>
                <a:gd name="connsiteY80" fmla="*/ 134588 h 180975"/>
                <a:gd name="connsiteX81" fmla="*/ 132599 w 180730"/>
                <a:gd name="connsiteY81" fmla="*/ 131445 h 180975"/>
                <a:gd name="connsiteX82" fmla="*/ 107487 w 180730"/>
                <a:gd name="connsiteY82" fmla="*/ 108776 h 180975"/>
                <a:gd name="connsiteX83" fmla="*/ 95121 w 180730"/>
                <a:gd name="connsiteY83" fmla="*/ 97441 h 180975"/>
                <a:gd name="connsiteX84" fmla="*/ 83707 w 180730"/>
                <a:gd name="connsiteY84" fmla="*/ 109823 h 180975"/>
                <a:gd name="connsiteX85" fmla="*/ 95787 w 180730"/>
                <a:gd name="connsiteY85" fmla="*/ 113538 h 180975"/>
                <a:gd name="connsiteX86" fmla="*/ 107487 w 180730"/>
                <a:gd name="connsiteY86" fmla="*/ 108776 h 180975"/>
                <a:gd name="connsiteX87" fmla="*/ 92173 w 180730"/>
                <a:gd name="connsiteY87" fmla="*/ 94774 h 180975"/>
                <a:gd name="connsiteX88" fmla="*/ 79807 w 180730"/>
                <a:gd name="connsiteY88" fmla="*/ 83439 h 180975"/>
                <a:gd name="connsiteX89" fmla="*/ 80853 w 180730"/>
                <a:gd name="connsiteY89" fmla="*/ 107252 h 180975"/>
                <a:gd name="connsiteX90" fmla="*/ 92173 w 180730"/>
                <a:gd name="connsiteY90" fmla="*/ 94774 h 180975"/>
                <a:gd name="connsiteX91" fmla="*/ 65634 w 180730"/>
                <a:gd name="connsiteY91" fmla="*/ 71247 h 180975"/>
                <a:gd name="connsiteX92" fmla="*/ 53934 w 180730"/>
                <a:gd name="connsiteY92" fmla="*/ 60484 h 180975"/>
                <a:gd name="connsiteX93" fmla="*/ 57168 w 180730"/>
                <a:gd name="connsiteY93" fmla="*/ 132398 h 180975"/>
                <a:gd name="connsiteX94" fmla="*/ 67822 w 180730"/>
                <a:gd name="connsiteY94" fmla="*/ 120682 h 180975"/>
                <a:gd name="connsiteX95" fmla="*/ 66205 w 180730"/>
                <a:gd name="connsiteY95" fmla="*/ 119158 h 180975"/>
                <a:gd name="connsiteX96" fmla="*/ 67917 w 180730"/>
                <a:gd name="connsiteY96" fmla="*/ 113919 h 180975"/>
                <a:gd name="connsiteX97" fmla="*/ 62685 w 180730"/>
                <a:gd name="connsiteY97" fmla="*/ 102680 h 180975"/>
                <a:gd name="connsiteX98" fmla="*/ 57549 w 180730"/>
                <a:gd name="connsiteY98" fmla="*/ 100584 h 180975"/>
                <a:gd name="connsiteX99" fmla="*/ 57549 w 180730"/>
                <a:gd name="connsiteY99" fmla="*/ 92202 h 180975"/>
                <a:gd name="connsiteX100" fmla="*/ 62495 w 180730"/>
                <a:gd name="connsiteY100" fmla="*/ 89726 h 180975"/>
                <a:gd name="connsiteX101" fmla="*/ 66680 w 180730"/>
                <a:gd name="connsiteY101" fmla="*/ 78010 h 180975"/>
                <a:gd name="connsiteX102" fmla="*/ 64492 w 180730"/>
                <a:gd name="connsiteY102" fmla="*/ 7286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80730" h="180975">
                  <a:moveTo>
                    <a:pt x="105870" y="17431"/>
                  </a:moveTo>
                  <a:cubicBezTo>
                    <a:pt x="116353" y="18994"/>
                    <a:pt x="126413" y="22654"/>
                    <a:pt x="135453" y="28194"/>
                  </a:cubicBezTo>
                  <a:lnTo>
                    <a:pt x="146107" y="23622"/>
                  </a:lnTo>
                  <a:lnTo>
                    <a:pt x="160755" y="37148"/>
                  </a:lnTo>
                  <a:lnTo>
                    <a:pt x="157141" y="48101"/>
                  </a:lnTo>
                  <a:cubicBezTo>
                    <a:pt x="163476" y="56619"/>
                    <a:pt x="168008" y="66343"/>
                    <a:pt x="170458" y="76676"/>
                  </a:cubicBezTo>
                  <a:lnTo>
                    <a:pt x="181206" y="80867"/>
                  </a:lnTo>
                  <a:lnTo>
                    <a:pt x="182062" y="100775"/>
                  </a:lnTo>
                  <a:lnTo>
                    <a:pt x="171694" y="106013"/>
                  </a:lnTo>
                  <a:cubicBezTo>
                    <a:pt x="170161" y="116517"/>
                    <a:pt x="166504" y="126597"/>
                    <a:pt x="160945" y="135636"/>
                  </a:cubicBezTo>
                  <a:lnTo>
                    <a:pt x="165511" y="146209"/>
                  </a:lnTo>
                  <a:lnTo>
                    <a:pt x="152099" y="160973"/>
                  </a:lnTo>
                  <a:lnTo>
                    <a:pt x="141160" y="157258"/>
                  </a:lnTo>
                  <a:cubicBezTo>
                    <a:pt x="132665" y="163620"/>
                    <a:pt x="122951" y="168160"/>
                    <a:pt x="112624" y="170593"/>
                  </a:cubicBezTo>
                  <a:lnTo>
                    <a:pt x="108343" y="181356"/>
                  </a:lnTo>
                  <a:lnTo>
                    <a:pt x="88463" y="182213"/>
                  </a:lnTo>
                  <a:lnTo>
                    <a:pt x="83326" y="171926"/>
                  </a:lnTo>
                  <a:cubicBezTo>
                    <a:pt x="72827" y="170375"/>
                    <a:pt x="62757" y="166679"/>
                    <a:pt x="53744" y="161068"/>
                  </a:cubicBezTo>
                  <a:lnTo>
                    <a:pt x="43090" y="165735"/>
                  </a:lnTo>
                  <a:lnTo>
                    <a:pt x="28441" y="152210"/>
                  </a:lnTo>
                  <a:lnTo>
                    <a:pt x="32056" y="141256"/>
                  </a:lnTo>
                  <a:cubicBezTo>
                    <a:pt x="25721" y="132738"/>
                    <a:pt x="21189" y="123014"/>
                    <a:pt x="18739" y="112681"/>
                  </a:cubicBezTo>
                  <a:lnTo>
                    <a:pt x="7990" y="108490"/>
                  </a:lnTo>
                  <a:lnTo>
                    <a:pt x="7134" y="88487"/>
                  </a:lnTo>
                  <a:lnTo>
                    <a:pt x="17502" y="83344"/>
                  </a:lnTo>
                  <a:cubicBezTo>
                    <a:pt x="18985" y="72827"/>
                    <a:pt x="22646" y="62737"/>
                    <a:pt x="28251" y="53721"/>
                  </a:cubicBezTo>
                  <a:lnTo>
                    <a:pt x="23685" y="43148"/>
                  </a:lnTo>
                  <a:lnTo>
                    <a:pt x="37097" y="28385"/>
                  </a:lnTo>
                  <a:lnTo>
                    <a:pt x="48036" y="32099"/>
                  </a:lnTo>
                  <a:cubicBezTo>
                    <a:pt x="56532" y="25737"/>
                    <a:pt x="66246" y="21197"/>
                    <a:pt x="76573" y="18764"/>
                  </a:cubicBezTo>
                  <a:lnTo>
                    <a:pt x="80853" y="8001"/>
                  </a:lnTo>
                  <a:lnTo>
                    <a:pt x="100734" y="7144"/>
                  </a:lnTo>
                  <a:lnTo>
                    <a:pt x="105870" y="17431"/>
                  </a:lnTo>
                  <a:close/>
                  <a:moveTo>
                    <a:pt x="56978" y="57531"/>
                  </a:moveTo>
                  <a:lnTo>
                    <a:pt x="68678" y="68294"/>
                  </a:lnTo>
                  <a:lnTo>
                    <a:pt x="70200" y="66580"/>
                  </a:lnTo>
                  <a:lnTo>
                    <a:pt x="75431" y="68294"/>
                  </a:lnTo>
                  <a:cubicBezTo>
                    <a:pt x="78843" y="65852"/>
                    <a:pt x="82683" y="64075"/>
                    <a:pt x="86751" y="63056"/>
                  </a:cubicBezTo>
                  <a:lnTo>
                    <a:pt x="88748" y="57912"/>
                  </a:lnTo>
                  <a:lnTo>
                    <a:pt x="97214" y="57912"/>
                  </a:lnTo>
                  <a:lnTo>
                    <a:pt x="99687" y="62865"/>
                  </a:lnTo>
                  <a:cubicBezTo>
                    <a:pt x="103792" y="63544"/>
                    <a:pt x="107730" y="64999"/>
                    <a:pt x="111292" y="67151"/>
                  </a:cubicBezTo>
                  <a:lnTo>
                    <a:pt x="116429" y="64960"/>
                  </a:lnTo>
                  <a:lnTo>
                    <a:pt x="118141" y="66485"/>
                  </a:lnTo>
                  <a:lnTo>
                    <a:pt x="128795" y="54769"/>
                  </a:lnTo>
                  <a:cubicBezTo>
                    <a:pt x="107730" y="36814"/>
                    <a:pt x="76397" y="38185"/>
                    <a:pt x="56978" y="57912"/>
                  </a:cubicBezTo>
                  <a:close/>
                  <a:moveTo>
                    <a:pt x="82090" y="80581"/>
                  </a:moveTo>
                  <a:lnTo>
                    <a:pt x="94456" y="91916"/>
                  </a:lnTo>
                  <a:lnTo>
                    <a:pt x="105870" y="79534"/>
                  </a:lnTo>
                  <a:cubicBezTo>
                    <a:pt x="102384" y="76953"/>
                    <a:pt x="98122" y="75643"/>
                    <a:pt x="93790" y="75819"/>
                  </a:cubicBezTo>
                  <a:cubicBezTo>
                    <a:pt x="89448" y="75963"/>
                    <a:pt x="85300" y="77651"/>
                    <a:pt x="82090" y="80581"/>
                  </a:cubicBezTo>
                  <a:close/>
                  <a:moveTo>
                    <a:pt x="97309" y="94583"/>
                  </a:moveTo>
                  <a:lnTo>
                    <a:pt x="109770" y="105918"/>
                  </a:lnTo>
                  <a:cubicBezTo>
                    <a:pt x="115036" y="98715"/>
                    <a:pt x="114601" y="88817"/>
                    <a:pt x="108724" y="82106"/>
                  </a:cubicBezTo>
                  <a:lnTo>
                    <a:pt x="97309" y="94583"/>
                  </a:lnTo>
                  <a:close/>
                  <a:moveTo>
                    <a:pt x="123087" y="118205"/>
                  </a:moveTo>
                  <a:lnTo>
                    <a:pt x="134882" y="128969"/>
                  </a:lnTo>
                  <a:cubicBezTo>
                    <a:pt x="143505" y="118793"/>
                    <a:pt x="147958" y="105724"/>
                    <a:pt x="147343" y="92393"/>
                  </a:cubicBezTo>
                  <a:cubicBezTo>
                    <a:pt x="146823" y="79035"/>
                    <a:pt x="141206" y="66387"/>
                    <a:pt x="131648" y="57055"/>
                  </a:cubicBezTo>
                  <a:lnTo>
                    <a:pt x="120995" y="68771"/>
                  </a:lnTo>
                  <a:lnTo>
                    <a:pt x="122612" y="70294"/>
                  </a:lnTo>
                  <a:lnTo>
                    <a:pt x="120899" y="75533"/>
                  </a:lnTo>
                  <a:cubicBezTo>
                    <a:pt x="123320" y="78925"/>
                    <a:pt x="125094" y="82735"/>
                    <a:pt x="126131" y="86773"/>
                  </a:cubicBezTo>
                  <a:lnTo>
                    <a:pt x="131268" y="88868"/>
                  </a:lnTo>
                  <a:lnTo>
                    <a:pt x="131268" y="97250"/>
                  </a:lnTo>
                  <a:lnTo>
                    <a:pt x="126321" y="99727"/>
                  </a:lnTo>
                  <a:cubicBezTo>
                    <a:pt x="125693" y="103866"/>
                    <a:pt x="124272" y="107844"/>
                    <a:pt x="122136" y="111443"/>
                  </a:cubicBezTo>
                  <a:lnTo>
                    <a:pt x="124324" y="116491"/>
                  </a:lnTo>
                  <a:lnTo>
                    <a:pt x="122707" y="118205"/>
                  </a:lnTo>
                  <a:close/>
                  <a:moveTo>
                    <a:pt x="132599" y="131826"/>
                  </a:moveTo>
                  <a:lnTo>
                    <a:pt x="120899" y="121063"/>
                  </a:lnTo>
                  <a:lnTo>
                    <a:pt x="119377" y="122777"/>
                  </a:lnTo>
                  <a:lnTo>
                    <a:pt x="114051" y="120968"/>
                  </a:lnTo>
                  <a:cubicBezTo>
                    <a:pt x="110712" y="123495"/>
                    <a:pt x="106892" y="125310"/>
                    <a:pt x="102826" y="126302"/>
                  </a:cubicBezTo>
                  <a:lnTo>
                    <a:pt x="100829" y="131445"/>
                  </a:lnTo>
                  <a:lnTo>
                    <a:pt x="92363" y="131445"/>
                  </a:lnTo>
                  <a:lnTo>
                    <a:pt x="89890" y="126492"/>
                  </a:lnTo>
                  <a:cubicBezTo>
                    <a:pt x="85755" y="125813"/>
                    <a:pt x="81786" y="124359"/>
                    <a:pt x="78190" y="122206"/>
                  </a:cubicBezTo>
                  <a:lnTo>
                    <a:pt x="73148" y="124397"/>
                  </a:lnTo>
                  <a:lnTo>
                    <a:pt x="71436" y="122873"/>
                  </a:lnTo>
                  <a:lnTo>
                    <a:pt x="60783" y="134588"/>
                  </a:lnTo>
                  <a:cubicBezTo>
                    <a:pt x="81847" y="152543"/>
                    <a:pt x="113180" y="151172"/>
                    <a:pt x="132599" y="131445"/>
                  </a:cubicBezTo>
                  <a:close/>
                  <a:moveTo>
                    <a:pt x="107487" y="108776"/>
                  </a:moveTo>
                  <a:lnTo>
                    <a:pt x="95121" y="97441"/>
                  </a:lnTo>
                  <a:lnTo>
                    <a:pt x="83707" y="109823"/>
                  </a:lnTo>
                  <a:cubicBezTo>
                    <a:pt x="87193" y="112404"/>
                    <a:pt x="91455" y="113714"/>
                    <a:pt x="95787" y="113538"/>
                  </a:cubicBezTo>
                  <a:cubicBezTo>
                    <a:pt x="100129" y="113394"/>
                    <a:pt x="104277" y="111706"/>
                    <a:pt x="107487" y="108776"/>
                  </a:cubicBezTo>
                  <a:close/>
                  <a:moveTo>
                    <a:pt x="92173" y="94774"/>
                  </a:moveTo>
                  <a:lnTo>
                    <a:pt x="79807" y="83439"/>
                  </a:lnTo>
                  <a:cubicBezTo>
                    <a:pt x="74541" y="90642"/>
                    <a:pt x="74976" y="100540"/>
                    <a:pt x="80853" y="107252"/>
                  </a:cubicBezTo>
                  <a:lnTo>
                    <a:pt x="92173" y="94774"/>
                  </a:lnTo>
                  <a:close/>
                  <a:moveTo>
                    <a:pt x="65634" y="71247"/>
                  </a:moveTo>
                  <a:lnTo>
                    <a:pt x="53934" y="60484"/>
                  </a:lnTo>
                  <a:cubicBezTo>
                    <a:pt x="36075" y="81617"/>
                    <a:pt x="37485" y="112957"/>
                    <a:pt x="57168" y="132398"/>
                  </a:cubicBezTo>
                  <a:lnTo>
                    <a:pt x="67822" y="120682"/>
                  </a:lnTo>
                  <a:lnTo>
                    <a:pt x="66205" y="119158"/>
                  </a:lnTo>
                  <a:lnTo>
                    <a:pt x="67917" y="113919"/>
                  </a:lnTo>
                  <a:cubicBezTo>
                    <a:pt x="65458" y="110550"/>
                    <a:pt x="63681" y="106732"/>
                    <a:pt x="62685" y="102680"/>
                  </a:cubicBezTo>
                  <a:lnTo>
                    <a:pt x="57549" y="100584"/>
                  </a:lnTo>
                  <a:lnTo>
                    <a:pt x="57549" y="92202"/>
                  </a:lnTo>
                  <a:lnTo>
                    <a:pt x="62495" y="89726"/>
                  </a:lnTo>
                  <a:cubicBezTo>
                    <a:pt x="63123" y="85587"/>
                    <a:pt x="64544" y="81608"/>
                    <a:pt x="66680" y="78010"/>
                  </a:cubicBezTo>
                  <a:lnTo>
                    <a:pt x="64492" y="72866"/>
                  </a:ln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47" name="Freeform 46">
              <a:extLst>
                <a:ext uri="{FF2B5EF4-FFF2-40B4-BE49-F238E27FC236}">
                  <a16:creationId xmlns="" xmlns:a16="http://schemas.microsoft.com/office/drawing/2014/main" id="{1159AB39-E95C-8C4D-92E9-432D71510067}"/>
                </a:ext>
              </a:extLst>
            </p:cNvPr>
            <p:cNvSpPr/>
            <p:nvPr/>
          </p:nvSpPr>
          <p:spPr>
            <a:xfrm>
              <a:off x="5616569" y="4514089"/>
              <a:ext cx="205433" cy="173230"/>
            </a:xfrm>
            <a:custGeom>
              <a:avLst/>
              <a:gdLst>
                <a:gd name="connsiteX0" fmla="*/ 159804 w 180730"/>
                <a:gd name="connsiteY0" fmla="*/ 7715 h 152400"/>
                <a:gd name="connsiteX1" fmla="*/ 159804 w 180730"/>
                <a:gd name="connsiteY1" fmla="*/ 7715 h 152400"/>
                <a:gd name="connsiteX2" fmla="*/ 156094 w 180730"/>
                <a:gd name="connsiteY2" fmla="*/ 18764 h 152400"/>
                <a:gd name="connsiteX3" fmla="*/ 155619 w 180730"/>
                <a:gd name="connsiteY3" fmla="*/ 18764 h 152400"/>
                <a:gd name="connsiteX4" fmla="*/ 159519 w 180730"/>
                <a:gd name="connsiteY4" fmla="*/ 7144 h 152400"/>
                <a:gd name="connsiteX5" fmla="*/ 181682 w 180730"/>
                <a:gd name="connsiteY5" fmla="*/ 70675 h 152400"/>
                <a:gd name="connsiteX6" fmla="*/ 181682 w 180730"/>
                <a:gd name="connsiteY6" fmla="*/ 71723 h 152400"/>
                <a:gd name="connsiteX7" fmla="*/ 171314 w 180730"/>
                <a:gd name="connsiteY7" fmla="*/ 76962 h 152400"/>
                <a:gd name="connsiteX8" fmla="*/ 160850 w 180730"/>
                <a:gd name="connsiteY8" fmla="*/ 106108 h 152400"/>
                <a:gd name="connsiteX9" fmla="*/ 160850 w 180730"/>
                <a:gd name="connsiteY9" fmla="*/ 106108 h 152400"/>
                <a:gd name="connsiteX10" fmla="*/ 160280 w 180730"/>
                <a:gd name="connsiteY10" fmla="*/ 106108 h 152400"/>
                <a:gd name="connsiteX11" fmla="*/ 160850 w 180730"/>
                <a:gd name="connsiteY11" fmla="*/ 105156 h 152400"/>
                <a:gd name="connsiteX12" fmla="*/ 171599 w 180730"/>
                <a:gd name="connsiteY12" fmla="*/ 75533 h 152400"/>
                <a:gd name="connsiteX13" fmla="*/ 181682 w 180730"/>
                <a:gd name="connsiteY13" fmla="*/ 70675 h 152400"/>
                <a:gd name="connsiteX14" fmla="*/ 164941 w 180730"/>
                <a:gd name="connsiteY14" fmla="*/ 116396 h 152400"/>
                <a:gd name="connsiteX15" fmla="*/ 164941 w 180730"/>
                <a:gd name="connsiteY15" fmla="*/ 117158 h 152400"/>
                <a:gd name="connsiteX16" fmla="*/ 151529 w 180730"/>
                <a:gd name="connsiteY16" fmla="*/ 131921 h 152400"/>
                <a:gd name="connsiteX17" fmla="*/ 140590 w 180730"/>
                <a:gd name="connsiteY17" fmla="*/ 128206 h 152400"/>
                <a:gd name="connsiteX18" fmla="*/ 112053 w 180730"/>
                <a:gd name="connsiteY18" fmla="*/ 141541 h 152400"/>
                <a:gd name="connsiteX19" fmla="*/ 107773 w 180730"/>
                <a:gd name="connsiteY19" fmla="*/ 152305 h 152400"/>
                <a:gd name="connsiteX20" fmla="*/ 87892 w 180730"/>
                <a:gd name="connsiteY20" fmla="*/ 153162 h 152400"/>
                <a:gd name="connsiteX21" fmla="*/ 82756 w 180730"/>
                <a:gd name="connsiteY21" fmla="*/ 142875 h 152400"/>
                <a:gd name="connsiteX22" fmla="*/ 53173 w 180730"/>
                <a:gd name="connsiteY22" fmla="*/ 132017 h 152400"/>
                <a:gd name="connsiteX23" fmla="*/ 42519 w 180730"/>
                <a:gd name="connsiteY23" fmla="*/ 136684 h 152400"/>
                <a:gd name="connsiteX24" fmla="*/ 27871 w 180730"/>
                <a:gd name="connsiteY24" fmla="*/ 123158 h 152400"/>
                <a:gd name="connsiteX25" fmla="*/ 27871 w 180730"/>
                <a:gd name="connsiteY25" fmla="*/ 122301 h 152400"/>
                <a:gd name="connsiteX26" fmla="*/ 42234 w 180730"/>
                <a:gd name="connsiteY26" fmla="*/ 135541 h 152400"/>
                <a:gd name="connsiteX27" fmla="*/ 52888 w 180730"/>
                <a:gd name="connsiteY27" fmla="*/ 130969 h 152400"/>
                <a:gd name="connsiteX28" fmla="*/ 82470 w 180730"/>
                <a:gd name="connsiteY28" fmla="*/ 141732 h 152400"/>
                <a:gd name="connsiteX29" fmla="*/ 87607 w 180730"/>
                <a:gd name="connsiteY29" fmla="*/ 152019 h 152400"/>
                <a:gd name="connsiteX30" fmla="*/ 107487 w 180730"/>
                <a:gd name="connsiteY30" fmla="*/ 151162 h 152400"/>
                <a:gd name="connsiteX31" fmla="*/ 111768 w 180730"/>
                <a:gd name="connsiteY31" fmla="*/ 140399 h 152400"/>
                <a:gd name="connsiteX32" fmla="*/ 140304 w 180730"/>
                <a:gd name="connsiteY32" fmla="*/ 127159 h 152400"/>
                <a:gd name="connsiteX33" fmla="*/ 151243 w 180730"/>
                <a:gd name="connsiteY33" fmla="*/ 130778 h 152400"/>
                <a:gd name="connsiteX34" fmla="*/ 164370 w 180730"/>
                <a:gd name="connsiteY34" fmla="*/ 116396 h 152400"/>
                <a:gd name="connsiteX35" fmla="*/ 31771 w 180730"/>
                <a:gd name="connsiteY35" fmla="*/ 111824 h 152400"/>
                <a:gd name="connsiteX36" fmla="*/ 18739 w 180730"/>
                <a:gd name="connsiteY36" fmla="*/ 83249 h 152400"/>
                <a:gd name="connsiteX37" fmla="*/ 7990 w 180730"/>
                <a:gd name="connsiteY37" fmla="*/ 79058 h 152400"/>
                <a:gd name="connsiteX38" fmla="*/ 7134 w 180730"/>
                <a:gd name="connsiteY38" fmla="*/ 59055 h 152400"/>
                <a:gd name="connsiteX39" fmla="*/ 7134 w 180730"/>
                <a:gd name="connsiteY39" fmla="*/ 59055 h 152400"/>
                <a:gd name="connsiteX40" fmla="*/ 7895 w 180730"/>
                <a:gd name="connsiteY40" fmla="*/ 78105 h 152400"/>
                <a:gd name="connsiteX41" fmla="*/ 18644 w 180730"/>
                <a:gd name="connsiteY41" fmla="*/ 82391 h 152400"/>
                <a:gd name="connsiteX42" fmla="*/ 32532 w 180730"/>
                <a:gd name="connsiteY42" fmla="*/ 111538 h 152400"/>
                <a:gd name="connsiteX43" fmla="*/ 31961 w 180730"/>
                <a:gd name="connsiteY43" fmla="*/ 111538 h 152400"/>
                <a:gd name="connsiteX44" fmla="*/ 31961 w 180730"/>
                <a:gd name="connsiteY44" fmla="*/ 111538 h 152400"/>
                <a:gd name="connsiteX45" fmla="*/ 28536 w 180730"/>
                <a:gd name="connsiteY45" fmla="*/ 25337 h 152400"/>
                <a:gd name="connsiteX46" fmla="*/ 23685 w 180730"/>
                <a:gd name="connsiteY46" fmla="*/ 14097 h 152400"/>
                <a:gd name="connsiteX47" fmla="*/ 23685 w 180730"/>
                <a:gd name="connsiteY47" fmla="*/ 14097 h 152400"/>
                <a:gd name="connsiteX48" fmla="*/ 28536 w 180730"/>
                <a:gd name="connsiteY48" fmla="*/ 25337 h 152400"/>
                <a:gd name="connsiteX49" fmla="*/ 28536 w 180730"/>
                <a:gd name="connsiteY49" fmla="*/ 25337 h 152400"/>
                <a:gd name="connsiteX50" fmla="*/ 128224 w 180730"/>
                <a:gd name="connsiteY50" fmla="*/ 25337 h 152400"/>
                <a:gd name="connsiteX51" fmla="*/ 57549 w 180730"/>
                <a:gd name="connsiteY51" fmla="*/ 28385 h 152400"/>
                <a:gd name="connsiteX52" fmla="*/ 56978 w 180730"/>
                <a:gd name="connsiteY52" fmla="*/ 28956 h 152400"/>
                <a:gd name="connsiteX53" fmla="*/ 55836 w 180730"/>
                <a:gd name="connsiteY53" fmla="*/ 28956 h 152400"/>
                <a:gd name="connsiteX54" fmla="*/ 56978 w 180730"/>
                <a:gd name="connsiteY54" fmla="*/ 27718 h 152400"/>
                <a:gd name="connsiteX55" fmla="*/ 128795 w 180730"/>
                <a:gd name="connsiteY55" fmla="*/ 24575 h 152400"/>
                <a:gd name="connsiteX56" fmla="*/ 129936 w 180730"/>
                <a:gd name="connsiteY56" fmla="*/ 25622 h 152400"/>
                <a:gd name="connsiteX57" fmla="*/ 128795 w 180730"/>
                <a:gd name="connsiteY57" fmla="*/ 25622 h 152400"/>
                <a:gd name="connsiteX58" fmla="*/ 128224 w 180730"/>
                <a:gd name="connsiteY58" fmla="*/ 25622 h 152400"/>
                <a:gd name="connsiteX59" fmla="*/ 105204 w 180730"/>
                <a:gd name="connsiteY59" fmla="*/ 50483 h 152400"/>
                <a:gd name="connsiteX60" fmla="*/ 82661 w 180730"/>
                <a:gd name="connsiteY60" fmla="*/ 51435 h 152400"/>
                <a:gd name="connsiteX61" fmla="*/ 82090 w 180730"/>
                <a:gd name="connsiteY61" fmla="*/ 52006 h 152400"/>
                <a:gd name="connsiteX62" fmla="*/ 80758 w 180730"/>
                <a:gd name="connsiteY62" fmla="*/ 52006 h 152400"/>
                <a:gd name="connsiteX63" fmla="*/ 82090 w 180730"/>
                <a:gd name="connsiteY63" fmla="*/ 50959 h 152400"/>
                <a:gd name="connsiteX64" fmla="*/ 93790 w 180730"/>
                <a:gd name="connsiteY64" fmla="*/ 46196 h 152400"/>
                <a:gd name="connsiteX65" fmla="*/ 105870 w 180730"/>
                <a:gd name="connsiteY65" fmla="*/ 49911 h 152400"/>
                <a:gd name="connsiteX66" fmla="*/ 107012 w 180730"/>
                <a:gd name="connsiteY66" fmla="*/ 50863 h 152400"/>
                <a:gd name="connsiteX67" fmla="*/ 105870 w 180730"/>
                <a:gd name="connsiteY67" fmla="*/ 50863 h 152400"/>
                <a:gd name="connsiteX68" fmla="*/ 105204 w 180730"/>
                <a:gd name="connsiteY68" fmla="*/ 50387 h 152400"/>
                <a:gd name="connsiteX69" fmla="*/ 113480 w 180730"/>
                <a:gd name="connsiteY69" fmla="*/ 65532 h 152400"/>
                <a:gd name="connsiteX70" fmla="*/ 113480 w 180730"/>
                <a:gd name="connsiteY70" fmla="*/ 65532 h 152400"/>
                <a:gd name="connsiteX71" fmla="*/ 108724 w 180730"/>
                <a:gd name="connsiteY71" fmla="*/ 53816 h 152400"/>
                <a:gd name="connsiteX72" fmla="*/ 96073 w 180730"/>
                <a:gd name="connsiteY72" fmla="*/ 66008 h 152400"/>
                <a:gd name="connsiteX73" fmla="*/ 95502 w 180730"/>
                <a:gd name="connsiteY73" fmla="*/ 66008 h 152400"/>
                <a:gd name="connsiteX74" fmla="*/ 107963 w 180730"/>
                <a:gd name="connsiteY74" fmla="*/ 52388 h 152400"/>
                <a:gd name="connsiteX75" fmla="*/ 112719 w 180730"/>
                <a:gd name="connsiteY75" fmla="*/ 64103 h 152400"/>
                <a:gd name="connsiteX76" fmla="*/ 112719 w 180730"/>
                <a:gd name="connsiteY76" fmla="*/ 65437 h 152400"/>
                <a:gd name="connsiteX77" fmla="*/ 147438 w 180730"/>
                <a:gd name="connsiteY77" fmla="*/ 65532 h 152400"/>
                <a:gd name="connsiteX78" fmla="*/ 147438 w 180730"/>
                <a:gd name="connsiteY78" fmla="*/ 62579 h 152400"/>
                <a:gd name="connsiteX79" fmla="*/ 131743 w 180730"/>
                <a:gd name="connsiteY79" fmla="*/ 27241 h 152400"/>
                <a:gd name="connsiteX80" fmla="*/ 119948 w 180730"/>
                <a:gd name="connsiteY80" fmla="*/ 40196 h 152400"/>
                <a:gd name="connsiteX81" fmla="*/ 120519 w 180730"/>
                <a:gd name="connsiteY81" fmla="*/ 40672 h 152400"/>
                <a:gd name="connsiteX82" fmla="*/ 131743 w 180730"/>
                <a:gd name="connsiteY82" fmla="*/ 28384 h 152400"/>
                <a:gd name="connsiteX83" fmla="*/ 147438 w 180730"/>
                <a:gd name="connsiteY83" fmla="*/ 63722 h 152400"/>
                <a:gd name="connsiteX84" fmla="*/ 147438 w 180730"/>
                <a:gd name="connsiteY84" fmla="*/ 65532 h 152400"/>
                <a:gd name="connsiteX85" fmla="*/ 122326 w 180730"/>
                <a:gd name="connsiteY85" fmla="*/ 41338 h 152400"/>
                <a:gd name="connsiteX86" fmla="*/ 122326 w 180730"/>
                <a:gd name="connsiteY86" fmla="*/ 41338 h 152400"/>
                <a:gd name="connsiteX87" fmla="*/ 120329 w 180730"/>
                <a:gd name="connsiteY87" fmla="*/ 47339 h 152400"/>
                <a:gd name="connsiteX88" fmla="*/ 120329 w 180730"/>
                <a:gd name="connsiteY88" fmla="*/ 47339 h 152400"/>
                <a:gd name="connsiteX89" fmla="*/ 122231 w 180730"/>
                <a:gd name="connsiteY89" fmla="*/ 41434 h 152400"/>
                <a:gd name="connsiteX90" fmla="*/ 131838 w 180730"/>
                <a:gd name="connsiteY90" fmla="*/ 67532 h 152400"/>
                <a:gd name="connsiteX91" fmla="*/ 131838 w 180730"/>
                <a:gd name="connsiteY91" fmla="*/ 68580 h 152400"/>
                <a:gd name="connsiteX92" fmla="*/ 126892 w 180730"/>
                <a:gd name="connsiteY92" fmla="*/ 71056 h 152400"/>
                <a:gd name="connsiteX93" fmla="*/ 122897 w 180730"/>
                <a:gd name="connsiteY93" fmla="*/ 82296 h 152400"/>
                <a:gd name="connsiteX94" fmla="*/ 122897 w 180730"/>
                <a:gd name="connsiteY94" fmla="*/ 82772 h 152400"/>
                <a:gd name="connsiteX95" fmla="*/ 122897 w 180730"/>
                <a:gd name="connsiteY95" fmla="*/ 82772 h 152400"/>
                <a:gd name="connsiteX96" fmla="*/ 123468 w 180730"/>
                <a:gd name="connsiteY96" fmla="*/ 81820 h 152400"/>
                <a:gd name="connsiteX97" fmla="*/ 127653 w 180730"/>
                <a:gd name="connsiteY97" fmla="*/ 70199 h 152400"/>
                <a:gd name="connsiteX98" fmla="*/ 132599 w 180730"/>
                <a:gd name="connsiteY98" fmla="*/ 67723 h 152400"/>
                <a:gd name="connsiteX99" fmla="*/ 124514 w 180730"/>
                <a:gd name="connsiteY99" fmla="*/ 86582 h 152400"/>
                <a:gd name="connsiteX100" fmla="*/ 124514 w 180730"/>
                <a:gd name="connsiteY100" fmla="*/ 87344 h 152400"/>
                <a:gd name="connsiteX101" fmla="*/ 122421 w 180730"/>
                <a:gd name="connsiteY101" fmla="*/ 89535 h 152400"/>
                <a:gd name="connsiteX102" fmla="*/ 121851 w 180730"/>
                <a:gd name="connsiteY102" fmla="*/ 89535 h 152400"/>
                <a:gd name="connsiteX103" fmla="*/ 124134 w 180730"/>
                <a:gd name="connsiteY103" fmla="*/ 86963 h 152400"/>
                <a:gd name="connsiteX104" fmla="*/ 132980 w 180730"/>
                <a:gd name="connsiteY104" fmla="*/ 103251 h 152400"/>
                <a:gd name="connsiteX105" fmla="*/ 120709 w 180730"/>
                <a:gd name="connsiteY105" fmla="*/ 91916 h 152400"/>
                <a:gd name="connsiteX106" fmla="*/ 119187 w 180730"/>
                <a:gd name="connsiteY106" fmla="*/ 93631 h 152400"/>
                <a:gd name="connsiteX107" fmla="*/ 113860 w 180730"/>
                <a:gd name="connsiteY107" fmla="*/ 91821 h 152400"/>
                <a:gd name="connsiteX108" fmla="*/ 102636 w 180730"/>
                <a:gd name="connsiteY108" fmla="*/ 97155 h 152400"/>
                <a:gd name="connsiteX109" fmla="*/ 100639 w 180730"/>
                <a:gd name="connsiteY109" fmla="*/ 102299 h 152400"/>
                <a:gd name="connsiteX110" fmla="*/ 92173 w 180730"/>
                <a:gd name="connsiteY110" fmla="*/ 102299 h 152400"/>
                <a:gd name="connsiteX111" fmla="*/ 89700 w 180730"/>
                <a:gd name="connsiteY111" fmla="*/ 97346 h 152400"/>
                <a:gd name="connsiteX112" fmla="*/ 78000 w 180730"/>
                <a:gd name="connsiteY112" fmla="*/ 93059 h 152400"/>
                <a:gd name="connsiteX113" fmla="*/ 72958 w 180730"/>
                <a:gd name="connsiteY113" fmla="*/ 95250 h 152400"/>
                <a:gd name="connsiteX114" fmla="*/ 71246 w 180730"/>
                <a:gd name="connsiteY114" fmla="*/ 93726 h 152400"/>
                <a:gd name="connsiteX115" fmla="*/ 60022 w 180730"/>
                <a:gd name="connsiteY115" fmla="*/ 106013 h 152400"/>
                <a:gd name="connsiteX116" fmla="*/ 59451 w 180730"/>
                <a:gd name="connsiteY116" fmla="*/ 105537 h 152400"/>
                <a:gd name="connsiteX117" fmla="*/ 71246 w 180730"/>
                <a:gd name="connsiteY117" fmla="*/ 92583 h 152400"/>
                <a:gd name="connsiteX118" fmla="*/ 72958 w 180730"/>
                <a:gd name="connsiteY118" fmla="*/ 94107 h 152400"/>
                <a:gd name="connsiteX119" fmla="*/ 78000 w 180730"/>
                <a:gd name="connsiteY119" fmla="*/ 91916 h 152400"/>
                <a:gd name="connsiteX120" fmla="*/ 89700 w 180730"/>
                <a:gd name="connsiteY120" fmla="*/ 96202 h 152400"/>
                <a:gd name="connsiteX121" fmla="*/ 92173 w 180730"/>
                <a:gd name="connsiteY121" fmla="*/ 101155 h 152400"/>
                <a:gd name="connsiteX122" fmla="*/ 100639 w 180730"/>
                <a:gd name="connsiteY122" fmla="*/ 101155 h 152400"/>
                <a:gd name="connsiteX123" fmla="*/ 102636 w 180730"/>
                <a:gd name="connsiteY123" fmla="*/ 96012 h 152400"/>
                <a:gd name="connsiteX124" fmla="*/ 113860 w 180730"/>
                <a:gd name="connsiteY124" fmla="*/ 90773 h 152400"/>
                <a:gd name="connsiteX125" fmla="*/ 119187 w 180730"/>
                <a:gd name="connsiteY125" fmla="*/ 92488 h 152400"/>
                <a:gd name="connsiteX126" fmla="*/ 120709 w 180730"/>
                <a:gd name="connsiteY126" fmla="*/ 90868 h 152400"/>
                <a:gd name="connsiteX127" fmla="*/ 133646 w 180730"/>
                <a:gd name="connsiteY127" fmla="*/ 102679 h 152400"/>
                <a:gd name="connsiteX128" fmla="*/ 132980 w 180730"/>
                <a:gd name="connsiteY128" fmla="*/ 103251 h 152400"/>
                <a:gd name="connsiteX129" fmla="*/ 107012 w 180730"/>
                <a:gd name="connsiteY129" fmla="*/ 80200 h 152400"/>
                <a:gd name="connsiteX130" fmla="*/ 94075 w 180730"/>
                <a:gd name="connsiteY130" fmla="*/ 68294 h 152400"/>
                <a:gd name="connsiteX131" fmla="*/ 82090 w 180730"/>
                <a:gd name="connsiteY131" fmla="*/ 81343 h 152400"/>
                <a:gd name="connsiteX132" fmla="*/ 81519 w 180730"/>
                <a:gd name="connsiteY132" fmla="*/ 80867 h 152400"/>
                <a:gd name="connsiteX133" fmla="*/ 94075 w 180730"/>
                <a:gd name="connsiteY133" fmla="*/ 67151 h 152400"/>
                <a:gd name="connsiteX134" fmla="*/ 107582 w 180730"/>
                <a:gd name="connsiteY134" fmla="*/ 79629 h 152400"/>
                <a:gd name="connsiteX135" fmla="*/ 107012 w 180730"/>
                <a:gd name="connsiteY135" fmla="*/ 80200 h 152400"/>
                <a:gd name="connsiteX136" fmla="*/ 91697 w 180730"/>
                <a:gd name="connsiteY136" fmla="*/ 66199 h 152400"/>
                <a:gd name="connsiteX137" fmla="*/ 78761 w 180730"/>
                <a:gd name="connsiteY137" fmla="*/ 54292 h 152400"/>
                <a:gd name="connsiteX138" fmla="*/ 75051 w 180730"/>
                <a:gd name="connsiteY138" fmla="*/ 64960 h 152400"/>
                <a:gd name="connsiteX139" fmla="*/ 78761 w 180730"/>
                <a:gd name="connsiteY139" fmla="*/ 53149 h 152400"/>
                <a:gd name="connsiteX140" fmla="*/ 92268 w 180730"/>
                <a:gd name="connsiteY140" fmla="*/ 65532 h 152400"/>
                <a:gd name="connsiteX141" fmla="*/ 91697 w 180730"/>
                <a:gd name="connsiteY141" fmla="*/ 66199 h 152400"/>
                <a:gd name="connsiteX142" fmla="*/ 64873 w 180730"/>
                <a:gd name="connsiteY142" fmla="*/ 41529 h 152400"/>
                <a:gd name="connsiteX143" fmla="*/ 53648 w 180730"/>
                <a:gd name="connsiteY143" fmla="*/ 31242 h 152400"/>
                <a:gd name="connsiteX144" fmla="*/ 41092 w 180730"/>
                <a:gd name="connsiteY144" fmla="*/ 64865 h 152400"/>
                <a:gd name="connsiteX145" fmla="*/ 53648 w 180730"/>
                <a:gd name="connsiteY145" fmla="*/ 30194 h 152400"/>
                <a:gd name="connsiteX146" fmla="*/ 65349 w 180730"/>
                <a:gd name="connsiteY146" fmla="*/ 40862 h 152400"/>
                <a:gd name="connsiteX147" fmla="*/ 66490 w 180730"/>
                <a:gd name="connsiteY147" fmla="*/ 42005 h 152400"/>
                <a:gd name="connsiteX148" fmla="*/ 65444 w 180730"/>
                <a:gd name="connsiteY148" fmla="*/ 42005 h 152400"/>
                <a:gd name="connsiteX149" fmla="*/ 64873 w 180730"/>
                <a:gd name="connsiteY149" fmla="*/ 41529 h 152400"/>
                <a:gd name="connsiteX150" fmla="*/ 68107 w 180730"/>
                <a:gd name="connsiteY150" fmla="*/ 92012 h 152400"/>
                <a:gd name="connsiteX151" fmla="*/ 68678 w 180730"/>
                <a:gd name="connsiteY151" fmla="*/ 91345 h 152400"/>
                <a:gd name="connsiteX152" fmla="*/ 66205 w 180730"/>
                <a:gd name="connsiteY152" fmla="*/ 89059 h 152400"/>
                <a:gd name="connsiteX153" fmla="*/ 66205 w 180730"/>
                <a:gd name="connsiteY153" fmla="*/ 89916 h 152400"/>
                <a:gd name="connsiteX154" fmla="*/ 68392 w 180730"/>
                <a:gd name="connsiteY154" fmla="*/ 92012 h 152400"/>
                <a:gd name="connsiteX155" fmla="*/ 67346 w 180730"/>
                <a:gd name="connsiteY155" fmla="*/ 84296 h 152400"/>
                <a:gd name="connsiteX156" fmla="*/ 67346 w 180730"/>
                <a:gd name="connsiteY156" fmla="*/ 84296 h 152400"/>
                <a:gd name="connsiteX157" fmla="*/ 67822 w 180730"/>
                <a:gd name="connsiteY157" fmla="*/ 84296 h 152400"/>
                <a:gd name="connsiteX158" fmla="*/ 67346 w 180730"/>
                <a:gd name="connsiteY158" fmla="*/ 83534 h 152400"/>
                <a:gd name="connsiteX159" fmla="*/ 62114 w 180730"/>
                <a:gd name="connsiteY159" fmla="*/ 72295 h 152400"/>
                <a:gd name="connsiteX160" fmla="*/ 56978 w 180730"/>
                <a:gd name="connsiteY160" fmla="*/ 70295 h 152400"/>
                <a:gd name="connsiteX161" fmla="*/ 56978 w 180730"/>
                <a:gd name="connsiteY161" fmla="*/ 62865 h 152400"/>
                <a:gd name="connsiteX162" fmla="*/ 56978 w 180730"/>
                <a:gd name="connsiteY162" fmla="*/ 62865 h 152400"/>
                <a:gd name="connsiteX163" fmla="*/ 56978 w 180730"/>
                <a:gd name="connsiteY163" fmla="*/ 71247 h 152400"/>
                <a:gd name="connsiteX164" fmla="*/ 62114 w 180730"/>
                <a:gd name="connsiteY164" fmla="*/ 73342 h 152400"/>
                <a:gd name="connsiteX165" fmla="*/ 67061 w 180730"/>
                <a:gd name="connsiteY165" fmla="*/ 84201 h 152400"/>
                <a:gd name="connsiteX166" fmla="*/ 66395 w 180730"/>
                <a:gd name="connsiteY166" fmla="*/ 49435 h 152400"/>
                <a:gd name="connsiteX167" fmla="*/ 66395 w 180730"/>
                <a:gd name="connsiteY167" fmla="*/ 48958 h 152400"/>
                <a:gd name="connsiteX168" fmla="*/ 64017 w 180730"/>
                <a:gd name="connsiteY168" fmla="*/ 43339 h 152400"/>
                <a:gd name="connsiteX169" fmla="*/ 64017 w 180730"/>
                <a:gd name="connsiteY169" fmla="*/ 4333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80730" h="152400">
                  <a:moveTo>
                    <a:pt x="159804" y="7715"/>
                  </a:moveTo>
                  <a:lnTo>
                    <a:pt x="159804" y="7715"/>
                  </a:lnTo>
                  <a:lnTo>
                    <a:pt x="156094" y="18764"/>
                  </a:lnTo>
                  <a:lnTo>
                    <a:pt x="155619" y="18764"/>
                  </a:lnTo>
                  <a:lnTo>
                    <a:pt x="159519" y="7144"/>
                  </a:lnTo>
                  <a:close/>
                  <a:moveTo>
                    <a:pt x="181682" y="70675"/>
                  </a:moveTo>
                  <a:lnTo>
                    <a:pt x="181682" y="71723"/>
                  </a:lnTo>
                  <a:lnTo>
                    <a:pt x="171314" y="76962"/>
                  </a:lnTo>
                  <a:cubicBezTo>
                    <a:pt x="169819" y="87283"/>
                    <a:pt x="166260" y="97197"/>
                    <a:pt x="160850" y="106108"/>
                  </a:cubicBezTo>
                  <a:lnTo>
                    <a:pt x="160850" y="106108"/>
                  </a:lnTo>
                  <a:lnTo>
                    <a:pt x="160280" y="106108"/>
                  </a:lnTo>
                  <a:lnTo>
                    <a:pt x="160850" y="105156"/>
                  </a:lnTo>
                  <a:cubicBezTo>
                    <a:pt x="166456" y="96140"/>
                    <a:pt x="170117" y="86050"/>
                    <a:pt x="171599" y="75533"/>
                  </a:cubicBezTo>
                  <a:lnTo>
                    <a:pt x="181682" y="70675"/>
                  </a:lnTo>
                  <a:close/>
                  <a:moveTo>
                    <a:pt x="164941" y="116396"/>
                  </a:moveTo>
                  <a:lnTo>
                    <a:pt x="164941" y="117158"/>
                  </a:lnTo>
                  <a:lnTo>
                    <a:pt x="151529" y="131921"/>
                  </a:lnTo>
                  <a:lnTo>
                    <a:pt x="140590" y="128206"/>
                  </a:lnTo>
                  <a:cubicBezTo>
                    <a:pt x="132094" y="134569"/>
                    <a:pt x="122380" y="139109"/>
                    <a:pt x="112053" y="141541"/>
                  </a:cubicBezTo>
                  <a:lnTo>
                    <a:pt x="107773" y="152305"/>
                  </a:lnTo>
                  <a:lnTo>
                    <a:pt x="87892" y="153162"/>
                  </a:lnTo>
                  <a:lnTo>
                    <a:pt x="82756" y="142875"/>
                  </a:lnTo>
                  <a:cubicBezTo>
                    <a:pt x="72256" y="141324"/>
                    <a:pt x="62186" y="137628"/>
                    <a:pt x="53173" y="132017"/>
                  </a:cubicBezTo>
                  <a:lnTo>
                    <a:pt x="42519" y="136684"/>
                  </a:lnTo>
                  <a:lnTo>
                    <a:pt x="27871" y="123158"/>
                  </a:lnTo>
                  <a:lnTo>
                    <a:pt x="27871" y="122301"/>
                  </a:lnTo>
                  <a:lnTo>
                    <a:pt x="42234" y="135541"/>
                  </a:lnTo>
                  <a:lnTo>
                    <a:pt x="52888" y="130969"/>
                  </a:lnTo>
                  <a:cubicBezTo>
                    <a:pt x="61907" y="136549"/>
                    <a:pt x="71977" y="140213"/>
                    <a:pt x="82470" y="141732"/>
                  </a:cubicBezTo>
                  <a:lnTo>
                    <a:pt x="87607" y="152019"/>
                  </a:lnTo>
                  <a:lnTo>
                    <a:pt x="107487" y="151162"/>
                  </a:lnTo>
                  <a:lnTo>
                    <a:pt x="111768" y="140399"/>
                  </a:lnTo>
                  <a:cubicBezTo>
                    <a:pt x="122075" y="137959"/>
                    <a:pt x="131782" y="133455"/>
                    <a:pt x="140304" y="127159"/>
                  </a:cubicBezTo>
                  <a:lnTo>
                    <a:pt x="151243" y="130778"/>
                  </a:lnTo>
                  <a:lnTo>
                    <a:pt x="164370" y="116396"/>
                  </a:lnTo>
                  <a:close/>
                  <a:moveTo>
                    <a:pt x="31771" y="111824"/>
                  </a:moveTo>
                  <a:cubicBezTo>
                    <a:pt x="25537" y="103282"/>
                    <a:pt x="21103" y="93560"/>
                    <a:pt x="18739" y="83249"/>
                  </a:cubicBezTo>
                  <a:lnTo>
                    <a:pt x="7990" y="79058"/>
                  </a:lnTo>
                  <a:lnTo>
                    <a:pt x="7134" y="59055"/>
                  </a:lnTo>
                  <a:lnTo>
                    <a:pt x="7134" y="59055"/>
                  </a:lnTo>
                  <a:lnTo>
                    <a:pt x="7895" y="78105"/>
                  </a:lnTo>
                  <a:lnTo>
                    <a:pt x="18644" y="82391"/>
                  </a:lnTo>
                  <a:cubicBezTo>
                    <a:pt x="21140" y="92989"/>
                    <a:pt x="25876" y="102927"/>
                    <a:pt x="32532" y="111538"/>
                  </a:cubicBezTo>
                  <a:lnTo>
                    <a:pt x="31961" y="111538"/>
                  </a:lnTo>
                  <a:lnTo>
                    <a:pt x="31961" y="111538"/>
                  </a:lnTo>
                  <a:close/>
                  <a:moveTo>
                    <a:pt x="28536" y="25337"/>
                  </a:moveTo>
                  <a:lnTo>
                    <a:pt x="23685" y="14097"/>
                  </a:lnTo>
                  <a:lnTo>
                    <a:pt x="23685" y="14097"/>
                  </a:lnTo>
                  <a:lnTo>
                    <a:pt x="28536" y="25337"/>
                  </a:lnTo>
                  <a:lnTo>
                    <a:pt x="28536" y="25337"/>
                  </a:lnTo>
                  <a:close/>
                  <a:moveTo>
                    <a:pt x="128224" y="25337"/>
                  </a:moveTo>
                  <a:cubicBezTo>
                    <a:pt x="107369" y="8060"/>
                    <a:pt x="76843" y="9377"/>
                    <a:pt x="57549" y="28385"/>
                  </a:cubicBezTo>
                  <a:lnTo>
                    <a:pt x="56978" y="28956"/>
                  </a:lnTo>
                  <a:lnTo>
                    <a:pt x="55836" y="28956"/>
                  </a:lnTo>
                  <a:lnTo>
                    <a:pt x="56978" y="27718"/>
                  </a:lnTo>
                  <a:cubicBezTo>
                    <a:pt x="76397" y="7991"/>
                    <a:pt x="107730" y="6620"/>
                    <a:pt x="128795" y="24575"/>
                  </a:cubicBezTo>
                  <a:lnTo>
                    <a:pt x="129936" y="25622"/>
                  </a:lnTo>
                  <a:lnTo>
                    <a:pt x="128795" y="25622"/>
                  </a:lnTo>
                  <a:lnTo>
                    <a:pt x="128224" y="25622"/>
                  </a:lnTo>
                  <a:close/>
                  <a:moveTo>
                    <a:pt x="105204" y="50483"/>
                  </a:moveTo>
                  <a:cubicBezTo>
                    <a:pt x="98293" y="45822"/>
                    <a:pt x="89156" y="46208"/>
                    <a:pt x="82661" y="51435"/>
                  </a:cubicBezTo>
                  <a:lnTo>
                    <a:pt x="82090" y="52006"/>
                  </a:lnTo>
                  <a:lnTo>
                    <a:pt x="80758" y="52006"/>
                  </a:lnTo>
                  <a:lnTo>
                    <a:pt x="82090" y="50959"/>
                  </a:lnTo>
                  <a:cubicBezTo>
                    <a:pt x="85334" y="48083"/>
                    <a:pt x="89462" y="46403"/>
                    <a:pt x="93790" y="46196"/>
                  </a:cubicBezTo>
                  <a:cubicBezTo>
                    <a:pt x="98122" y="46020"/>
                    <a:pt x="102384" y="47330"/>
                    <a:pt x="105870" y="49911"/>
                  </a:cubicBezTo>
                  <a:lnTo>
                    <a:pt x="107012" y="50863"/>
                  </a:lnTo>
                  <a:lnTo>
                    <a:pt x="105870" y="50863"/>
                  </a:lnTo>
                  <a:lnTo>
                    <a:pt x="105204" y="50387"/>
                  </a:lnTo>
                  <a:close/>
                  <a:moveTo>
                    <a:pt x="113480" y="65532"/>
                  </a:moveTo>
                  <a:lnTo>
                    <a:pt x="113480" y="65532"/>
                  </a:lnTo>
                  <a:cubicBezTo>
                    <a:pt x="113273" y="61198"/>
                    <a:pt x="111595" y="57065"/>
                    <a:pt x="108724" y="53816"/>
                  </a:cubicBezTo>
                  <a:lnTo>
                    <a:pt x="96073" y="66008"/>
                  </a:lnTo>
                  <a:lnTo>
                    <a:pt x="95502" y="66008"/>
                  </a:lnTo>
                  <a:lnTo>
                    <a:pt x="107963" y="52388"/>
                  </a:lnTo>
                  <a:cubicBezTo>
                    <a:pt x="110834" y="55636"/>
                    <a:pt x="112512" y="59770"/>
                    <a:pt x="112719" y="64103"/>
                  </a:cubicBezTo>
                  <a:lnTo>
                    <a:pt x="112719" y="65437"/>
                  </a:lnTo>
                  <a:close/>
                  <a:moveTo>
                    <a:pt x="147438" y="65532"/>
                  </a:moveTo>
                  <a:cubicBezTo>
                    <a:pt x="147438" y="64579"/>
                    <a:pt x="147438" y="63532"/>
                    <a:pt x="147438" y="62579"/>
                  </a:cubicBezTo>
                  <a:cubicBezTo>
                    <a:pt x="146918" y="49222"/>
                    <a:pt x="141301" y="36574"/>
                    <a:pt x="131743" y="27241"/>
                  </a:cubicBezTo>
                  <a:lnTo>
                    <a:pt x="119948" y="40196"/>
                  </a:lnTo>
                  <a:lnTo>
                    <a:pt x="120519" y="40672"/>
                  </a:lnTo>
                  <a:lnTo>
                    <a:pt x="131743" y="28384"/>
                  </a:lnTo>
                  <a:cubicBezTo>
                    <a:pt x="141301" y="37717"/>
                    <a:pt x="146918" y="50365"/>
                    <a:pt x="147438" y="63722"/>
                  </a:cubicBezTo>
                  <a:cubicBezTo>
                    <a:pt x="147486" y="64325"/>
                    <a:pt x="147486" y="64930"/>
                    <a:pt x="147438" y="65532"/>
                  </a:cubicBezTo>
                  <a:close/>
                  <a:moveTo>
                    <a:pt x="122326" y="41338"/>
                  </a:moveTo>
                  <a:lnTo>
                    <a:pt x="122326" y="41338"/>
                  </a:lnTo>
                  <a:lnTo>
                    <a:pt x="120329" y="47339"/>
                  </a:lnTo>
                  <a:lnTo>
                    <a:pt x="120329" y="47339"/>
                  </a:lnTo>
                  <a:lnTo>
                    <a:pt x="122231" y="41434"/>
                  </a:lnTo>
                  <a:close/>
                  <a:moveTo>
                    <a:pt x="131838" y="67532"/>
                  </a:moveTo>
                  <a:lnTo>
                    <a:pt x="131838" y="68580"/>
                  </a:lnTo>
                  <a:lnTo>
                    <a:pt x="126892" y="71056"/>
                  </a:lnTo>
                  <a:cubicBezTo>
                    <a:pt x="126313" y="75030"/>
                    <a:pt x="124955" y="78850"/>
                    <a:pt x="122897" y="82296"/>
                  </a:cubicBezTo>
                  <a:lnTo>
                    <a:pt x="122897" y="82772"/>
                  </a:lnTo>
                  <a:lnTo>
                    <a:pt x="122897" y="82772"/>
                  </a:lnTo>
                  <a:lnTo>
                    <a:pt x="123468" y="81820"/>
                  </a:lnTo>
                  <a:cubicBezTo>
                    <a:pt x="125588" y="78248"/>
                    <a:pt x="127009" y="74304"/>
                    <a:pt x="127653" y="70199"/>
                  </a:cubicBezTo>
                  <a:lnTo>
                    <a:pt x="132599" y="67723"/>
                  </a:lnTo>
                  <a:close/>
                  <a:moveTo>
                    <a:pt x="124514" y="86582"/>
                  </a:moveTo>
                  <a:lnTo>
                    <a:pt x="124514" y="87344"/>
                  </a:lnTo>
                  <a:lnTo>
                    <a:pt x="122421" y="89535"/>
                  </a:lnTo>
                  <a:lnTo>
                    <a:pt x="121851" y="89535"/>
                  </a:lnTo>
                  <a:lnTo>
                    <a:pt x="124134" y="86963"/>
                  </a:lnTo>
                  <a:close/>
                  <a:moveTo>
                    <a:pt x="132980" y="103251"/>
                  </a:moveTo>
                  <a:lnTo>
                    <a:pt x="120709" y="91916"/>
                  </a:lnTo>
                  <a:lnTo>
                    <a:pt x="119187" y="93631"/>
                  </a:lnTo>
                  <a:lnTo>
                    <a:pt x="113860" y="91821"/>
                  </a:lnTo>
                  <a:cubicBezTo>
                    <a:pt x="110511" y="94330"/>
                    <a:pt x="106695" y="96144"/>
                    <a:pt x="102636" y="97155"/>
                  </a:cubicBezTo>
                  <a:lnTo>
                    <a:pt x="100639" y="102299"/>
                  </a:lnTo>
                  <a:lnTo>
                    <a:pt x="92173" y="102299"/>
                  </a:lnTo>
                  <a:lnTo>
                    <a:pt x="89700" y="97346"/>
                  </a:lnTo>
                  <a:cubicBezTo>
                    <a:pt x="85565" y="96667"/>
                    <a:pt x="81596" y="95213"/>
                    <a:pt x="78000" y="93059"/>
                  </a:cubicBezTo>
                  <a:lnTo>
                    <a:pt x="72958" y="95250"/>
                  </a:lnTo>
                  <a:lnTo>
                    <a:pt x="71246" y="93726"/>
                  </a:lnTo>
                  <a:lnTo>
                    <a:pt x="60022" y="106013"/>
                  </a:lnTo>
                  <a:lnTo>
                    <a:pt x="59451" y="105537"/>
                  </a:lnTo>
                  <a:lnTo>
                    <a:pt x="71246" y="92583"/>
                  </a:lnTo>
                  <a:lnTo>
                    <a:pt x="72958" y="94107"/>
                  </a:lnTo>
                  <a:lnTo>
                    <a:pt x="78000" y="91916"/>
                  </a:lnTo>
                  <a:cubicBezTo>
                    <a:pt x="81576" y="94111"/>
                    <a:pt x="85553" y="95568"/>
                    <a:pt x="89700" y="96202"/>
                  </a:cubicBezTo>
                  <a:lnTo>
                    <a:pt x="92173" y="101155"/>
                  </a:lnTo>
                  <a:lnTo>
                    <a:pt x="100639" y="101155"/>
                  </a:lnTo>
                  <a:lnTo>
                    <a:pt x="102636" y="96012"/>
                  </a:lnTo>
                  <a:cubicBezTo>
                    <a:pt x="106675" y="94993"/>
                    <a:pt x="110484" y="93215"/>
                    <a:pt x="113860" y="90773"/>
                  </a:cubicBezTo>
                  <a:lnTo>
                    <a:pt x="119187" y="92488"/>
                  </a:lnTo>
                  <a:lnTo>
                    <a:pt x="120709" y="90868"/>
                  </a:lnTo>
                  <a:lnTo>
                    <a:pt x="133646" y="102679"/>
                  </a:lnTo>
                  <a:lnTo>
                    <a:pt x="132980" y="103251"/>
                  </a:lnTo>
                  <a:close/>
                  <a:moveTo>
                    <a:pt x="107012" y="80200"/>
                  </a:moveTo>
                  <a:lnTo>
                    <a:pt x="94075" y="68294"/>
                  </a:lnTo>
                  <a:lnTo>
                    <a:pt x="82090" y="81343"/>
                  </a:lnTo>
                  <a:lnTo>
                    <a:pt x="81519" y="80867"/>
                  </a:lnTo>
                  <a:lnTo>
                    <a:pt x="94075" y="67151"/>
                  </a:lnTo>
                  <a:lnTo>
                    <a:pt x="107582" y="79629"/>
                  </a:lnTo>
                  <a:lnTo>
                    <a:pt x="107012" y="80200"/>
                  </a:lnTo>
                  <a:close/>
                  <a:moveTo>
                    <a:pt x="91697" y="66199"/>
                  </a:moveTo>
                  <a:lnTo>
                    <a:pt x="78761" y="54292"/>
                  </a:lnTo>
                  <a:cubicBezTo>
                    <a:pt x="76475" y="57391"/>
                    <a:pt x="75182" y="61111"/>
                    <a:pt x="75051" y="64960"/>
                  </a:cubicBezTo>
                  <a:cubicBezTo>
                    <a:pt x="74940" y="60720"/>
                    <a:pt x="76245" y="56563"/>
                    <a:pt x="78761" y="53149"/>
                  </a:cubicBezTo>
                  <a:lnTo>
                    <a:pt x="92268" y="65532"/>
                  </a:lnTo>
                  <a:lnTo>
                    <a:pt x="91697" y="66199"/>
                  </a:lnTo>
                  <a:close/>
                  <a:moveTo>
                    <a:pt x="64873" y="41529"/>
                  </a:moveTo>
                  <a:lnTo>
                    <a:pt x="53648" y="31242"/>
                  </a:lnTo>
                  <a:cubicBezTo>
                    <a:pt x="45703" y="40657"/>
                    <a:pt x="41265" y="52540"/>
                    <a:pt x="41092" y="64865"/>
                  </a:cubicBezTo>
                  <a:cubicBezTo>
                    <a:pt x="41003" y="52177"/>
                    <a:pt x="45457" y="39876"/>
                    <a:pt x="53648" y="30194"/>
                  </a:cubicBezTo>
                  <a:lnTo>
                    <a:pt x="65349" y="40862"/>
                  </a:lnTo>
                  <a:lnTo>
                    <a:pt x="66490" y="42005"/>
                  </a:lnTo>
                  <a:lnTo>
                    <a:pt x="65444" y="42005"/>
                  </a:lnTo>
                  <a:lnTo>
                    <a:pt x="64873" y="41529"/>
                  </a:lnTo>
                  <a:close/>
                  <a:moveTo>
                    <a:pt x="68107" y="92012"/>
                  </a:moveTo>
                  <a:lnTo>
                    <a:pt x="68678" y="91345"/>
                  </a:lnTo>
                  <a:lnTo>
                    <a:pt x="66205" y="89059"/>
                  </a:lnTo>
                  <a:lnTo>
                    <a:pt x="66205" y="89916"/>
                  </a:lnTo>
                  <a:lnTo>
                    <a:pt x="68392" y="92012"/>
                  </a:lnTo>
                  <a:close/>
                  <a:moveTo>
                    <a:pt x="67346" y="84296"/>
                  </a:moveTo>
                  <a:lnTo>
                    <a:pt x="67346" y="84296"/>
                  </a:lnTo>
                  <a:lnTo>
                    <a:pt x="67822" y="84296"/>
                  </a:lnTo>
                  <a:lnTo>
                    <a:pt x="67346" y="83534"/>
                  </a:lnTo>
                  <a:cubicBezTo>
                    <a:pt x="64887" y="80165"/>
                    <a:pt x="63110" y="76347"/>
                    <a:pt x="62114" y="72295"/>
                  </a:cubicBezTo>
                  <a:lnTo>
                    <a:pt x="56978" y="70295"/>
                  </a:lnTo>
                  <a:lnTo>
                    <a:pt x="56978" y="62865"/>
                  </a:lnTo>
                  <a:lnTo>
                    <a:pt x="56978" y="62865"/>
                  </a:lnTo>
                  <a:lnTo>
                    <a:pt x="56978" y="71247"/>
                  </a:lnTo>
                  <a:lnTo>
                    <a:pt x="62114" y="73342"/>
                  </a:lnTo>
                  <a:cubicBezTo>
                    <a:pt x="63071" y="77240"/>
                    <a:pt x="64749" y="80923"/>
                    <a:pt x="67061" y="84201"/>
                  </a:cubicBezTo>
                  <a:close/>
                  <a:moveTo>
                    <a:pt x="66395" y="49435"/>
                  </a:moveTo>
                  <a:lnTo>
                    <a:pt x="66395" y="48958"/>
                  </a:lnTo>
                  <a:lnTo>
                    <a:pt x="64017" y="43339"/>
                  </a:lnTo>
                  <a:lnTo>
                    <a:pt x="64017" y="43339"/>
                  </a:ln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48" name="Freeform 47">
              <a:extLst>
                <a:ext uri="{FF2B5EF4-FFF2-40B4-BE49-F238E27FC236}">
                  <a16:creationId xmlns="" xmlns:a16="http://schemas.microsoft.com/office/drawing/2014/main" id="{0797B397-2BC6-BB4E-BF7D-CF1ED29DB4D1}"/>
                </a:ext>
              </a:extLst>
            </p:cNvPr>
            <p:cNvSpPr/>
            <p:nvPr/>
          </p:nvSpPr>
          <p:spPr>
            <a:xfrm>
              <a:off x="5616136" y="4481392"/>
              <a:ext cx="205433" cy="173230"/>
            </a:xfrm>
            <a:custGeom>
              <a:avLst/>
              <a:gdLst>
                <a:gd name="connsiteX0" fmla="*/ 105965 w 180730"/>
                <a:gd name="connsiteY0" fmla="*/ 17050 h 152400"/>
                <a:gd name="connsiteX1" fmla="*/ 135548 w 180730"/>
                <a:gd name="connsiteY1" fmla="*/ 27813 h 152400"/>
                <a:gd name="connsiteX2" fmla="*/ 146202 w 180730"/>
                <a:gd name="connsiteY2" fmla="*/ 23241 h 152400"/>
                <a:gd name="connsiteX3" fmla="*/ 160850 w 180730"/>
                <a:gd name="connsiteY3" fmla="*/ 36767 h 152400"/>
                <a:gd name="connsiteX4" fmla="*/ 160280 w 180730"/>
                <a:gd name="connsiteY4" fmla="*/ 37338 h 152400"/>
                <a:gd name="connsiteX5" fmla="*/ 146202 w 180730"/>
                <a:gd name="connsiteY5" fmla="*/ 24384 h 152400"/>
                <a:gd name="connsiteX6" fmla="*/ 135548 w 180730"/>
                <a:gd name="connsiteY6" fmla="*/ 28956 h 152400"/>
                <a:gd name="connsiteX7" fmla="*/ 105965 w 180730"/>
                <a:gd name="connsiteY7" fmla="*/ 18193 h 152400"/>
                <a:gd name="connsiteX8" fmla="*/ 100829 w 180730"/>
                <a:gd name="connsiteY8" fmla="*/ 7810 h 152400"/>
                <a:gd name="connsiteX9" fmla="*/ 80948 w 180730"/>
                <a:gd name="connsiteY9" fmla="*/ 8763 h 152400"/>
                <a:gd name="connsiteX10" fmla="*/ 76668 w 180730"/>
                <a:gd name="connsiteY10" fmla="*/ 19431 h 152400"/>
                <a:gd name="connsiteX11" fmla="*/ 48131 w 180730"/>
                <a:gd name="connsiteY11" fmla="*/ 32766 h 152400"/>
                <a:gd name="connsiteX12" fmla="*/ 37193 w 180730"/>
                <a:gd name="connsiteY12" fmla="*/ 29147 h 152400"/>
                <a:gd name="connsiteX13" fmla="*/ 24446 w 180730"/>
                <a:gd name="connsiteY13" fmla="*/ 43148 h 152400"/>
                <a:gd name="connsiteX14" fmla="*/ 23780 w 180730"/>
                <a:gd name="connsiteY14" fmla="*/ 43148 h 152400"/>
                <a:gd name="connsiteX15" fmla="*/ 37193 w 180730"/>
                <a:gd name="connsiteY15" fmla="*/ 28385 h 152400"/>
                <a:gd name="connsiteX16" fmla="*/ 48131 w 180730"/>
                <a:gd name="connsiteY16" fmla="*/ 32099 h 152400"/>
                <a:gd name="connsiteX17" fmla="*/ 76668 w 180730"/>
                <a:gd name="connsiteY17" fmla="*/ 18764 h 152400"/>
                <a:gd name="connsiteX18" fmla="*/ 80948 w 180730"/>
                <a:gd name="connsiteY18" fmla="*/ 8001 h 152400"/>
                <a:gd name="connsiteX19" fmla="*/ 100829 w 180730"/>
                <a:gd name="connsiteY19" fmla="*/ 7144 h 152400"/>
                <a:gd name="connsiteX20" fmla="*/ 105965 w 180730"/>
                <a:gd name="connsiteY20" fmla="*/ 17431 h 152400"/>
                <a:gd name="connsiteX21" fmla="*/ 157426 w 180730"/>
                <a:gd name="connsiteY21" fmla="*/ 48006 h 152400"/>
                <a:gd name="connsiteX22" fmla="*/ 170553 w 180730"/>
                <a:gd name="connsiteY22" fmla="*/ 76581 h 152400"/>
                <a:gd name="connsiteX23" fmla="*/ 181301 w 180730"/>
                <a:gd name="connsiteY23" fmla="*/ 80772 h 152400"/>
                <a:gd name="connsiteX24" fmla="*/ 182158 w 180730"/>
                <a:gd name="connsiteY24" fmla="*/ 100679 h 152400"/>
                <a:gd name="connsiteX25" fmla="*/ 182158 w 180730"/>
                <a:gd name="connsiteY25" fmla="*/ 100679 h 152400"/>
                <a:gd name="connsiteX26" fmla="*/ 181397 w 180730"/>
                <a:gd name="connsiteY26" fmla="*/ 81629 h 152400"/>
                <a:gd name="connsiteX27" fmla="*/ 170648 w 180730"/>
                <a:gd name="connsiteY27" fmla="*/ 77343 h 152400"/>
                <a:gd name="connsiteX28" fmla="*/ 156760 w 180730"/>
                <a:gd name="connsiteY28" fmla="*/ 48101 h 152400"/>
                <a:gd name="connsiteX29" fmla="*/ 157331 w 180730"/>
                <a:gd name="connsiteY29" fmla="*/ 48101 h 152400"/>
                <a:gd name="connsiteX30" fmla="*/ 157331 w 180730"/>
                <a:gd name="connsiteY30" fmla="*/ 48101 h 152400"/>
                <a:gd name="connsiteX31" fmla="*/ 161041 w 180730"/>
                <a:gd name="connsiteY31" fmla="*/ 135255 h 152400"/>
                <a:gd name="connsiteX32" fmla="*/ 165607 w 180730"/>
                <a:gd name="connsiteY32" fmla="*/ 145828 h 152400"/>
                <a:gd name="connsiteX33" fmla="*/ 164941 w 180730"/>
                <a:gd name="connsiteY33" fmla="*/ 145828 h 152400"/>
                <a:gd name="connsiteX34" fmla="*/ 160470 w 180730"/>
                <a:gd name="connsiteY34" fmla="*/ 135446 h 152400"/>
                <a:gd name="connsiteX35" fmla="*/ 161041 w 180730"/>
                <a:gd name="connsiteY35" fmla="*/ 135446 h 152400"/>
                <a:gd name="connsiteX36" fmla="*/ 28536 w 180730"/>
                <a:gd name="connsiteY36" fmla="*/ 151829 h 152400"/>
                <a:gd name="connsiteX37" fmla="*/ 32151 w 180730"/>
                <a:gd name="connsiteY37" fmla="*/ 140875 h 152400"/>
                <a:gd name="connsiteX38" fmla="*/ 32722 w 180730"/>
                <a:gd name="connsiteY38" fmla="*/ 140875 h 152400"/>
                <a:gd name="connsiteX39" fmla="*/ 29107 w 180730"/>
                <a:gd name="connsiteY39" fmla="*/ 151829 h 152400"/>
                <a:gd name="connsiteX40" fmla="*/ 28536 w 180730"/>
                <a:gd name="connsiteY40" fmla="*/ 152305 h 152400"/>
                <a:gd name="connsiteX41" fmla="*/ 7324 w 180730"/>
                <a:gd name="connsiteY41" fmla="*/ 89249 h 152400"/>
                <a:gd name="connsiteX42" fmla="*/ 7324 w 180730"/>
                <a:gd name="connsiteY42" fmla="*/ 88106 h 152400"/>
                <a:gd name="connsiteX43" fmla="*/ 17693 w 180730"/>
                <a:gd name="connsiteY43" fmla="*/ 82963 h 152400"/>
                <a:gd name="connsiteX44" fmla="*/ 28156 w 180730"/>
                <a:gd name="connsiteY44" fmla="*/ 53816 h 152400"/>
                <a:gd name="connsiteX45" fmla="*/ 28156 w 180730"/>
                <a:gd name="connsiteY45" fmla="*/ 53340 h 152400"/>
                <a:gd name="connsiteX46" fmla="*/ 28727 w 180730"/>
                <a:gd name="connsiteY46" fmla="*/ 53340 h 152400"/>
                <a:gd name="connsiteX47" fmla="*/ 28156 w 180730"/>
                <a:gd name="connsiteY47" fmla="*/ 54197 h 152400"/>
                <a:gd name="connsiteX48" fmla="*/ 17407 w 180730"/>
                <a:gd name="connsiteY48" fmla="*/ 83820 h 152400"/>
                <a:gd name="connsiteX49" fmla="*/ 7134 w 180730"/>
                <a:gd name="connsiteY49" fmla="*/ 88963 h 152400"/>
                <a:gd name="connsiteX50" fmla="*/ 57073 w 180730"/>
                <a:gd name="connsiteY50" fmla="*/ 57150 h 152400"/>
                <a:gd name="connsiteX51" fmla="*/ 68773 w 180730"/>
                <a:gd name="connsiteY51" fmla="*/ 67913 h 152400"/>
                <a:gd name="connsiteX52" fmla="*/ 70295 w 180730"/>
                <a:gd name="connsiteY52" fmla="*/ 66199 h 152400"/>
                <a:gd name="connsiteX53" fmla="*/ 75526 w 180730"/>
                <a:gd name="connsiteY53" fmla="*/ 67913 h 152400"/>
                <a:gd name="connsiteX54" fmla="*/ 86846 w 180730"/>
                <a:gd name="connsiteY54" fmla="*/ 62675 h 152400"/>
                <a:gd name="connsiteX55" fmla="*/ 88843 w 180730"/>
                <a:gd name="connsiteY55" fmla="*/ 57531 h 152400"/>
                <a:gd name="connsiteX56" fmla="*/ 97309 w 180730"/>
                <a:gd name="connsiteY56" fmla="*/ 57531 h 152400"/>
                <a:gd name="connsiteX57" fmla="*/ 99782 w 180730"/>
                <a:gd name="connsiteY57" fmla="*/ 62484 h 152400"/>
                <a:gd name="connsiteX58" fmla="*/ 111387 w 180730"/>
                <a:gd name="connsiteY58" fmla="*/ 66770 h 152400"/>
                <a:gd name="connsiteX59" fmla="*/ 116524 w 180730"/>
                <a:gd name="connsiteY59" fmla="*/ 64579 h 152400"/>
                <a:gd name="connsiteX60" fmla="*/ 118141 w 180730"/>
                <a:gd name="connsiteY60" fmla="*/ 66104 h 152400"/>
                <a:gd name="connsiteX61" fmla="*/ 128890 w 180730"/>
                <a:gd name="connsiteY61" fmla="*/ 54388 h 152400"/>
                <a:gd name="connsiteX62" fmla="*/ 130031 w 180730"/>
                <a:gd name="connsiteY62" fmla="*/ 54388 h 152400"/>
                <a:gd name="connsiteX63" fmla="*/ 118141 w 180730"/>
                <a:gd name="connsiteY63" fmla="*/ 67342 h 152400"/>
                <a:gd name="connsiteX64" fmla="*/ 116524 w 180730"/>
                <a:gd name="connsiteY64" fmla="*/ 65723 h 152400"/>
                <a:gd name="connsiteX65" fmla="*/ 111387 w 180730"/>
                <a:gd name="connsiteY65" fmla="*/ 68008 h 152400"/>
                <a:gd name="connsiteX66" fmla="*/ 99782 w 180730"/>
                <a:gd name="connsiteY66" fmla="*/ 63722 h 152400"/>
                <a:gd name="connsiteX67" fmla="*/ 97309 w 180730"/>
                <a:gd name="connsiteY67" fmla="*/ 58769 h 152400"/>
                <a:gd name="connsiteX68" fmla="*/ 88843 w 180730"/>
                <a:gd name="connsiteY68" fmla="*/ 58769 h 152400"/>
                <a:gd name="connsiteX69" fmla="*/ 86846 w 180730"/>
                <a:gd name="connsiteY69" fmla="*/ 63913 h 152400"/>
                <a:gd name="connsiteX70" fmla="*/ 75526 w 180730"/>
                <a:gd name="connsiteY70" fmla="*/ 69152 h 152400"/>
                <a:gd name="connsiteX71" fmla="*/ 70295 w 180730"/>
                <a:gd name="connsiteY71" fmla="*/ 67437 h 152400"/>
                <a:gd name="connsiteX72" fmla="*/ 68773 w 180730"/>
                <a:gd name="connsiteY72" fmla="*/ 69056 h 152400"/>
                <a:gd name="connsiteX73" fmla="*/ 56027 w 180730"/>
                <a:gd name="connsiteY73" fmla="*/ 57341 h 152400"/>
                <a:gd name="connsiteX74" fmla="*/ 82185 w 180730"/>
                <a:gd name="connsiteY74" fmla="*/ 80105 h 152400"/>
                <a:gd name="connsiteX75" fmla="*/ 94551 w 180730"/>
                <a:gd name="connsiteY75" fmla="*/ 91535 h 152400"/>
                <a:gd name="connsiteX76" fmla="*/ 105965 w 180730"/>
                <a:gd name="connsiteY76" fmla="*/ 79058 h 152400"/>
                <a:gd name="connsiteX77" fmla="*/ 107107 w 180730"/>
                <a:gd name="connsiteY77" fmla="*/ 79058 h 152400"/>
                <a:gd name="connsiteX78" fmla="*/ 94551 w 180730"/>
                <a:gd name="connsiteY78" fmla="*/ 92774 h 152400"/>
                <a:gd name="connsiteX79" fmla="*/ 80568 w 180730"/>
                <a:gd name="connsiteY79" fmla="*/ 80391 h 152400"/>
                <a:gd name="connsiteX80" fmla="*/ 97404 w 180730"/>
                <a:gd name="connsiteY80" fmla="*/ 94202 h 152400"/>
                <a:gd name="connsiteX81" fmla="*/ 109865 w 180730"/>
                <a:gd name="connsiteY81" fmla="*/ 105537 h 152400"/>
                <a:gd name="connsiteX82" fmla="*/ 113575 w 180730"/>
                <a:gd name="connsiteY82" fmla="*/ 94869 h 152400"/>
                <a:gd name="connsiteX83" fmla="*/ 109865 w 180730"/>
                <a:gd name="connsiteY83" fmla="*/ 106680 h 152400"/>
                <a:gd name="connsiteX84" fmla="*/ 96263 w 180730"/>
                <a:gd name="connsiteY84" fmla="*/ 94298 h 152400"/>
                <a:gd name="connsiteX85" fmla="*/ 123182 w 180730"/>
                <a:gd name="connsiteY85" fmla="*/ 117824 h 152400"/>
                <a:gd name="connsiteX86" fmla="*/ 134977 w 180730"/>
                <a:gd name="connsiteY86" fmla="*/ 128588 h 152400"/>
                <a:gd name="connsiteX87" fmla="*/ 147533 w 180730"/>
                <a:gd name="connsiteY87" fmla="*/ 94964 h 152400"/>
                <a:gd name="connsiteX88" fmla="*/ 134977 w 180730"/>
                <a:gd name="connsiteY88" fmla="*/ 129635 h 152400"/>
                <a:gd name="connsiteX89" fmla="*/ 122136 w 180730"/>
                <a:gd name="connsiteY89" fmla="*/ 117920 h 152400"/>
                <a:gd name="connsiteX90" fmla="*/ 121090 w 180730"/>
                <a:gd name="connsiteY90" fmla="*/ 68390 h 152400"/>
                <a:gd name="connsiteX91" fmla="*/ 119948 w 180730"/>
                <a:gd name="connsiteY91" fmla="*/ 68390 h 152400"/>
                <a:gd name="connsiteX92" fmla="*/ 122421 w 180730"/>
                <a:gd name="connsiteY92" fmla="*/ 70675 h 152400"/>
                <a:gd name="connsiteX93" fmla="*/ 122421 w 180730"/>
                <a:gd name="connsiteY93" fmla="*/ 69818 h 152400"/>
                <a:gd name="connsiteX94" fmla="*/ 120804 w 180730"/>
                <a:gd name="connsiteY94" fmla="*/ 68294 h 152400"/>
                <a:gd name="connsiteX95" fmla="*/ 121090 w 180730"/>
                <a:gd name="connsiteY95" fmla="*/ 75533 h 152400"/>
                <a:gd name="connsiteX96" fmla="*/ 121090 w 180730"/>
                <a:gd name="connsiteY96" fmla="*/ 75533 h 152400"/>
                <a:gd name="connsiteX97" fmla="*/ 121090 w 180730"/>
                <a:gd name="connsiteY97" fmla="*/ 75533 h 152400"/>
                <a:gd name="connsiteX98" fmla="*/ 121090 w 180730"/>
                <a:gd name="connsiteY98" fmla="*/ 76295 h 152400"/>
                <a:gd name="connsiteX99" fmla="*/ 126321 w 180730"/>
                <a:gd name="connsiteY99" fmla="*/ 87535 h 152400"/>
                <a:gd name="connsiteX100" fmla="*/ 131458 w 180730"/>
                <a:gd name="connsiteY100" fmla="*/ 89535 h 152400"/>
                <a:gd name="connsiteX101" fmla="*/ 131458 w 180730"/>
                <a:gd name="connsiteY101" fmla="*/ 96965 h 152400"/>
                <a:gd name="connsiteX102" fmla="*/ 131458 w 180730"/>
                <a:gd name="connsiteY102" fmla="*/ 96965 h 152400"/>
                <a:gd name="connsiteX103" fmla="*/ 131458 w 180730"/>
                <a:gd name="connsiteY103" fmla="*/ 88583 h 152400"/>
                <a:gd name="connsiteX104" fmla="*/ 126321 w 180730"/>
                <a:gd name="connsiteY104" fmla="*/ 86487 h 152400"/>
                <a:gd name="connsiteX105" fmla="*/ 121375 w 180730"/>
                <a:gd name="connsiteY105" fmla="*/ 75629 h 152400"/>
                <a:gd name="connsiteX106" fmla="*/ 122326 w 180730"/>
                <a:gd name="connsiteY106" fmla="*/ 111062 h 152400"/>
                <a:gd name="connsiteX107" fmla="*/ 122326 w 180730"/>
                <a:gd name="connsiteY107" fmla="*/ 111062 h 152400"/>
                <a:gd name="connsiteX108" fmla="*/ 124419 w 180730"/>
                <a:gd name="connsiteY108" fmla="*/ 115919 h 152400"/>
                <a:gd name="connsiteX109" fmla="*/ 125085 w 180730"/>
                <a:gd name="connsiteY109" fmla="*/ 115919 h 152400"/>
                <a:gd name="connsiteX110" fmla="*/ 122802 w 180730"/>
                <a:gd name="connsiteY110" fmla="*/ 110871 h 152400"/>
                <a:gd name="connsiteX111" fmla="*/ 96453 w 180730"/>
                <a:gd name="connsiteY111" fmla="*/ 147066 h 152400"/>
                <a:gd name="connsiteX112" fmla="*/ 131172 w 180730"/>
                <a:gd name="connsiteY112" fmla="*/ 131921 h 152400"/>
                <a:gd name="connsiteX113" fmla="*/ 131743 w 180730"/>
                <a:gd name="connsiteY113" fmla="*/ 131350 h 152400"/>
                <a:gd name="connsiteX114" fmla="*/ 132980 w 180730"/>
                <a:gd name="connsiteY114" fmla="*/ 131350 h 152400"/>
                <a:gd name="connsiteX115" fmla="*/ 96453 w 180730"/>
                <a:gd name="connsiteY115" fmla="*/ 148114 h 152400"/>
                <a:gd name="connsiteX116" fmla="*/ 58405 w 180730"/>
                <a:gd name="connsiteY116" fmla="*/ 134588 h 152400"/>
                <a:gd name="connsiteX117" fmla="*/ 59546 w 180730"/>
                <a:gd name="connsiteY117" fmla="*/ 134588 h 152400"/>
                <a:gd name="connsiteX118" fmla="*/ 96453 w 180730"/>
                <a:gd name="connsiteY118" fmla="*/ 147066 h 152400"/>
                <a:gd name="connsiteX119" fmla="*/ 83517 w 180730"/>
                <a:gd name="connsiteY119" fmla="*/ 109823 h 152400"/>
                <a:gd name="connsiteX120" fmla="*/ 94931 w 180730"/>
                <a:gd name="connsiteY120" fmla="*/ 113062 h 152400"/>
                <a:gd name="connsiteX121" fmla="*/ 105965 w 180730"/>
                <a:gd name="connsiteY121" fmla="*/ 108966 h 152400"/>
                <a:gd name="connsiteX122" fmla="*/ 106631 w 180730"/>
                <a:gd name="connsiteY122" fmla="*/ 108490 h 152400"/>
                <a:gd name="connsiteX123" fmla="*/ 107868 w 180730"/>
                <a:gd name="connsiteY123" fmla="*/ 108490 h 152400"/>
                <a:gd name="connsiteX124" fmla="*/ 106631 w 180730"/>
                <a:gd name="connsiteY124" fmla="*/ 109633 h 152400"/>
                <a:gd name="connsiteX125" fmla="*/ 94931 w 180730"/>
                <a:gd name="connsiteY125" fmla="*/ 114395 h 152400"/>
                <a:gd name="connsiteX126" fmla="*/ 82851 w 180730"/>
                <a:gd name="connsiteY126" fmla="*/ 110681 h 152400"/>
                <a:gd name="connsiteX127" fmla="*/ 81709 w 180730"/>
                <a:gd name="connsiteY127" fmla="*/ 109728 h 152400"/>
                <a:gd name="connsiteX128" fmla="*/ 82851 w 180730"/>
                <a:gd name="connsiteY128" fmla="*/ 109728 h 152400"/>
                <a:gd name="connsiteX129" fmla="*/ 83517 w 180730"/>
                <a:gd name="connsiteY129" fmla="*/ 109728 h 152400"/>
                <a:gd name="connsiteX130" fmla="*/ 75241 w 180730"/>
                <a:gd name="connsiteY130" fmla="*/ 94774 h 152400"/>
                <a:gd name="connsiteX131" fmla="*/ 75241 w 180730"/>
                <a:gd name="connsiteY131" fmla="*/ 94774 h 152400"/>
                <a:gd name="connsiteX132" fmla="*/ 79997 w 180730"/>
                <a:gd name="connsiteY132" fmla="*/ 106489 h 152400"/>
                <a:gd name="connsiteX133" fmla="*/ 91317 w 180730"/>
                <a:gd name="connsiteY133" fmla="*/ 94012 h 152400"/>
                <a:gd name="connsiteX134" fmla="*/ 92458 w 180730"/>
                <a:gd name="connsiteY134" fmla="*/ 94012 h 152400"/>
                <a:gd name="connsiteX135" fmla="*/ 79997 w 180730"/>
                <a:gd name="connsiteY135" fmla="*/ 107633 h 152400"/>
                <a:gd name="connsiteX136" fmla="*/ 75241 w 180730"/>
                <a:gd name="connsiteY136" fmla="*/ 95917 h 152400"/>
                <a:gd name="connsiteX137" fmla="*/ 75241 w 180730"/>
                <a:gd name="connsiteY137" fmla="*/ 94583 h 152400"/>
                <a:gd name="connsiteX138" fmla="*/ 41283 w 180730"/>
                <a:gd name="connsiteY138" fmla="*/ 94774 h 152400"/>
                <a:gd name="connsiteX139" fmla="*/ 41283 w 180730"/>
                <a:gd name="connsiteY139" fmla="*/ 97727 h 152400"/>
                <a:gd name="connsiteX140" fmla="*/ 56978 w 180730"/>
                <a:gd name="connsiteY140" fmla="*/ 133064 h 152400"/>
                <a:gd name="connsiteX141" fmla="*/ 68773 w 180730"/>
                <a:gd name="connsiteY141" fmla="*/ 120205 h 152400"/>
                <a:gd name="connsiteX142" fmla="*/ 67917 w 180730"/>
                <a:gd name="connsiteY142" fmla="*/ 120205 h 152400"/>
                <a:gd name="connsiteX143" fmla="*/ 57263 w 180730"/>
                <a:gd name="connsiteY143" fmla="*/ 131921 h 152400"/>
                <a:gd name="connsiteX144" fmla="*/ 41568 w 180730"/>
                <a:gd name="connsiteY144" fmla="*/ 96583 h 152400"/>
                <a:gd name="connsiteX145" fmla="*/ 41568 w 180730"/>
                <a:gd name="connsiteY145" fmla="*/ 94774 h 152400"/>
                <a:gd name="connsiteX146" fmla="*/ 66109 w 180730"/>
                <a:gd name="connsiteY146" fmla="*/ 118682 h 152400"/>
                <a:gd name="connsiteX147" fmla="*/ 67822 w 180730"/>
                <a:gd name="connsiteY147" fmla="*/ 113443 h 152400"/>
                <a:gd name="connsiteX148" fmla="*/ 68297 w 180730"/>
                <a:gd name="connsiteY148" fmla="*/ 112967 h 152400"/>
                <a:gd name="connsiteX149" fmla="*/ 66680 w 180730"/>
                <a:gd name="connsiteY149" fmla="*/ 118110 h 152400"/>
                <a:gd name="connsiteX150" fmla="*/ 66109 w 180730"/>
                <a:gd name="connsiteY150" fmla="*/ 118682 h 152400"/>
                <a:gd name="connsiteX151" fmla="*/ 56597 w 180730"/>
                <a:gd name="connsiteY151" fmla="*/ 92774 h 152400"/>
                <a:gd name="connsiteX152" fmla="*/ 56597 w 180730"/>
                <a:gd name="connsiteY152" fmla="*/ 91726 h 152400"/>
                <a:gd name="connsiteX153" fmla="*/ 61544 w 180730"/>
                <a:gd name="connsiteY153" fmla="*/ 89249 h 152400"/>
                <a:gd name="connsiteX154" fmla="*/ 65444 w 180730"/>
                <a:gd name="connsiteY154" fmla="*/ 78010 h 152400"/>
                <a:gd name="connsiteX155" fmla="*/ 65444 w 180730"/>
                <a:gd name="connsiteY155" fmla="*/ 77533 h 152400"/>
                <a:gd name="connsiteX156" fmla="*/ 66014 w 180730"/>
                <a:gd name="connsiteY156" fmla="*/ 77533 h 152400"/>
                <a:gd name="connsiteX157" fmla="*/ 61258 w 180730"/>
                <a:gd name="connsiteY157" fmla="*/ 90107 h 152400"/>
                <a:gd name="connsiteX158" fmla="*/ 56312 w 180730"/>
                <a:gd name="connsiteY158" fmla="*/ 92583 h 152400"/>
                <a:gd name="connsiteX159" fmla="*/ 63541 w 180730"/>
                <a:gd name="connsiteY159" fmla="*/ 72390 h 152400"/>
                <a:gd name="connsiteX160" fmla="*/ 65063 w 180730"/>
                <a:gd name="connsiteY160" fmla="*/ 70771 h 152400"/>
                <a:gd name="connsiteX161" fmla="*/ 66205 w 180730"/>
                <a:gd name="connsiteY161" fmla="*/ 70771 h 152400"/>
                <a:gd name="connsiteX162" fmla="*/ 64207 w 180730"/>
                <a:gd name="connsiteY162" fmla="*/ 72866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80730" h="152400">
                  <a:moveTo>
                    <a:pt x="105965" y="17050"/>
                  </a:moveTo>
                  <a:cubicBezTo>
                    <a:pt x="116448" y="18613"/>
                    <a:pt x="126509" y="22273"/>
                    <a:pt x="135548" y="27813"/>
                  </a:cubicBezTo>
                  <a:lnTo>
                    <a:pt x="146202" y="23241"/>
                  </a:lnTo>
                  <a:lnTo>
                    <a:pt x="160850" y="36767"/>
                  </a:lnTo>
                  <a:lnTo>
                    <a:pt x="160280" y="37338"/>
                  </a:lnTo>
                  <a:lnTo>
                    <a:pt x="146202" y="24384"/>
                  </a:lnTo>
                  <a:lnTo>
                    <a:pt x="135548" y="28956"/>
                  </a:lnTo>
                  <a:cubicBezTo>
                    <a:pt x="126528" y="23376"/>
                    <a:pt x="116459" y="19712"/>
                    <a:pt x="105965" y="18193"/>
                  </a:cubicBezTo>
                  <a:lnTo>
                    <a:pt x="100829" y="7810"/>
                  </a:lnTo>
                  <a:lnTo>
                    <a:pt x="80948" y="8763"/>
                  </a:lnTo>
                  <a:lnTo>
                    <a:pt x="76668" y="19431"/>
                  </a:lnTo>
                  <a:cubicBezTo>
                    <a:pt x="66369" y="21944"/>
                    <a:pt x="56670" y="26476"/>
                    <a:pt x="48131" y="32766"/>
                  </a:cubicBezTo>
                  <a:lnTo>
                    <a:pt x="37193" y="29147"/>
                  </a:lnTo>
                  <a:lnTo>
                    <a:pt x="24446" y="43148"/>
                  </a:lnTo>
                  <a:lnTo>
                    <a:pt x="23780" y="43148"/>
                  </a:lnTo>
                  <a:lnTo>
                    <a:pt x="37193" y="28385"/>
                  </a:lnTo>
                  <a:lnTo>
                    <a:pt x="48131" y="32099"/>
                  </a:lnTo>
                  <a:cubicBezTo>
                    <a:pt x="56627" y="25737"/>
                    <a:pt x="66341" y="21197"/>
                    <a:pt x="76668" y="18764"/>
                  </a:cubicBezTo>
                  <a:lnTo>
                    <a:pt x="80948" y="8001"/>
                  </a:lnTo>
                  <a:lnTo>
                    <a:pt x="100829" y="7144"/>
                  </a:lnTo>
                  <a:lnTo>
                    <a:pt x="105965" y="17431"/>
                  </a:lnTo>
                  <a:close/>
                  <a:moveTo>
                    <a:pt x="157426" y="48006"/>
                  </a:moveTo>
                  <a:cubicBezTo>
                    <a:pt x="163678" y="56549"/>
                    <a:pt x="168143" y="66268"/>
                    <a:pt x="170553" y="76581"/>
                  </a:cubicBezTo>
                  <a:lnTo>
                    <a:pt x="181301" y="80772"/>
                  </a:lnTo>
                  <a:lnTo>
                    <a:pt x="182158" y="100679"/>
                  </a:lnTo>
                  <a:lnTo>
                    <a:pt x="182158" y="100679"/>
                  </a:lnTo>
                  <a:lnTo>
                    <a:pt x="181397" y="81629"/>
                  </a:lnTo>
                  <a:lnTo>
                    <a:pt x="170648" y="77343"/>
                  </a:lnTo>
                  <a:cubicBezTo>
                    <a:pt x="168107" y="66732"/>
                    <a:pt x="163376" y="56772"/>
                    <a:pt x="156760" y="48101"/>
                  </a:cubicBezTo>
                  <a:lnTo>
                    <a:pt x="157331" y="48101"/>
                  </a:lnTo>
                  <a:lnTo>
                    <a:pt x="157331" y="48101"/>
                  </a:lnTo>
                  <a:close/>
                  <a:moveTo>
                    <a:pt x="161041" y="135255"/>
                  </a:moveTo>
                  <a:lnTo>
                    <a:pt x="165607" y="145828"/>
                  </a:lnTo>
                  <a:lnTo>
                    <a:pt x="164941" y="145828"/>
                  </a:lnTo>
                  <a:lnTo>
                    <a:pt x="160470" y="135446"/>
                  </a:lnTo>
                  <a:lnTo>
                    <a:pt x="161041" y="135446"/>
                  </a:lnTo>
                  <a:close/>
                  <a:moveTo>
                    <a:pt x="28536" y="151829"/>
                  </a:moveTo>
                  <a:lnTo>
                    <a:pt x="32151" y="140875"/>
                  </a:lnTo>
                  <a:lnTo>
                    <a:pt x="32722" y="140875"/>
                  </a:lnTo>
                  <a:lnTo>
                    <a:pt x="29107" y="151829"/>
                  </a:lnTo>
                  <a:lnTo>
                    <a:pt x="28536" y="152305"/>
                  </a:lnTo>
                  <a:close/>
                  <a:moveTo>
                    <a:pt x="7324" y="89249"/>
                  </a:moveTo>
                  <a:lnTo>
                    <a:pt x="7324" y="88106"/>
                  </a:lnTo>
                  <a:lnTo>
                    <a:pt x="17693" y="82963"/>
                  </a:lnTo>
                  <a:cubicBezTo>
                    <a:pt x="19187" y="72642"/>
                    <a:pt x="22746" y="62728"/>
                    <a:pt x="28156" y="53816"/>
                  </a:cubicBezTo>
                  <a:lnTo>
                    <a:pt x="28156" y="53340"/>
                  </a:lnTo>
                  <a:lnTo>
                    <a:pt x="28727" y="53340"/>
                  </a:lnTo>
                  <a:lnTo>
                    <a:pt x="28156" y="54197"/>
                  </a:lnTo>
                  <a:cubicBezTo>
                    <a:pt x="22551" y="63214"/>
                    <a:pt x="18889" y="73304"/>
                    <a:pt x="17407" y="83820"/>
                  </a:cubicBezTo>
                  <a:lnTo>
                    <a:pt x="7134" y="88963"/>
                  </a:lnTo>
                  <a:close/>
                  <a:moveTo>
                    <a:pt x="57073" y="57150"/>
                  </a:moveTo>
                  <a:lnTo>
                    <a:pt x="68773" y="67913"/>
                  </a:lnTo>
                  <a:lnTo>
                    <a:pt x="70295" y="66199"/>
                  </a:lnTo>
                  <a:lnTo>
                    <a:pt x="75526" y="67913"/>
                  </a:lnTo>
                  <a:cubicBezTo>
                    <a:pt x="78938" y="65471"/>
                    <a:pt x="82778" y="63693"/>
                    <a:pt x="86846" y="62675"/>
                  </a:cubicBezTo>
                  <a:lnTo>
                    <a:pt x="88843" y="57531"/>
                  </a:lnTo>
                  <a:lnTo>
                    <a:pt x="97309" y="57531"/>
                  </a:lnTo>
                  <a:lnTo>
                    <a:pt x="99782" y="62484"/>
                  </a:lnTo>
                  <a:cubicBezTo>
                    <a:pt x="103891" y="63147"/>
                    <a:pt x="107833" y="64603"/>
                    <a:pt x="111387" y="66770"/>
                  </a:cubicBezTo>
                  <a:lnTo>
                    <a:pt x="116524" y="64579"/>
                  </a:lnTo>
                  <a:lnTo>
                    <a:pt x="118141" y="66104"/>
                  </a:lnTo>
                  <a:lnTo>
                    <a:pt x="128890" y="54388"/>
                  </a:lnTo>
                  <a:lnTo>
                    <a:pt x="130031" y="54388"/>
                  </a:lnTo>
                  <a:lnTo>
                    <a:pt x="118141" y="67342"/>
                  </a:lnTo>
                  <a:lnTo>
                    <a:pt x="116524" y="65723"/>
                  </a:lnTo>
                  <a:lnTo>
                    <a:pt x="111387" y="68008"/>
                  </a:lnTo>
                  <a:cubicBezTo>
                    <a:pt x="107853" y="65799"/>
                    <a:pt x="103903" y="64341"/>
                    <a:pt x="99782" y="63722"/>
                  </a:cubicBezTo>
                  <a:lnTo>
                    <a:pt x="97309" y="58769"/>
                  </a:lnTo>
                  <a:lnTo>
                    <a:pt x="88843" y="58769"/>
                  </a:lnTo>
                  <a:lnTo>
                    <a:pt x="86846" y="63913"/>
                  </a:lnTo>
                  <a:cubicBezTo>
                    <a:pt x="82778" y="64932"/>
                    <a:pt x="78938" y="66709"/>
                    <a:pt x="75526" y="69152"/>
                  </a:cubicBezTo>
                  <a:lnTo>
                    <a:pt x="70295" y="67437"/>
                  </a:lnTo>
                  <a:lnTo>
                    <a:pt x="68773" y="69056"/>
                  </a:lnTo>
                  <a:lnTo>
                    <a:pt x="56027" y="57341"/>
                  </a:lnTo>
                  <a:close/>
                  <a:moveTo>
                    <a:pt x="82185" y="80105"/>
                  </a:moveTo>
                  <a:lnTo>
                    <a:pt x="94551" y="91535"/>
                  </a:lnTo>
                  <a:lnTo>
                    <a:pt x="105965" y="79058"/>
                  </a:lnTo>
                  <a:lnTo>
                    <a:pt x="107107" y="79058"/>
                  </a:lnTo>
                  <a:lnTo>
                    <a:pt x="94551" y="92774"/>
                  </a:lnTo>
                  <a:lnTo>
                    <a:pt x="80568" y="80391"/>
                  </a:lnTo>
                  <a:close/>
                  <a:moveTo>
                    <a:pt x="97404" y="94202"/>
                  </a:moveTo>
                  <a:lnTo>
                    <a:pt x="109865" y="105537"/>
                  </a:lnTo>
                  <a:cubicBezTo>
                    <a:pt x="112151" y="102438"/>
                    <a:pt x="113444" y="98719"/>
                    <a:pt x="113575" y="94869"/>
                  </a:cubicBezTo>
                  <a:cubicBezTo>
                    <a:pt x="113686" y="99110"/>
                    <a:pt x="112381" y="103267"/>
                    <a:pt x="109865" y="106680"/>
                  </a:cubicBezTo>
                  <a:lnTo>
                    <a:pt x="96263" y="94298"/>
                  </a:lnTo>
                  <a:close/>
                  <a:moveTo>
                    <a:pt x="123182" y="117824"/>
                  </a:moveTo>
                  <a:lnTo>
                    <a:pt x="134977" y="128588"/>
                  </a:lnTo>
                  <a:cubicBezTo>
                    <a:pt x="142923" y="119173"/>
                    <a:pt x="147361" y="107290"/>
                    <a:pt x="147533" y="94964"/>
                  </a:cubicBezTo>
                  <a:cubicBezTo>
                    <a:pt x="147623" y="107653"/>
                    <a:pt x="143169" y="119954"/>
                    <a:pt x="134977" y="129635"/>
                  </a:cubicBezTo>
                  <a:lnTo>
                    <a:pt x="122136" y="117920"/>
                  </a:lnTo>
                  <a:close/>
                  <a:moveTo>
                    <a:pt x="121090" y="68390"/>
                  </a:moveTo>
                  <a:lnTo>
                    <a:pt x="119948" y="68390"/>
                  </a:lnTo>
                  <a:lnTo>
                    <a:pt x="122421" y="70675"/>
                  </a:lnTo>
                  <a:lnTo>
                    <a:pt x="122421" y="69818"/>
                  </a:lnTo>
                  <a:lnTo>
                    <a:pt x="120804" y="68294"/>
                  </a:lnTo>
                  <a:close/>
                  <a:moveTo>
                    <a:pt x="121090" y="75533"/>
                  </a:moveTo>
                  <a:lnTo>
                    <a:pt x="121090" y="75533"/>
                  </a:lnTo>
                  <a:lnTo>
                    <a:pt x="121090" y="75533"/>
                  </a:lnTo>
                  <a:lnTo>
                    <a:pt x="121090" y="76295"/>
                  </a:lnTo>
                  <a:cubicBezTo>
                    <a:pt x="123510" y="79687"/>
                    <a:pt x="125284" y="83497"/>
                    <a:pt x="126321" y="87535"/>
                  </a:cubicBezTo>
                  <a:lnTo>
                    <a:pt x="131458" y="89535"/>
                  </a:lnTo>
                  <a:lnTo>
                    <a:pt x="131458" y="96965"/>
                  </a:lnTo>
                  <a:lnTo>
                    <a:pt x="131458" y="96965"/>
                  </a:lnTo>
                  <a:lnTo>
                    <a:pt x="131458" y="88583"/>
                  </a:lnTo>
                  <a:lnTo>
                    <a:pt x="126321" y="86487"/>
                  </a:lnTo>
                  <a:cubicBezTo>
                    <a:pt x="125382" y="82584"/>
                    <a:pt x="123703" y="78897"/>
                    <a:pt x="121375" y="75629"/>
                  </a:cubicBezTo>
                  <a:close/>
                  <a:moveTo>
                    <a:pt x="122326" y="111062"/>
                  </a:moveTo>
                  <a:lnTo>
                    <a:pt x="122326" y="111062"/>
                  </a:lnTo>
                  <a:lnTo>
                    <a:pt x="124419" y="115919"/>
                  </a:lnTo>
                  <a:lnTo>
                    <a:pt x="125085" y="115919"/>
                  </a:lnTo>
                  <a:lnTo>
                    <a:pt x="122802" y="110871"/>
                  </a:lnTo>
                  <a:close/>
                  <a:moveTo>
                    <a:pt x="96453" y="147066"/>
                  </a:moveTo>
                  <a:cubicBezTo>
                    <a:pt x="109490" y="146456"/>
                    <a:pt x="121848" y="141065"/>
                    <a:pt x="131172" y="131921"/>
                  </a:cubicBezTo>
                  <a:lnTo>
                    <a:pt x="131743" y="131350"/>
                  </a:lnTo>
                  <a:lnTo>
                    <a:pt x="132980" y="131350"/>
                  </a:lnTo>
                  <a:cubicBezTo>
                    <a:pt x="123671" y="141793"/>
                    <a:pt x="110430" y="147870"/>
                    <a:pt x="96453" y="148114"/>
                  </a:cubicBezTo>
                  <a:cubicBezTo>
                    <a:pt x="82492" y="148759"/>
                    <a:pt x="68834" y="143904"/>
                    <a:pt x="58405" y="134588"/>
                  </a:cubicBezTo>
                  <a:lnTo>
                    <a:pt x="59546" y="134588"/>
                  </a:lnTo>
                  <a:cubicBezTo>
                    <a:pt x="69843" y="143248"/>
                    <a:pt x="83021" y="147703"/>
                    <a:pt x="96453" y="147066"/>
                  </a:cubicBezTo>
                  <a:close/>
                  <a:moveTo>
                    <a:pt x="83517" y="109823"/>
                  </a:moveTo>
                  <a:cubicBezTo>
                    <a:pt x="86879" y="112093"/>
                    <a:pt x="90879" y="113228"/>
                    <a:pt x="94931" y="113062"/>
                  </a:cubicBezTo>
                  <a:cubicBezTo>
                    <a:pt x="98949" y="112898"/>
                    <a:pt x="102812" y="111465"/>
                    <a:pt x="105965" y="108966"/>
                  </a:cubicBezTo>
                  <a:lnTo>
                    <a:pt x="106631" y="108490"/>
                  </a:lnTo>
                  <a:lnTo>
                    <a:pt x="107868" y="108490"/>
                  </a:lnTo>
                  <a:lnTo>
                    <a:pt x="106631" y="109633"/>
                  </a:lnTo>
                  <a:cubicBezTo>
                    <a:pt x="103387" y="112508"/>
                    <a:pt x="99259" y="114188"/>
                    <a:pt x="94931" y="114395"/>
                  </a:cubicBezTo>
                  <a:cubicBezTo>
                    <a:pt x="90600" y="114572"/>
                    <a:pt x="86337" y="113261"/>
                    <a:pt x="82851" y="110681"/>
                  </a:cubicBezTo>
                  <a:lnTo>
                    <a:pt x="81709" y="109728"/>
                  </a:lnTo>
                  <a:lnTo>
                    <a:pt x="82851" y="109728"/>
                  </a:lnTo>
                  <a:lnTo>
                    <a:pt x="83517" y="109728"/>
                  </a:lnTo>
                  <a:close/>
                  <a:moveTo>
                    <a:pt x="75241" y="94774"/>
                  </a:moveTo>
                  <a:lnTo>
                    <a:pt x="75241" y="94774"/>
                  </a:lnTo>
                  <a:cubicBezTo>
                    <a:pt x="75448" y="99107"/>
                    <a:pt x="77126" y="103241"/>
                    <a:pt x="79997" y="106489"/>
                  </a:cubicBezTo>
                  <a:lnTo>
                    <a:pt x="91317" y="94012"/>
                  </a:lnTo>
                  <a:lnTo>
                    <a:pt x="92458" y="94012"/>
                  </a:lnTo>
                  <a:lnTo>
                    <a:pt x="79997" y="107633"/>
                  </a:lnTo>
                  <a:cubicBezTo>
                    <a:pt x="77126" y="104384"/>
                    <a:pt x="75448" y="100250"/>
                    <a:pt x="75241" y="95917"/>
                  </a:cubicBezTo>
                  <a:lnTo>
                    <a:pt x="75241" y="94583"/>
                  </a:lnTo>
                  <a:close/>
                  <a:moveTo>
                    <a:pt x="41283" y="94774"/>
                  </a:moveTo>
                  <a:cubicBezTo>
                    <a:pt x="41283" y="95726"/>
                    <a:pt x="41283" y="96679"/>
                    <a:pt x="41283" y="97727"/>
                  </a:cubicBezTo>
                  <a:cubicBezTo>
                    <a:pt x="41803" y="111084"/>
                    <a:pt x="47420" y="123732"/>
                    <a:pt x="56978" y="133064"/>
                  </a:cubicBezTo>
                  <a:lnTo>
                    <a:pt x="68773" y="120205"/>
                  </a:lnTo>
                  <a:lnTo>
                    <a:pt x="67917" y="120205"/>
                  </a:lnTo>
                  <a:lnTo>
                    <a:pt x="57263" y="131921"/>
                  </a:lnTo>
                  <a:cubicBezTo>
                    <a:pt x="47706" y="122589"/>
                    <a:pt x="42088" y="109941"/>
                    <a:pt x="41568" y="96583"/>
                  </a:cubicBezTo>
                  <a:cubicBezTo>
                    <a:pt x="41521" y="95981"/>
                    <a:pt x="41521" y="95376"/>
                    <a:pt x="41568" y="94774"/>
                  </a:cubicBezTo>
                  <a:close/>
                  <a:moveTo>
                    <a:pt x="66109" y="118682"/>
                  </a:moveTo>
                  <a:lnTo>
                    <a:pt x="67822" y="113443"/>
                  </a:lnTo>
                  <a:lnTo>
                    <a:pt x="68297" y="112967"/>
                  </a:lnTo>
                  <a:lnTo>
                    <a:pt x="66680" y="118110"/>
                  </a:lnTo>
                  <a:lnTo>
                    <a:pt x="66109" y="118682"/>
                  </a:lnTo>
                  <a:close/>
                  <a:moveTo>
                    <a:pt x="56597" y="92774"/>
                  </a:moveTo>
                  <a:lnTo>
                    <a:pt x="56597" y="91726"/>
                  </a:lnTo>
                  <a:lnTo>
                    <a:pt x="61544" y="89249"/>
                  </a:lnTo>
                  <a:cubicBezTo>
                    <a:pt x="62135" y="85293"/>
                    <a:pt x="63457" y="81481"/>
                    <a:pt x="65444" y="78010"/>
                  </a:cubicBezTo>
                  <a:lnTo>
                    <a:pt x="65444" y="77533"/>
                  </a:lnTo>
                  <a:lnTo>
                    <a:pt x="66014" y="77533"/>
                  </a:lnTo>
                  <a:cubicBezTo>
                    <a:pt x="63547" y="81335"/>
                    <a:pt x="61925" y="85623"/>
                    <a:pt x="61258" y="90107"/>
                  </a:cubicBezTo>
                  <a:lnTo>
                    <a:pt x="56312" y="92583"/>
                  </a:lnTo>
                  <a:close/>
                  <a:moveTo>
                    <a:pt x="63541" y="72390"/>
                  </a:moveTo>
                  <a:lnTo>
                    <a:pt x="65063" y="70771"/>
                  </a:lnTo>
                  <a:lnTo>
                    <a:pt x="66205" y="70771"/>
                  </a:lnTo>
                  <a:lnTo>
                    <a:pt x="64207" y="72866"/>
                  </a:ln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49" name="Freeform 48">
              <a:extLst>
                <a:ext uri="{FF2B5EF4-FFF2-40B4-BE49-F238E27FC236}">
                  <a16:creationId xmlns="" xmlns:a16="http://schemas.microsoft.com/office/drawing/2014/main" id="{CE83DA2C-A4E0-8D42-866C-9A9331FB15CE}"/>
                </a:ext>
              </a:extLst>
            </p:cNvPr>
            <p:cNvSpPr/>
            <p:nvPr/>
          </p:nvSpPr>
          <p:spPr>
            <a:xfrm>
              <a:off x="3743671" y="4094981"/>
              <a:ext cx="410866" cy="411421"/>
            </a:xfrm>
            <a:custGeom>
              <a:avLst/>
              <a:gdLst>
                <a:gd name="connsiteX0" fmla="*/ 169411 w 361461"/>
                <a:gd name="connsiteY0" fmla="*/ 7144 h 361950"/>
                <a:gd name="connsiteX1" fmla="*/ 194523 w 361461"/>
                <a:gd name="connsiteY1" fmla="*/ 7144 h 361950"/>
                <a:gd name="connsiteX2" fmla="*/ 201277 w 361461"/>
                <a:gd name="connsiteY2" fmla="*/ 42863 h 361950"/>
                <a:gd name="connsiteX3" fmla="*/ 234950 w 361461"/>
                <a:gd name="connsiteY3" fmla="*/ 51816 h 361950"/>
                <a:gd name="connsiteX4" fmla="*/ 258540 w 361461"/>
                <a:gd name="connsiteY4" fmla="*/ 24194 h 361950"/>
                <a:gd name="connsiteX5" fmla="*/ 280323 w 361461"/>
                <a:gd name="connsiteY5" fmla="*/ 36767 h 361950"/>
                <a:gd name="connsiteX6" fmla="*/ 268338 w 361461"/>
                <a:gd name="connsiteY6" fmla="*/ 71056 h 361950"/>
                <a:gd name="connsiteX7" fmla="*/ 292974 w 361461"/>
                <a:gd name="connsiteY7" fmla="*/ 95631 h 361950"/>
                <a:gd name="connsiteX8" fmla="*/ 327218 w 361461"/>
                <a:gd name="connsiteY8" fmla="*/ 83534 h 361950"/>
                <a:gd name="connsiteX9" fmla="*/ 339869 w 361461"/>
                <a:gd name="connsiteY9" fmla="*/ 105346 h 361950"/>
                <a:gd name="connsiteX10" fmla="*/ 312284 w 361461"/>
                <a:gd name="connsiteY10" fmla="*/ 128969 h 361950"/>
                <a:gd name="connsiteX11" fmla="*/ 321796 w 361461"/>
                <a:gd name="connsiteY11" fmla="*/ 162687 h 361950"/>
                <a:gd name="connsiteX12" fmla="*/ 357466 w 361461"/>
                <a:gd name="connsiteY12" fmla="*/ 169259 h 361950"/>
                <a:gd name="connsiteX13" fmla="*/ 357466 w 361461"/>
                <a:gd name="connsiteY13" fmla="*/ 194500 h 361950"/>
                <a:gd name="connsiteX14" fmla="*/ 321796 w 361461"/>
                <a:gd name="connsiteY14" fmla="*/ 201263 h 361950"/>
                <a:gd name="connsiteX15" fmla="*/ 312854 w 361461"/>
                <a:gd name="connsiteY15" fmla="*/ 234982 h 361950"/>
                <a:gd name="connsiteX16" fmla="*/ 340154 w 361461"/>
                <a:gd name="connsiteY16" fmla="*/ 258413 h 361950"/>
                <a:gd name="connsiteX17" fmla="*/ 327598 w 361461"/>
                <a:gd name="connsiteY17" fmla="*/ 280225 h 361950"/>
                <a:gd name="connsiteX18" fmla="*/ 293259 w 361461"/>
                <a:gd name="connsiteY18" fmla="*/ 267938 h 361950"/>
                <a:gd name="connsiteX19" fmla="*/ 268718 w 361461"/>
                <a:gd name="connsiteY19" fmla="*/ 292608 h 361950"/>
                <a:gd name="connsiteX20" fmla="*/ 280894 w 361461"/>
                <a:gd name="connsiteY20" fmla="*/ 326898 h 361950"/>
                <a:gd name="connsiteX21" fmla="*/ 259111 w 361461"/>
                <a:gd name="connsiteY21" fmla="*/ 339566 h 361950"/>
                <a:gd name="connsiteX22" fmla="*/ 235426 w 361461"/>
                <a:gd name="connsiteY22" fmla="*/ 312039 h 361950"/>
                <a:gd name="connsiteX23" fmla="*/ 201848 w 361461"/>
                <a:gd name="connsiteY23" fmla="*/ 321564 h 361950"/>
                <a:gd name="connsiteX24" fmla="*/ 195189 w 361461"/>
                <a:gd name="connsiteY24" fmla="*/ 357283 h 361950"/>
                <a:gd name="connsiteX25" fmla="*/ 170077 w 361461"/>
                <a:gd name="connsiteY25" fmla="*/ 357283 h 361950"/>
                <a:gd name="connsiteX26" fmla="*/ 163324 w 361461"/>
                <a:gd name="connsiteY26" fmla="*/ 321564 h 361950"/>
                <a:gd name="connsiteX27" fmla="*/ 129651 w 361461"/>
                <a:gd name="connsiteY27" fmla="*/ 312610 h 361950"/>
                <a:gd name="connsiteX28" fmla="*/ 106060 w 361461"/>
                <a:gd name="connsiteY28" fmla="*/ 340233 h 361950"/>
                <a:gd name="connsiteX29" fmla="*/ 84278 w 361461"/>
                <a:gd name="connsiteY29" fmla="*/ 327660 h 361950"/>
                <a:gd name="connsiteX30" fmla="*/ 96263 w 361461"/>
                <a:gd name="connsiteY30" fmla="*/ 293370 h 361950"/>
                <a:gd name="connsiteX31" fmla="*/ 71626 w 361461"/>
                <a:gd name="connsiteY31" fmla="*/ 268795 h 361950"/>
                <a:gd name="connsiteX32" fmla="*/ 37383 w 361461"/>
                <a:gd name="connsiteY32" fmla="*/ 280892 h 361950"/>
                <a:gd name="connsiteX33" fmla="*/ 24827 w 361461"/>
                <a:gd name="connsiteY33" fmla="*/ 259080 h 361950"/>
                <a:gd name="connsiteX34" fmla="*/ 52317 w 361461"/>
                <a:gd name="connsiteY34" fmla="*/ 235458 h 361950"/>
                <a:gd name="connsiteX35" fmla="*/ 42805 w 361461"/>
                <a:gd name="connsiteY35" fmla="*/ 201739 h 361950"/>
                <a:gd name="connsiteX36" fmla="*/ 7134 w 361461"/>
                <a:gd name="connsiteY36" fmla="*/ 195167 h 361950"/>
                <a:gd name="connsiteX37" fmla="*/ 7134 w 361461"/>
                <a:gd name="connsiteY37" fmla="*/ 169831 h 361950"/>
                <a:gd name="connsiteX38" fmla="*/ 42805 w 361461"/>
                <a:gd name="connsiteY38" fmla="*/ 163068 h 361950"/>
                <a:gd name="connsiteX39" fmla="*/ 51746 w 361461"/>
                <a:gd name="connsiteY39" fmla="*/ 129349 h 361950"/>
                <a:gd name="connsiteX40" fmla="*/ 24541 w 361461"/>
                <a:gd name="connsiteY40" fmla="*/ 106013 h 361950"/>
                <a:gd name="connsiteX41" fmla="*/ 37002 w 361461"/>
                <a:gd name="connsiteY41" fmla="*/ 84201 h 361950"/>
                <a:gd name="connsiteX42" fmla="*/ 71341 w 361461"/>
                <a:gd name="connsiteY42" fmla="*/ 96488 h 361950"/>
                <a:gd name="connsiteX43" fmla="*/ 95882 w 361461"/>
                <a:gd name="connsiteY43" fmla="*/ 71723 h 361950"/>
                <a:gd name="connsiteX44" fmla="*/ 83802 w 361461"/>
                <a:gd name="connsiteY44" fmla="*/ 37433 h 361950"/>
                <a:gd name="connsiteX45" fmla="*/ 105490 w 361461"/>
                <a:gd name="connsiteY45" fmla="*/ 24860 h 361950"/>
                <a:gd name="connsiteX46" fmla="*/ 129175 w 361461"/>
                <a:gd name="connsiteY46" fmla="*/ 52388 h 361950"/>
                <a:gd name="connsiteX47" fmla="*/ 162848 w 361461"/>
                <a:gd name="connsiteY47" fmla="*/ 43339 h 361950"/>
                <a:gd name="connsiteX48" fmla="*/ 169411 w 361461"/>
                <a:gd name="connsiteY48" fmla="*/ 7620 h 361950"/>
                <a:gd name="connsiteX49" fmla="*/ 271762 w 361461"/>
                <a:gd name="connsiteY49" fmla="*/ 107061 h 361950"/>
                <a:gd name="connsiteX50" fmla="*/ 249694 w 361461"/>
                <a:gd name="connsiteY50" fmla="*/ 129159 h 361950"/>
                <a:gd name="connsiteX51" fmla="*/ 249694 w 361461"/>
                <a:gd name="connsiteY51" fmla="*/ 235648 h 361950"/>
                <a:gd name="connsiteX52" fmla="*/ 271762 w 361461"/>
                <a:gd name="connsiteY52" fmla="*/ 257651 h 361950"/>
                <a:gd name="connsiteX53" fmla="*/ 271762 w 361461"/>
                <a:gd name="connsiteY53" fmla="*/ 107061 h 361950"/>
                <a:gd name="connsiteX54" fmla="*/ 235711 w 361461"/>
                <a:gd name="connsiteY54" fmla="*/ 115538 h 361950"/>
                <a:gd name="connsiteX55" fmla="*/ 257684 w 361461"/>
                <a:gd name="connsiteY55" fmla="*/ 93440 h 361950"/>
                <a:gd name="connsiteX56" fmla="*/ 106536 w 361461"/>
                <a:gd name="connsiteY56" fmla="*/ 93440 h 361950"/>
                <a:gd name="connsiteX57" fmla="*/ 128604 w 361461"/>
                <a:gd name="connsiteY57" fmla="*/ 115538 h 361950"/>
                <a:gd name="connsiteX58" fmla="*/ 235711 w 361461"/>
                <a:gd name="connsiteY58" fmla="*/ 115538 h 361950"/>
                <a:gd name="connsiteX59" fmla="*/ 129651 w 361461"/>
                <a:gd name="connsiteY59" fmla="*/ 249841 h 361950"/>
                <a:gd name="connsiteX60" fmla="*/ 107677 w 361461"/>
                <a:gd name="connsiteY60" fmla="*/ 271939 h 361950"/>
                <a:gd name="connsiteX61" fmla="*/ 257304 w 361461"/>
                <a:gd name="connsiteY61" fmla="*/ 271939 h 361950"/>
                <a:gd name="connsiteX62" fmla="*/ 235235 w 361461"/>
                <a:gd name="connsiteY62" fmla="*/ 249936 h 361950"/>
                <a:gd name="connsiteX63" fmla="*/ 129651 w 361461"/>
                <a:gd name="connsiteY63" fmla="*/ 249936 h 361950"/>
                <a:gd name="connsiteX64" fmla="*/ 93504 w 361461"/>
                <a:gd name="connsiteY64" fmla="*/ 257937 h 361950"/>
                <a:gd name="connsiteX65" fmla="*/ 115477 w 361461"/>
                <a:gd name="connsiteY65" fmla="*/ 235839 h 361950"/>
                <a:gd name="connsiteX66" fmla="*/ 114716 w 361461"/>
                <a:gd name="connsiteY66" fmla="*/ 129445 h 361950"/>
                <a:gd name="connsiteX67" fmla="*/ 92648 w 361461"/>
                <a:gd name="connsiteY67" fmla="*/ 107347 h 361950"/>
                <a:gd name="connsiteX68" fmla="*/ 93504 w 361461"/>
                <a:gd name="connsiteY68" fmla="*/ 258413 h 361950"/>
                <a:gd name="connsiteX69" fmla="*/ 182158 w 361461"/>
                <a:gd name="connsiteY69" fmla="*/ 123920 h 361950"/>
                <a:gd name="connsiteX70" fmla="*/ 124612 w 361461"/>
                <a:gd name="connsiteY70" fmla="*/ 182687 h 361950"/>
                <a:gd name="connsiteX71" fmla="*/ 183299 w 361461"/>
                <a:gd name="connsiteY71" fmla="*/ 240310 h 361950"/>
                <a:gd name="connsiteX72" fmla="*/ 240848 w 361461"/>
                <a:gd name="connsiteY72" fmla="*/ 182213 h 361950"/>
                <a:gd name="connsiteX73" fmla="*/ 182826 w 361461"/>
                <a:gd name="connsiteY73" fmla="*/ 123918 h 361950"/>
                <a:gd name="connsiteX74" fmla="*/ 182158 w 361461"/>
                <a:gd name="connsiteY74" fmla="*/ 12392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61461" h="361950">
                  <a:moveTo>
                    <a:pt x="169411" y="7144"/>
                  </a:moveTo>
                  <a:lnTo>
                    <a:pt x="194523" y="7144"/>
                  </a:lnTo>
                  <a:lnTo>
                    <a:pt x="201277" y="42863"/>
                  </a:lnTo>
                  <a:cubicBezTo>
                    <a:pt x="212827" y="44448"/>
                    <a:pt x="224136" y="47455"/>
                    <a:pt x="234950" y="51816"/>
                  </a:cubicBezTo>
                  <a:lnTo>
                    <a:pt x="258540" y="24194"/>
                  </a:lnTo>
                  <a:lnTo>
                    <a:pt x="280323" y="36767"/>
                  </a:lnTo>
                  <a:lnTo>
                    <a:pt x="268338" y="71056"/>
                  </a:lnTo>
                  <a:cubicBezTo>
                    <a:pt x="277538" y="78190"/>
                    <a:pt x="285814" y="86446"/>
                    <a:pt x="292974" y="95631"/>
                  </a:cubicBezTo>
                  <a:lnTo>
                    <a:pt x="327218" y="83534"/>
                  </a:lnTo>
                  <a:lnTo>
                    <a:pt x="339869" y="105346"/>
                  </a:lnTo>
                  <a:lnTo>
                    <a:pt x="312284" y="128969"/>
                  </a:lnTo>
                  <a:cubicBezTo>
                    <a:pt x="316875" y="139757"/>
                    <a:pt x="320072" y="151088"/>
                    <a:pt x="321796" y="162687"/>
                  </a:cubicBezTo>
                  <a:lnTo>
                    <a:pt x="357466" y="169259"/>
                  </a:lnTo>
                  <a:lnTo>
                    <a:pt x="357466" y="194500"/>
                  </a:lnTo>
                  <a:lnTo>
                    <a:pt x="321796" y="201263"/>
                  </a:lnTo>
                  <a:cubicBezTo>
                    <a:pt x="320291" y="212844"/>
                    <a:pt x="317285" y="224179"/>
                    <a:pt x="312854" y="234982"/>
                  </a:cubicBezTo>
                  <a:lnTo>
                    <a:pt x="340154" y="258413"/>
                  </a:lnTo>
                  <a:lnTo>
                    <a:pt x="327598" y="280225"/>
                  </a:lnTo>
                  <a:lnTo>
                    <a:pt x="293259" y="267938"/>
                  </a:lnTo>
                  <a:cubicBezTo>
                    <a:pt x="286161" y="277174"/>
                    <a:pt x="277913" y="285464"/>
                    <a:pt x="268718" y="292608"/>
                  </a:cubicBezTo>
                  <a:lnTo>
                    <a:pt x="280894" y="326898"/>
                  </a:lnTo>
                  <a:lnTo>
                    <a:pt x="259111" y="339566"/>
                  </a:lnTo>
                  <a:lnTo>
                    <a:pt x="235426" y="312039"/>
                  </a:lnTo>
                  <a:cubicBezTo>
                    <a:pt x="224670" y="316593"/>
                    <a:pt x="213391" y="319793"/>
                    <a:pt x="201848" y="321564"/>
                  </a:cubicBezTo>
                  <a:lnTo>
                    <a:pt x="195189" y="357283"/>
                  </a:lnTo>
                  <a:lnTo>
                    <a:pt x="170077" y="357283"/>
                  </a:lnTo>
                  <a:lnTo>
                    <a:pt x="163324" y="321564"/>
                  </a:lnTo>
                  <a:cubicBezTo>
                    <a:pt x="151774" y="319978"/>
                    <a:pt x="140464" y="316971"/>
                    <a:pt x="129651" y="312610"/>
                  </a:cubicBezTo>
                  <a:lnTo>
                    <a:pt x="106060" y="340233"/>
                  </a:lnTo>
                  <a:lnTo>
                    <a:pt x="84278" y="327660"/>
                  </a:lnTo>
                  <a:lnTo>
                    <a:pt x="96263" y="293370"/>
                  </a:lnTo>
                  <a:cubicBezTo>
                    <a:pt x="87107" y="286186"/>
                    <a:pt x="78836" y="277936"/>
                    <a:pt x="71626" y="268795"/>
                  </a:cubicBezTo>
                  <a:lnTo>
                    <a:pt x="37383" y="280892"/>
                  </a:lnTo>
                  <a:lnTo>
                    <a:pt x="24827" y="259080"/>
                  </a:lnTo>
                  <a:lnTo>
                    <a:pt x="52317" y="235458"/>
                  </a:lnTo>
                  <a:cubicBezTo>
                    <a:pt x="47781" y="224650"/>
                    <a:pt x="44587" y="213326"/>
                    <a:pt x="42805" y="201739"/>
                  </a:cubicBezTo>
                  <a:lnTo>
                    <a:pt x="7134" y="195167"/>
                  </a:lnTo>
                  <a:lnTo>
                    <a:pt x="7134" y="169831"/>
                  </a:lnTo>
                  <a:lnTo>
                    <a:pt x="42805" y="163068"/>
                  </a:lnTo>
                  <a:cubicBezTo>
                    <a:pt x="44309" y="151487"/>
                    <a:pt x="47315" y="140152"/>
                    <a:pt x="51746" y="129349"/>
                  </a:cubicBezTo>
                  <a:lnTo>
                    <a:pt x="24541" y="106013"/>
                  </a:lnTo>
                  <a:lnTo>
                    <a:pt x="37002" y="84201"/>
                  </a:lnTo>
                  <a:lnTo>
                    <a:pt x="71341" y="96488"/>
                  </a:lnTo>
                  <a:cubicBezTo>
                    <a:pt x="78488" y="87267"/>
                    <a:pt x="86729" y="78951"/>
                    <a:pt x="95882" y="71723"/>
                  </a:cubicBezTo>
                  <a:lnTo>
                    <a:pt x="83802" y="37433"/>
                  </a:lnTo>
                  <a:lnTo>
                    <a:pt x="105490" y="24860"/>
                  </a:lnTo>
                  <a:lnTo>
                    <a:pt x="129175" y="52388"/>
                  </a:lnTo>
                  <a:cubicBezTo>
                    <a:pt x="139970" y="47952"/>
                    <a:pt x="151286" y="44912"/>
                    <a:pt x="162848" y="43339"/>
                  </a:cubicBezTo>
                  <a:lnTo>
                    <a:pt x="169411" y="7620"/>
                  </a:lnTo>
                  <a:close/>
                  <a:moveTo>
                    <a:pt x="271762" y="107061"/>
                  </a:moveTo>
                  <a:lnTo>
                    <a:pt x="249694" y="129159"/>
                  </a:lnTo>
                  <a:cubicBezTo>
                    <a:pt x="274381" y="160351"/>
                    <a:pt x="274381" y="204456"/>
                    <a:pt x="249694" y="235648"/>
                  </a:cubicBezTo>
                  <a:lnTo>
                    <a:pt x="271762" y="257651"/>
                  </a:lnTo>
                  <a:cubicBezTo>
                    <a:pt x="308284" y="214116"/>
                    <a:pt x="308284" y="150597"/>
                    <a:pt x="271762" y="107061"/>
                  </a:cubicBezTo>
                  <a:close/>
                  <a:moveTo>
                    <a:pt x="235711" y="115538"/>
                  </a:moveTo>
                  <a:lnTo>
                    <a:pt x="257684" y="93440"/>
                  </a:lnTo>
                  <a:cubicBezTo>
                    <a:pt x="214134" y="56282"/>
                    <a:pt x="150086" y="56282"/>
                    <a:pt x="106536" y="93440"/>
                  </a:cubicBezTo>
                  <a:lnTo>
                    <a:pt x="128604" y="115538"/>
                  </a:lnTo>
                  <a:cubicBezTo>
                    <a:pt x="159898" y="90413"/>
                    <a:pt x="204417" y="90413"/>
                    <a:pt x="235711" y="115538"/>
                  </a:cubicBezTo>
                  <a:close/>
                  <a:moveTo>
                    <a:pt x="129651" y="249841"/>
                  </a:moveTo>
                  <a:lnTo>
                    <a:pt x="107677" y="271939"/>
                  </a:lnTo>
                  <a:cubicBezTo>
                    <a:pt x="150980" y="308200"/>
                    <a:pt x="214001" y="308200"/>
                    <a:pt x="257304" y="271939"/>
                  </a:cubicBezTo>
                  <a:lnTo>
                    <a:pt x="235235" y="249936"/>
                  </a:lnTo>
                  <a:cubicBezTo>
                    <a:pt x="204231" y="274256"/>
                    <a:pt x="160655" y="274256"/>
                    <a:pt x="129651" y="249936"/>
                  </a:cubicBezTo>
                  <a:close/>
                  <a:moveTo>
                    <a:pt x="93504" y="257937"/>
                  </a:moveTo>
                  <a:lnTo>
                    <a:pt x="115477" y="235839"/>
                  </a:lnTo>
                  <a:cubicBezTo>
                    <a:pt x="90617" y="204842"/>
                    <a:pt x="90302" y="160796"/>
                    <a:pt x="114716" y="129445"/>
                  </a:cubicBezTo>
                  <a:lnTo>
                    <a:pt x="92648" y="107347"/>
                  </a:lnTo>
                  <a:cubicBezTo>
                    <a:pt x="56027" y="151145"/>
                    <a:pt x="56389" y="215034"/>
                    <a:pt x="93504" y="258413"/>
                  </a:cubicBezTo>
                  <a:close/>
                  <a:moveTo>
                    <a:pt x="182158" y="123920"/>
                  </a:moveTo>
                  <a:cubicBezTo>
                    <a:pt x="150061" y="124236"/>
                    <a:pt x="124297" y="150547"/>
                    <a:pt x="124612" y="182687"/>
                  </a:cubicBezTo>
                  <a:cubicBezTo>
                    <a:pt x="124927" y="214827"/>
                    <a:pt x="151202" y="240626"/>
                    <a:pt x="183299" y="240310"/>
                  </a:cubicBezTo>
                  <a:cubicBezTo>
                    <a:pt x="215135" y="239997"/>
                    <a:pt x="240794" y="214094"/>
                    <a:pt x="240848" y="182213"/>
                  </a:cubicBezTo>
                  <a:cubicBezTo>
                    <a:pt x="240902" y="150072"/>
                    <a:pt x="214925" y="123972"/>
                    <a:pt x="182826" y="123918"/>
                  </a:cubicBezTo>
                  <a:cubicBezTo>
                    <a:pt x="182603" y="123917"/>
                    <a:pt x="182381" y="123918"/>
                    <a:pt x="182158" y="123920"/>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50" name="Freeform 49">
              <a:extLst>
                <a:ext uri="{FF2B5EF4-FFF2-40B4-BE49-F238E27FC236}">
                  <a16:creationId xmlns="" xmlns:a16="http://schemas.microsoft.com/office/drawing/2014/main" id="{EDFC80B2-C49B-0742-9A4A-1AAF9A658C94}"/>
                </a:ext>
              </a:extLst>
            </p:cNvPr>
            <p:cNvSpPr/>
            <p:nvPr/>
          </p:nvSpPr>
          <p:spPr>
            <a:xfrm>
              <a:off x="3744103" y="4128111"/>
              <a:ext cx="410866" cy="378940"/>
            </a:xfrm>
            <a:custGeom>
              <a:avLst/>
              <a:gdLst>
                <a:gd name="connsiteX0" fmla="*/ 279277 w 361461"/>
                <a:gd name="connsiteY0" fmla="*/ 7144 h 333375"/>
                <a:gd name="connsiteX1" fmla="*/ 279942 w 361461"/>
                <a:gd name="connsiteY1" fmla="*/ 7144 h 333375"/>
                <a:gd name="connsiteX2" fmla="*/ 267291 w 361461"/>
                <a:gd name="connsiteY2" fmla="*/ 43244 h 333375"/>
                <a:gd name="connsiteX3" fmla="*/ 267291 w 361461"/>
                <a:gd name="connsiteY3" fmla="*/ 43244 h 333375"/>
                <a:gd name="connsiteX4" fmla="*/ 267291 w 361461"/>
                <a:gd name="connsiteY4" fmla="*/ 43244 h 333375"/>
                <a:gd name="connsiteX5" fmla="*/ 279847 w 361461"/>
                <a:gd name="connsiteY5" fmla="*/ 7334 h 333375"/>
                <a:gd name="connsiteX6" fmla="*/ 338537 w 361461"/>
                <a:gd name="connsiteY6" fmla="*/ 74486 h 333375"/>
                <a:gd name="connsiteX7" fmla="*/ 339489 w 361461"/>
                <a:gd name="connsiteY7" fmla="*/ 76105 h 333375"/>
                <a:gd name="connsiteX8" fmla="*/ 310952 w 361461"/>
                <a:gd name="connsiteY8" fmla="*/ 100489 h 333375"/>
                <a:gd name="connsiteX9" fmla="*/ 310096 w 361461"/>
                <a:gd name="connsiteY9" fmla="*/ 98774 h 333375"/>
                <a:gd name="connsiteX10" fmla="*/ 338632 w 361461"/>
                <a:gd name="connsiteY10" fmla="*/ 74486 h 333375"/>
                <a:gd name="connsiteX11" fmla="*/ 356705 w 361461"/>
                <a:gd name="connsiteY11" fmla="*/ 162592 h 333375"/>
                <a:gd name="connsiteX12" fmla="*/ 356705 w 361461"/>
                <a:gd name="connsiteY12" fmla="*/ 164878 h 333375"/>
                <a:gd name="connsiteX13" fmla="*/ 321035 w 361461"/>
                <a:gd name="connsiteY13" fmla="*/ 171640 h 333375"/>
                <a:gd name="connsiteX14" fmla="*/ 312854 w 361461"/>
                <a:gd name="connsiteY14" fmla="*/ 203644 h 333375"/>
                <a:gd name="connsiteX15" fmla="*/ 312093 w 361461"/>
                <a:gd name="connsiteY15" fmla="*/ 205359 h 333375"/>
                <a:gd name="connsiteX16" fmla="*/ 310857 w 361461"/>
                <a:gd name="connsiteY16" fmla="*/ 206502 h 333375"/>
                <a:gd name="connsiteX17" fmla="*/ 312093 w 361461"/>
                <a:gd name="connsiteY17" fmla="*/ 202978 h 333375"/>
                <a:gd name="connsiteX18" fmla="*/ 321035 w 361461"/>
                <a:gd name="connsiteY18" fmla="*/ 169259 h 333375"/>
                <a:gd name="connsiteX19" fmla="*/ 356705 w 361461"/>
                <a:gd name="connsiteY19" fmla="*/ 162592 h 333375"/>
                <a:gd name="connsiteX20" fmla="*/ 338823 w 361461"/>
                <a:gd name="connsiteY20" fmla="*/ 228124 h 333375"/>
                <a:gd name="connsiteX21" fmla="*/ 339774 w 361461"/>
                <a:gd name="connsiteY21" fmla="*/ 228886 h 333375"/>
                <a:gd name="connsiteX22" fmla="*/ 327218 w 361461"/>
                <a:gd name="connsiteY22" fmla="*/ 250698 h 333375"/>
                <a:gd name="connsiteX23" fmla="*/ 292879 w 361461"/>
                <a:gd name="connsiteY23" fmla="*/ 238792 h 333375"/>
                <a:gd name="connsiteX24" fmla="*/ 269003 w 361461"/>
                <a:gd name="connsiteY24" fmla="*/ 263271 h 333375"/>
                <a:gd name="connsiteX25" fmla="*/ 268338 w 361461"/>
                <a:gd name="connsiteY25" fmla="*/ 263842 h 333375"/>
                <a:gd name="connsiteX26" fmla="*/ 267006 w 361461"/>
                <a:gd name="connsiteY26" fmla="*/ 262414 h 333375"/>
                <a:gd name="connsiteX27" fmla="*/ 268338 w 361461"/>
                <a:gd name="connsiteY27" fmla="*/ 261461 h 333375"/>
                <a:gd name="connsiteX28" fmla="*/ 292879 w 361461"/>
                <a:gd name="connsiteY28" fmla="*/ 236792 h 333375"/>
                <a:gd name="connsiteX29" fmla="*/ 327218 w 361461"/>
                <a:gd name="connsiteY29" fmla="*/ 248793 h 333375"/>
                <a:gd name="connsiteX30" fmla="*/ 338823 w 361461"/>
                <a:gd name="connsiteY30" fmla="*/ 228505 h 333375"/>
                <a:gd name="connsiteX31" fmla="*/ 279847 w 361461"/>
                <a:gd name="connsiteY31" fmla="*/ 295751 h 333375"/>
                <a:gd name="connsiteX32" fmla="*/ 280513 w 361461"/>
                <a:gd name="connsiteY32" fmla="*/ 297656 h 333375"/>
                <a:gd name="connsiteX33" fmla="*/ 258730 w 361461"/>
                <a:gd name="connsiteY33" fmla="*/ 310325 h 333375"/>
                <a:gd name="connsiteX34" fmla="*/ 235045 w 361461"/>
                <a:gd name="connsiteY34" fmla="*/ 282797 h 333375"/>
                <a:gd name="connsiteX35" fmla="*/ 201467 w 361461"/>
                <a:gd name="connsiteY35" fmla="*/ 292322 h 333375"/>
                <a:gd name="connsiteX36" fmla="*/ 194809 w 361461"/>
                <a:gd name="connsiteY36" fmla="*/ 328041 h 333375"/>
                <a:gd name="connsiteX37" fmla="*/ 169697 w 361461"/>
                <a:gd name="connsiteY37" fmla="*/ 328041 h 333375"/>
                <a:gd name="connsiteX38" fmla="*/ 162943 w 361461"/>
                <a:gd name="connsiteY38" fmla="*/ 292322 h 333375"/>
                <a:gd name="connsiteX39" fmla="*/ 129270 w 361461"/>
                <a:gd name="connsiteY39" fmla="*/ 283369 h 333375"/>
                <a:gd name="connsiteX40" fmla="*/ 105680 w 361461"/>
                <a:gd name="connsiteY40" fmla="*/ 310991 h 333375"/>
                <a:gd name="connsiteX41" fmla="*/ 83897 w 361461"/>
                <a:gd name="connsiteY41" fmla="*/ 298418 h 333375"/>
                <a:gd name="connsiteX42" fmla="*/ 84563 w 361461"/>
                <a:gd name="connsiteY42" fmla="*/ 296513 h 333375"/>
                <a:gd name="connsiteX43" fmla="*/ 105680 w 361461"/>
                <a:gd name="connsiteY43" fmla="*/ 308705 h 333375"/>
                <a:gd name="connsiteX44" fmla="*/ 129270 w 361461"/>
                <a:gd name="connsiteY44" fmla="*/ 281083 h 333375"/>
                <a:gd name="connsiteX45" fmla="*/ 162943 w 361461"/>
                <a:gd name="connsiteY45" fmla="*/ 290036 h 333375"/>
                <a:gd name="connsiteX46" fmla="*/ 169697 w 361461"/>
                <a:gd name="connsiteY46" fmla="*/ 325755 h 333375"/>
                <a:gd name="connsiteX47" fmla="*/ 194809 w 361461"/>
                <a:gd name="connsiteY47" fmla="*/ 325755 h 333375"/>
                <a:gd name="connsiteX48" fmla="*/ 201467 w 361461"/>
                <a:gd name="connsiteY48" fmla="*/ 290036 h 333375"/>
                <a:gd name="connsiteX49" fmla="*/ 235045 w 361461"/>
                <a:gd name="connsiteY49" fmla="*/ 280511 h 333375"/>
                <a:gd name="connsiteX50" fmla="*/ 258730 w 361461"/>
                <a:gd name="connsiteY50" fmla="*/ 308038 h 333375"/>
                <a:gd name="connsiteX51" fmla="*/ 279847 w 361461"/>
                <a:gd name="connsiteY51" fmla="*/ 295942 h 333375"/>
                <a:gd name="connsiteX52" fmla="*/ 95312 w 361461"/>
                <a:gd name="connsiteY52" fmla="*/ 263271 h 333375"/>
                <a:gd name="connsiteX53" fmla="*/ 71246 w 361461"/>
                <a:gd name="connsiteY53" fmla="*/ 239173 h 333375"/>
                <a:gd name="connsiteX54" fmla="*/ 37002 w 361461"/>
                <a:gd name="connsiteY54" fmla="*/ 251269 h 333375"/>
                <a:gd name="connsiteX55" fmla="*/ 24446 w 361461"/>
                <a:gd name="connsiteY55" fmla="*/ 229457 h 333375"/>
                <a:gd name="connsiteX56" fmla="*/ 25302 w 361461"/>
                <a:gd name="connsiteY56" fmla="*/ 228695 h 333375"/>
                <a:gd name="connsiteX57" fmla="*/ 37002 w 361461"/>
                <a:gd name="connsiteY57" fmla="*/ 248984 h 333375"/>
                <a:gd name="connsiteX58" fmla="*/ 71246 w 361461"/>
                <a:gd name="connsiteY58" fmla="*/ 236792 h 333375"/>
                <a:gd name="connsiteX59" fmla="*/ 97119 w 361461"/>
                <a:gd name="connsiteY59" fmla="*/ 262509 h 333375"/>
                <a:gd name="connsiteX60" fmla="*/ 96073 w 361461"/>
                <a:gd name="connsiteY60" fmla="*/ 263842 h 333375"/>
                <a:gd name="connsiteX61" fmla="*/ 95312 w 361461"/>
                <a:gd name="connsiteY61" fmla="*/ 263271 h 333375"/>
                <a:gd name="connsiteX62" fmla="*/ 51270 w 361461"/>
                <a:gd name="connsiteY62" fmla="*/ 204121 h 333375"/>
                <a:gd name="connsiteX63" fmla="*/ 42805 w 361461"/>
                <a:gd name="connsiteY63" fmla="*/ 172117 h 333375"/>
                <a:gd name="connsiteX64" fmla="*/ 7134 w 361461"/>
                <a:gd name="connsiteY64" fmla="*/ 165544 h 333375"/>
                <a:gd name="connsiteX65" fmla="*/ 7134 w 361461"/>
                <a:gd name="connsiteY65" fmla="*/ 163163 h 333375"/>
                <a:gd name="connsiteX66" fmla="*/ 42805 w 361461"/>
                <a:gd name="connsiteY66" fmla="*/ 169831 h 333375"/>
                <a:gd name="connsiteX67" fmla="*/ 53268 w 361461"/>
                <a:gd name="connsiteY67" fmla="*/ 206788 h 333375"/>
                <a:gd name="connsiteX68" fmla="*/ 51936 w 361461"/>
                <a:gd name="connsiteY68" fmla="*/ 205835 h 333375"/>
                <a:gd name="connsiteX69" fmla="*/ 51270 w 361461"/>
                <a:gd name="connsiteY69" fmla="*/ 204121 h 333375"/>
                <a:gd name="connsiteX70" fmla="*/ 52412 w 361461"/>
                <a:gd name="connsiteY70" fmla="*/ 100489 h 333375"/>
                <a:gd name="connsiteX71" fmla="*/ 23875 w 361461"/>
                <a:gd name="connsiteY71" fmla="*/ 76295 h 333375"/>
                <a:gd name="connsiteX72" fmla="*/ 24827 w 361461"/>
                <a:gd name="connsiteY72" fmla="*/ 74676 h 333375"/>
                <a:gd name="connsiteX73" fmla="*/ 52888 w 361461"/>
                <a:gd name="connsiteY73" fmla="*/ 98774 h 333375"/>
                <a:gd name="connsiteX74" fmla="*/ 52222 w 361461"/>
                <a:gd name="connsiteY74" fmla="*/ 100489 h 333375"/>
                <a:gd name="connsiteX75" fmla="*/ 96073 w 361461"/>
                <a:gd name="connsiteY75" fmla="*/ 43339 h 333375"/>
                <a:gd name="connsiteX76" fmla="*/ 83422 w 361461"/>
                <a:gd name="connsiteY76" fmla="*/ 7239 h 333375"/>
                <a:gd name="connsiteX77" fmla="*/ 84087 w 361461"/>
                <a:gd name="connsiteY77" fmla="*/ 7239 h 333375"/>
                <a:gd name="connsiteX78" fmla="*/ 96739 w 361461"/>
                <a:gd name="connsiteY78" fmla="*/ 43339 h 333375"/>
                <a:gd name="connsiteX79" fmla="*/ 96073 w 361461"/>
                <a:gd name="connsiteY79" fmla="*/ 43339 h 333375"/>
                <a:gd name="connsiteX80" fmla="*/ 271382 w 361461"/>
                <a:gd name="connsiteY80" fmla="*/ 77343 h 333375"/>
                <a:gd name="connsiteX81" fmla="*/ 249218 w 361461"/>
                <a:gd name="connsiteY81" fmla="*/ 99631 h 333375"/>
                <a:gd name="connsiteX82" fmla="*/ 247411 w 361461"/>
                <a:gd name="connsiteY82" fmla="*/ 99631 h 333375"/>
                <a:gd name="connsiteX83" fmla="*/ 271382 w 361461"/>
                <a:gd name="connsiteY83" fmla="*/ 75438 h 333375"/>
                <a:gd name="connsiteX84" fmla="*/ 298586 w 361461"/>
                <a:gd name="connsiteY84" fmla="*/ 150304 h 333375"/>
                <a:gd name="connsiteX85" fmla="*/ 298586 w 361461"/>
                <a:gd name="connsiteY85" fmla="*/ 151257 h 333375"/>
                <a:gd name="connsiteX86" fmla="*/ 271382 w 361461"/>
                <a:gd name="connsiteY86" fmla="*/ 77724 h 333375"/>
                <a:gd name="connsiteX87" fmla="*/ 267577 w 361461"/>
                <a:gd name="connsiteY87" fmla="*/ 151352 h 333375"/>
                <a:gd name="connsiteX88" fmla="*/ 267577 w 361461"/>
                <a:gd name="connsiteY88" fmla="*/ 153067 h 333375"/>
                <a:gd name="connsiteX89" fmla="*/ 249789 w 361461"/>
                <a:gd name="connsiteY89" fmla="*/ 205454 h 333375"/>
                <a:gd name="connsiteX90" fmla="*/ 248743 w 361461"/>
                <a:gd name="connsiteY90" fmla="*/ 206788 h 333375"/>
                <a:gd name="connsiteX91" fmla="*/ 246650 w 361461"/>
                <a:gd name="connsiteY91" fmla="*/ 206788 h 333375"/>
                <a:gd name="connsiteX92" fmla="*/ 248838 w 361461"/>
                <a:gd name="connsiteY92" fmla="*/ 204216 h 333375"/>
                <a:gd name="connsiteX93" fmla="*/ 267862 w 361461"/>
                <a:gd name="connsiteY93" fmla="*/ 151924 h 333375"/>
                <a:gd name="connsiteX94" fmla="*/ 256067 w 361461"/>
                <a:gd name="connsiteY94" fmla="*/ 62198 h 333375"/>
                <a:gd name="connsiteX95" fmla="*/ 107392 w 361461"/>
                <a:gd name="connsiteY95" fmla="*/ 62198 h 333375"/>
                <a:gd name="connsiteX96" fmla="*/ 106156 w 361461"/>
                <a:gd name="connsiteY96" fmla="*/ 63246 h 333375"/>
                <a:gd name="connsiteX97" fmla="*/ 103778 w 361461"/>
                <a:gd name="connsiteY97" fmla="*/ 63246 h 333375"/>
                <a:gd name="connsiteX98" fmla="*/ 106156 w 361461"/>
                <a:gd name="connsiteY98" fmla="*/ 60960 h 333375"/>
                <a:gd name="connsiteX99" fmla="*/ 259491 w 361461"/>
                <a:gd name="connsiteY99" fmla="*/ 63627 h 333375"/>
                <a:gd name="connsiteX100" fmla="*/ 257113 w 361461"/>
                <a:gd name="connsiteY100" fmla="*/ 63627 h 333375"/>
                <a:gd name="connsiteX101" fmla="*/ 255877 w 361461"/>
                <a:gd name="connsiteY101" fmla="*/ 62579 h 333375"/>
                <a:gd name="connsiteX102" fmla="*/ 129270 w 361461"/>
                <a:gd name="connsiteY102" fmla="*/ 220694 h 333375"/>
                <a:gd name="connsiteX103" fmla="*/ 106060 w 361461"/>
                <a:gd name="connsiteY103" fmla="*/ 244031 h 333375"/>
                <a:gd name="connsiteX104" fmla="*/ 104729 w 361461"/>
                <a:gd name="connsiteY104" fmla="*/ 242983 h 333375"/>
                <a:gd name="connsiteX105" fmla="*/ 129270 w 361461"/>
                <a:gd name="connsiteY105" fmla="*/ 218408 h 333375"/>
                <a:gd name="connsiteX106" fmla="*/ 234855 w 361461"/>
                <a:gd name="connsiteY106" fmla="*/ 218408 h 333375"/>
                <a:gd name="connsiteX107" fmla="*/ 259491 w 361461"/>
                <a:gd name="connsiteY107" fmla="*/ 242697 h 333375"/>
                <a:gd name="connsiteX108" fmla="*/ 257018 w 361461"/>
                <a:gd name="connsiteY108" fmla="*/ 242697 h 333375"/>
                <a:gd name="connsiteX109" fmla="*/ 234950 w 361461"/>
                <a:gd name="connsiteY109" fmla="*/ 220694 h 333375"/>
                <a:gd name="connsiteX110" fmla="*/ 129365 w 361461"/>
                <a:gd name="connsiteY110" fmla="*/ 220694 h 333375"/>
                <a:gd name="connsiteX111" fmla="*/ 114146 w 361461"/>
                <a:gd name="connsiteY111" fmla="*/ 205454 h 333375"/>
                <a:gd name="connsiteX112" fmla="*/ 96263 w 361461"/>
                <a:gd name="connsiteY112" fmla="*/ 153067 h 333375"/>
                <a:gd name="connsiteX113" fmla="*/ 96263 w 361461"/>
                <a:gd name="connsiteY113" fmla="*/ 151638 h 333375"/>
                <a:gd name="connsiteX114" fmla="*/ 115287 w 361461"/>
                <a:gd name="connsiteY114" fmla="*/ 204311 h 333375"/>
                <a:gd name="connsiteX115" fmla="*/ 117380 w 361461"/>
                <a:gd name="connsiteY115" fmla="*/ 206788 h 333375"/>
                <a:gd name="connsiteX116" fmla="*/ 115287 w 361461"/>
                <a:gd name="connsiteY116" fmla="*/ 206788 h 333375"/>
                <a:gd name="connsiteX117" fmla="*/ 114336 w 361461"/>
                <a:gd name="connsiteY117" fmla="*/ 205550 h 333375"/>
                <a:gd name="connsiteX118" fmla="*/ 115287 w 361461"/>
                <a:gd name="connsiteY118" fmla="*/ 101251 h 333375"/>
                <a:gd name="connsiteX119" fmla="*/ 116334 w 361461"/>
                <a:gd name="connsiteY119" fmla="*/ 100013 h 333375"/>
                <a:gd name="connsiteX120" fmla="*/ 92268 w 361461"/>
                <a:gd name="connsiteY120" fmla="*/ 75914 h 333375"/>
                <a:gd name="connsiteX121" fmla="*/ 65253 w 361461"/>
                <a:gd name="connsiteY121" fmla="*/ 150876 h 333375"/>
                <a:gd name="connsiteX122" fmla="*/ 65253 w 361461"/>
                <a:gd name="connsiteY122" fmla="*/ 151829 h 333375"/>
                <a:gd name="connsiteX123" fmla="*/ 92268 w 361461"/>
                <a:gd name="connsiteY123" fmla="*/ 78200 h 333375"/>
                <a:gd name="connsiteX124" fmla="*/ 115287 w 361461"/>
                <a:gd name="connsiteY124" fmla="*/ 101251 h 333375"/>
                <a:gd name="connsiteX125" fmla="*/ 181872 w 361461"/>
                <a:gd name="connsiteY125" fmla="*/ 94774 h 333375"/>
                <a:gd name="connsiteX126" fmla="*/ 240087 w 361461"/>
                <a:gd name="connsiteY126" fmla="*/ 151924 h 333375"/>
                <a:gd name="connsiteX127" fmla="*/ 240087 w 361461"/>
                <a:gd name="connsiteY127" fmla="*/ 150590 h 333375"/>
                <a:gd name="connsiteX128" fmla="*/ 181967 w 361461"/>
                <a:gd name="connsiteY128" fmla="*/ 92392 h 333375"/>
                <a:gd name="connsiteX129" fmla="*/ 123848 w 361461"/>
                <a:gd name="connsiteY129" fmla="*/ 150590 h 333375"/>
                <a:gd name="connsiteX130" fmla="*/ 123848 w 361461"/>
                <a:gd name="connsiteY130" fmla="*/ 151543 h 333375"/>
                <a:gd name="connsiteX131" fmla="*/ 181872 w 361461"/>
                <a:gd name="connsiteY131" fmla="*/ 94774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361461" h="333375">
                  <a:moveTo>
                    <a:pt x="279277" y="7144"/>
                  </a:moveTo>
                  <a:lnTo>
                    <a:pt x="279942" y="7144"/>
                  </a:lnTo>
                  <a:lnTo>
                    <a:pt x="267291" y="43244"/>
                  </a:lnTo>
                  <a:lnTo>
                    <a:pt x="267291" y="43244"/>
                  </a:lnTo>
                  <a:lnTo>
                    <a:pt x="267291" y="43244"/>
                  </a:lnTo>
                  <a:lnTo>
                    <a:pt x="279847" y="7334"/>
                  </a:lnTo>
                  <a:close/>
                  <a:moveTo>
                    <a:pt x="338537" y="74486"/>
                  </a:moveTo>
                  <a:lnTo>
                    <a:pt x="339489" y="76105"/>
                  </a:lnTo>
                  <a:lnTo>
                    <a:pt x="310952" y="100489"/>
                  </a:lnTo>
                  <a:lnTo>
                    <a:pt x="310096" y="98774"/>
                  </a:lnTo>
                  <a:lnTo>
                    <a:pt x="338632" y="74486"/>
                  </a:lnTo>
                  <a:close/>
                  <a:moveTo>
                    <a:pt x="356705" y="162592"/>
                  </a:moveTo>
                  <a:lnTo>
                    <a:pt x="356705" y="164878"/>
                  </a:lnTo>
                  <a:lnTo>
                    <a:pt x="321035" y="171640"/>
                  </a:lnTo>
                  <a:cubicBezTo>
                    <a:pt x="319582" y="182595"/>
                    <a:pt x="316835" y="193338"/>
                    <a:pt x="312854" y="203644"/>
                  </a:cubicBezTo>
                  <a:lnTo>
                    <a:pt x="312093" y="205359"/>
                  </a:lnTo>
                  <a:lnTo>
                    <a:pt x="310857" y="206502"/>
                  </a:lnTo>
                  <a:lnTo>
                    <a:pt x="312093" y="202978"/>
                  </a:lnTo>
                  <a:cubicBezTo>
                    <a:pt x="316547" y="192183"/>
                    <a:pt x="319554" y="180845"/>
                    <a:pt x="321035" y="169259"/>
                  </a:cubicBezTo>
                  <a:lnTo>
                    <a:pt x="356705" y="162592"/>
                  </a:lnTo>
                  <a:close/>
                  <a:moveTo>
                    <a:pt x="338823" y="228124"/>
                  </a:moveTo>
                  <a:lnTo>
                    <a:pt x="339774" y="228886"/>
                  </a:lnTo>
                  <a:lnTo>
                    <a:pt x="327218" y="250698"/>
                  </a:lnTo>
                  <a:lnTo>
                    <a:pt x="292879" y="238792"/>
                  </a:lnTo>
                  <a:cubicBezTo>
                    <a:pt x="285974" y="247919"/>
                    <a:pt x="277953" y="256143"/>
                    <a:pt x="269003" y="263271"/>
                  </a:cubicBezTo>
                  <a:lnTo>
                    <a:pt x="268338" y="263842"/>
                  </a:lnTo>
                  <a:lnTo>
                    <a:pt x="267006" y="262414"/>
                  </a:lnTo>
                  <a:lnTo>
                    <a:pt x="268338" y="261461"/>
                  </a:lnTo>
                  <a:cubicBezTo>
                    <a:pt x="277533" y="254317"/>
                    <a:pt x="285780" y="246027"/>
                    <a:pt x="292879" y="236792"/>
                  </a:cubicBezTo>
                  <a:lnTo>
                    <a:pt x="327218" y="248793"/>
                  </a:lnTo>
                  <a:lnTo>
                    <a:pt x="338823" y="228505"/>
                  </a:lnTo>
                  <a:close/>
                  <a:moveTo>
                    <a:pt x="279847" y="295751"/>
                  </a:moveTo>
                  <a:lnTo>
                    <a:pt x="280513" y="297656"/>
                  </a:lnTo>
                  <a:lnTo>
                    <a:pt x="258730" y="310325"/>
                  </a:lnTo>
                  <a:lnTo>
                    <a:pt x="235045" y="282797"/>
                  </a:lnTo>
                  <a:cubicBezTo>
                    <a:pt x="224289" y="287352"/>
                    <a:pt x="213010" y="290551"/>
                    <a:pt x="201467" y="292322"/>
                  </a:cubicBezTo>
                  <a:lnTo>
                    <a:pt x="194809" y="328041"/>
                  </a:lnTo>
                  <a:lnTo>
                    <a:pt x="169697" y="328041"/>
                  </a:lnTo>
                  <a:lnTo>
                    <a:pt x="162943" y="292322"/>
                  </a:lnTo>
                  <a:cubicBezTo>
                    <a:pt x="151394" y="290737"/>
                    <a:pt x="140084" y="287730"/>
                    <a:pt x="129270" y="283369"/>
                  </a:cubicBezTo>
                  <a:lnTo>
                    <a:pt x="105680" y="310991"/>
                  </a:lnTo>
                  <a:lnTo>
                    <a:pt x="83897" y="298418"/>
                  </a:lnTo>
                  <a:lnTo>
                    <a:pt x="84563" y="296513"/>
                  </a:lnTo>
                  <a:lnTo>
                    <a:pt x="105680" y="308705"/>
                  </a:lnTo>
                  <a:lnTo>
                    <a:pt x="129270" y="281083"/>
                  </a:lnTo>
                  <a:cubicBezTo>
                    <a:pt x="140084" y="285444"/>
                    <a:pt x="151394" y="288451"/>
                    <a:pt x="162943" y="290036"/>
                  </a:cubicBezTo>
                  <a:lnTo>
                    <a:pt x="169697" y="325755"/>
                  </a:lnTo>
                  <a:lnTo>
                    <a:pt x="194809" y="325755"/>
                  </a:lnTo>
                  <a:lnTo>
                    <a:pt x="201467" y="290036"/>
                  </a:lnTo>
                  <a:cubicBezTo>
                    <a:pt x="213010" y="288265"/>
                    <a:pt x="224289" y="285066"/>
                    <a:pt x="235045" y="280511"/>
                  </a:cubicBezTo>
                  <a:lnTo>
                    <a:pt x="258730" y="308038"/>
                  </a:lnTo>
                  <a:lnTo>
                    <a:pt x="279847" y="295942"/>
                  </a:lnTo>
                  <a:close/>
                  <a:moveTo>
                    <a:pt x="95312" y="263271"/>
                  </a:moveTo>
                  <a:cubicBezTo>
                    <a:pt x="86367" y="256219"/>
                    <a:pt x="78288" y="248130"/>
                    <a:pt x="71246" y="239173"/>
                  </a:cubicBezTo>
                  <a:lnTo>
                    <a:pt x="37002" y="251269"/>
                  </a:lnTo>
                  <a:lnTo>
                    <a:pt x="24446" y="229457"/>
                  </a:lnTo>
                  <a:lnTo>
                    <a:pt x="25302" y="228695"/>
                  </a:lnTo>
                  <a:lnTo>
                    <a:pt x="37002" y="248984"/>
                  </a:lnTo>
                  <a:lnTo>
                    <a:pt x="71246" y="236792"/>
                  </a:lnTo>
                  <a:cubicBezTo>
                    <a:pt x="78896" y="246294"/>
                    <a:pt x="87573" y="254919"/>
                    <a:pt x="97119" y="262509"/>
                  </a:cubicBezTo>
                  <a:lnTo>
                    <a:pt x="96073" y="263842"/>
                  </a:lnTo>
                  <a:lnTo>
                    <a:pt x="95312" y="263271"/>
                  </a:lnTo>
                  <a:close/>
                  <a:moveTo>
                    <a:pt x="51270" y="204121"/>
                  </a:moveTo>
                  <a:cubicBezTo>
                    <a:pt x="47229" y="193814"/>
                    <a:pt x="44389" y="183075"/>
                    <a:pt x="42805" y="172117"/>
                  </a:cubicBezTo>
                  <a:lnTo>
                    <a:pt x="7134" y="165544"/>
                  </a:lnTo>
                  <a:lnTo>
                    <a:pt x="7134" y="163163"/>
                  </a:lnTo>
                  <a:lnTo>
                    <a:pt x="42805" y="169831"/>
                  </a:lnTo>
                  <a:cubicBezTo>
                    <a:pt x="44688" y="182550"/>
                    <a:pt x="48205" y="194971"/>
                    <a:pt x="53268" y="206788"/>
                  </a:cubicBezTo>
                  <a:lnTo>
                    <a:pt x="51936" y="205835"/>
                  </a:lnTo>
                  <a:lnTo>
                    <a:pt x="51270" y="204121"/>
                  </a:lnTo>
                  <a:close/>
                  <a:moveTo>
                    <a:pt x="52412" y="100489"/>
                  </a:moveTo>
                  <a:lnTo>
                    <a:pt x="23875" y="76295"/>
                  </a:lnTo>
                  <a:lnTo>
                    <a:pt x="24827" y="74676"/>
                  </a:lnTo>
                  <a:lnTo>
                    <a:pt x="52888" y="98774"/>
                  </a:lnTo>
                  <a:lnTo>
                    <a:pt x="52222" y="100489"/>
                  </a:lnTo>
                  <a:close/>
                  <a:moveTo>
                    <a:pt x="96073" y="43339"/>
                  </a:moveTo>
                  <a:lnTo>
                    <a:pt x="83422" y="7239"/>
                  </a:lnTo>
                  <a:lnTo>
                    <a:pt x="84087" y="7239"/>
                  </a:lnTo>
                  <a:lnTo>
                    <a:pt x="96739" y="43339"/>
                  </a:lnTo>
                  <a:lnTo>
                    <a:pt x="96073" y="43339"/>
                  </a:lnTo>
                  <a:close/>
                  <a:moveTo>
                    <a:pt x="271382" y="77343"/>
                  </a:moveTo>
                  <a:lnTo>
                    <a:pt x="249218" y="99631"/>
                  </a:lnTo>
                  <a:lnTo>
                    <a:pt x="247411" y="99631"/>
                  </a:lnTo>
                  <a:lnTo>
                    <a:pt x="271382" y="75438"/>
                  </a:lnTo>
                  <a:cubicBezTo>
                    <a:pt x="288991" y="96396"/>
                    <a:pt x="298628" y="122916"/>
                    <a:pt x="298586" y="150304"/>
                  </a:cubicBezTo>
                  <a:lnTo>
                    <a:pt x="298586" y="151257"/>
                  </a:lnTo>
                  <a:cubicBezTo>
                    <a:pt x="298261" y="124337"/>
                    <a:pt x="288650" y="98358"/>
                    <a:pt x="271382" y="77724"/>
                  </a:cubicBezTo>
                  <a:close/>
                  <a:moveTo>
                    <a:pt x="267577" y="151352"/>
                  </a:moveTo>
                  <a:lnTo>
                    <a:pt x="267577" y="153067"/>
                  </a:lnTo>
                  <a:cubicBezTo>
                    <a:pt x="267593" y="172018"/>
                    <a:pt x="261338" y="190441"/>
                    <a:pt x="249789" y="205454"/>
                  </a:cubicBezTo>
                  <a:lnTo>
                    <a:pt x="248743" y="206788"/>
                  </a:lnTo>
                  <a:lnTo>
                    <a:pt x="246650" y="206788"/>
                  </a:lnTo>
                  <a:lnTo>
                    <a:pt x="248838" y="204216"/>
                  </a:lnTo>
                  <a:cubicBezTo>
                    <a:pt x="260810" y="189389"/>
                    <a:pt x="267505" y="170988"/>
                    <a:pt x="267862" y="151924"/>
                  </a:cubicBezTo>
                  <a:close/>
                  <a:moveTo>
                    <a:pt x="256067" y="62198"/>
                  </a:moveTo>
                  <a:cubicBezTo>
                    <a:pt x="212933" y="26465"/>
                    <a:pt x="150526" y="26465"/>
                    <a:pt x="107392" y="62198"/>
                  </a:cubicBezTo>
                  <a:lnTo>
                    <a:pt x="106156" y="63246"/>
                  </a:lnTo>
                  <a:lnTo>
                    <a:pt x="103778" y="63246"/>
                  </a:lnTo>
                  <a:lnTo>
                    <a:pt x="106156" y="60960"/>
                  </a:lnTo>
                  <a:cubicBezTo>
                    <a:pt x="150731" y="23297"/>
                    <a:pt x="216249" y="24437"/>
                    <a:pt x="259491" y="63627"/>
                  </a:cubicBezTo>
                  <a:lnTo>
                    <a:pt x="257113" y="63627"/>
                  </a:lnTo>
                  <a:lnTo>
                    <a:pt x="255877" y="62579"/>
                  </a:lnTo>
                  <a:close/>
                  <a:moveTo>
                    <a:pt x="129270" y="220694"/>
                  </a:moveTo>
                  <a:lnTo>
                    <a:pt x="106060" y="244031"/>
                  </a:lnTo>
                  <a:lnTo>
                    <a:pt x="104729" y="242983"/>
                  </a:lnTo>
                  <a:lnTo>
                    <a:pt x="129270" y="218408"/>
                  </a:lnTo>
                  <a:cubicBezTo>
                    <a:pt x="160275" y="242729"/>
                    <a:pt x="203850" y="242729"/>
                    <a:pt x="234855" y="218408"/>
                  </a:cubicBezTo>
                  <a:lnTo>
                    <a:pt x="259491" y="242697"/>
                  </a:lnTo>
                  <a:lnTo>
                    <a:pt x="257018" y="242697"/>
                  </a:lnTo>
                  <a:lnTo>
                    <a:pt x="234950" y="220694"/>
                  </a:lnTo>
                  <a:cubicBezTo>
                    <a:pt x="203945" y="245014"/>
                    <a:pt x="160370" y="245014"/>
                    <a:pt x="129365" y="220694"/>
                  </a:cubicBezTo>
                  <a:close/>
                  <a:moveTo>
                    <a:pt x="114146" y="205454"/>
                  </a:moveTo>
                  <a:cubicBezTo>
                    <a:pt x="102504" y="190484"/>
                    <a:pt x="96208" y="172040"/>
                    <a:pt x="96263" y="153067"/>
                  </a:cubicBezTo>
                  <a:lnTo>
                    <a:pt x="96263" y="151638"/>
                  </a:lnTo>
                  <a:cubicBezTo>
                    <a:pt x="96476" y="170844"/>
                    <a:pt x="103182" y="189412"/>
                    <a:pt x="115287" y="204311"/>
                  </a:cubicBezTo>
                  <a:lnTo>
                    <a:pt x="117380" y="206788"/>
                  </a:lnTo>
                  <a:lnTo>
                    <a:pt x="115287" y="206788"/>
                  </a:lnTo>
                  <a:lnTo>
                    <a:pt x="114336" y="205550"/>
                  </a:lnTo>
                  <a:close/>
                  <a:moveTo>
                    <a:pt x="115287" y="101251"/>
                  </a:moveTo>
                  <a:lnTo>
                    <a:pt x="116334" y="100013"/>
                  </a:lnTo>
                  <a:lnTo>
                    <a:pt x="92268" y="75914"/>
                  </a:lnTo>
                  <a:cubicBezTo>
                    <a:pt x="74706" y="96923"/>
                    <a:pt x="65136" y="123479"/>
                    <a:pt x="65253" y="150876"/>
                  </a:cubicBezTo>
                  <a:lnTo>
                    <a:pt x="65253" y="151829"/>
                  </a:lnTo>
                  <a:cubicBezTo>
                    <a:pt x="65487" y="124897"/>
                    <a:pt x="75034" y="98878"/>
                    <a:pt x="92268" y="78200"/>
                  </a:cubicBezTo>
                  <a:lnTo>
                    <a:pt x="115287" y="101251"/>
                  </a:lnTo>
                  <a:close/>
                  <a:moveTo>
                    <a:pt x="181872" y="94774"/>
                  </a:moveTo>
                  <a:cubicBezTo>
                    <a:pt x="213603" y="94717"/>
                    <a:pt x="239515" y="120155"/>
                    <a:pt x="240087" y="151924"/>
                  </a:cubicBezTo>
                  <a:lnTo>
                    <a:pt x="240087" y="150590"/>
                  </a:lnTo>
                  <a:cubicBezTo>
                    <a:pt x="240087" y="118449"/>
                    <a:pt x="214066" y="92392"/>
                    <a:pt x="181967" y="92392"/>
                  </a:cubicBezTo>
                  <a:cubicBezTo>
                    <a:pt x="149869" y="92392"/>
                    <a:pt x="123848" y="118449"/>
                    <a:pt x="123848" y="150590"/>
                  </a:cubicBezTo>
                  <a:lnTo>
                    <a:pt x="123848" y="151543"/>
                  </a:lnTo>
                  <a:cubicBezTo>
                    <a:pt x="124622" y="119997"/>
                    <a:pt x="150360" y="94816"/>
                    <a:pt x="181872" y="94774"/>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sp>
          <p:nvSpPr>
            <p:cNvPr id="51" name="Freeform 50">
              <a:extLst>
                <a:ext uri="{FF2B5EF4-FFF2-40B4-BE49-F238E27FC236}">
                  <a16:creationId xmlns="" xmlns:a16="http://schemas.microsoft.com/office/drawing/2014/main" id="{CBBA8846-80AB-2E4B-83D8-0095060EEF37}"/>
                </a:ext>
              </a:extLst>
            </p:cNvPr>
            <p:cNvSpPr/>
            <p:nvPr/>
          </p:nvSpPr>
          <p:spPr>
            <a:xfrm>
              <a:off x="3745185" y="4094981"/>
              <a:ext cx="410866" cy="378940"/>
            </a:xfrm>
            <a:custGeom>
              <a:avLst/>
              <a:gdLst>
                <a:gd name="connsiteX0" fmla="*/ 168080 w 361461"/>
                <a:gd name="connsiteY0" fmla="*/ 7144 h 333375"/>
                <a:gd name="connsiteX1" fmla="*/ 193192 w 361461"/>
                <a:gd name="connsiteY1" fmla="*/ 7144 h 333375"/>
                <a:gd name="connsiteX2" fmla="*/ 199945 w 361461"/>
                <a:gd name="connsiteY2" fmla="*/ 42863 h 333375"/>
                <a:gd name="connsiteX3" fmla="*/ 233618 w 361461"/>
                <a:gd name="connsiteY3" fmla="*/ 51816 h 333375"/>
                <a:gd name="connsiteX4" fmla="*/ 257208 w 361461"/>
                <a:gd name="connsiteY4" fmla="*/ 24194 h 333375"/>
                <a:gd name="connsiteX5" fmla="*/ 278991 w 361461"/>
                <a:gd name="connsiteY5" fmla="*/ 36767 h 333375"/>
                <a:gd name="connsiteX6" fmla="*/ 277660 w 361461"/>
                <a:gd name="connsiteY6" fmla="*/ 38290 h 333375"/>
                <a:gd name="connsiteX7" fmla="*/ 257208 w 361461"/>
                <a:gd name="connsiteY7" fmla="*/ 26479 h 333375"/>
                <a:gd name="connsiteX8" fmla="*/ 233618 w 361461"/>
                <a:gd name="connsiteY8" fmla="*/ 54102 h 333375"/>
                <a:gd name="connsiteX9" fmla="*/ 199945 w 361461"/>
                <a:gd name="connsiteY9" fmla="*/ 45148 h 333375"/>
                <a:gd name="connsiteX10" fmla="*/ 193192 w 361461"/>
                <a:gd name="connsiteY10" fmla="*/ 9430 h 333375"/>
                <a:gd name="connsiteX11" fmla="*/ 168080 w 361461"/>
                <a:gd name="connsiteY11" fmla="*/ 9430 h 333375"/>
                <a:gd name="connsiteX12" fmla="*/ 161516 w 361461"/>
                <a:gd name="connsiteY12" fmla="*/ 45148 h 333375"/>
                <a:gd name="connsiteX13" fmla="*/ 127843 w 361461"/>
                <a:gd name="connsiteY13" fmla="*/ 54673 h 333375"/>
                <a:gd name="connsiteX14" fmla="*/ 104158 w 361461"/>
                <a:gd name="connsiteY14" fmla="*/ 27146 h 333375"/>
                <a:gd name="connsiteX15" fmla="*/ 83802 w 361461"/>
                <a:gd name="connsiteY15" fmla="*/ 38957 h 333375"/>
                <a:gd name="connsiteX16" fmla="*/ 82470 w 361461"/>
                <a:gd name="connsiteY16" fmla="*/ 37433 h 333375"/>
                <a:gd name="connsiteX17" fmla="*/ 104158 w 361461"/>
                <a:gd name="connsiteY17" fmla="*/ 24860 h 333375"/>
                <a:gd name="connsiteX18" fmla="*/ 127843 w 361461"/>
                <a:gd name="connsiteY18" fmla="*/ 52388 h 333375"/>
                <a:gd name="connsiteX19" fmla="*/ 161516 w 361461"/>
                <a:gd name="connsiteY19" fmla="*/ 43339 h 333375"/>
                <a:gd name="connsiteX20" fmla="*/ 168080 w 361461"/>
                <a:gd name="connsiteY20" fmla="*/ 7620 h 333375"/>
                <a:gd name="connsiteX21" fmla="*/ 268052 w 361461"/>
                <a:gd name="connsiteY21" fmla="*/ 71438 h 333375"/>
                <a:gd name="connsiteX22" fmla="*/ 292118 w 361461"/>
                <a:gd name="connsiteY22" fmla="*/ 95536 h 333375"/>
                <a:gd name="connsiteX23" fmla="*/ 326362 w 361461"/>
                <a:gd name="connsiteY23" fmla="*/ 83439 h 333375"/>
                <a:gd name="connsiteX24" fmla="*/ 339013 w 361461"/>
                <a:gd name="connsiteY24" fmla="*/ 105251 h 333375"/>
                <a:gd name="connsiteX25" fmla="*/ 337206 w 361461"/>
                <a:gd name="connsiteY25" fmla="*/ 104394 h 333375"/>
                <a:gd name="connsiteX26" fmla="*/ 326362 w 361461"/>
                <a:gd name="connsiteY26" fmla="*/ 85344 h 333375"/>
                <a:gd name="connsiteX27" fmla="*/ 292118 w 361461"/>
                <a:gd name="connsiteY27" fmla="*/ 97441 h 333375"/>
                <a:gd name="connsiteX28" fmla="*/ 267482 w 361461"/>
                <a:gd name="connsiteY28" fmla="*/ 72866 h 333375"/>
                <a:gd name="connsiteX29" fmla="*/ 266245 w 361461"/>
                <a:gd name="connsiteY29" fmla="*/ 71914 h 333375"/>
                <a:gd name="connsiteX30" fmla="*/ 267482 w 361461"/>
                <a:gd name="connsiteY30" fmla="*/ 70580 h 333375"/>
                <a:gd name="connsiteX31" fmla="*/ 268052 w 361461"/>
                <a:gd name="connsiteY31" fmla="*/ 71056 h 333375"/>
                <a:gd name="connsiteX32" fmla="*/ 312189 w 361461"/>
                <a:gd name="connsiteY32" fmla="*/ 130588 h 333375"/>
                <a:gd name="connsiteX33" fmla="*/ 320559 w 361461"/>
                <a:gd name="connsiteY33" fmla="*/ 162592 h 333375"/>
                <a:gd name="connsiteX34" fmla="*/ 356230 w 361461"/>
                <a:gd name="connsiteY34" fmla="*/ 169164 h 333375"/>
                <a:gd name="connsiteX35" fmla="*/ 356230 w 361461"/>
                <a:gd name="connsiteY35" fmla="*/ 171450 h 333375"/>
                <a:gd name="connsiteX36" fmla="*/ 320559 w 361461"/>
                <a:gd name="connsiteY36" fmla="*/ 164878 h 333375"/>
                <a:gd name="connsiteX37" fmla="*/ 311047 w 361461"/>
                <a:gd name="connsiteY37" fmla="*/ 131159 h 333375"/>
                <a:gd name="connsiteX38" fmla="*/ 309620 w 361461"/>
                <a:gd name="connsiteY38" fmla="*/ 128016 h 333375"/>
                <a:gd name="connsiteX39" fmla="*/ 311047 w 361461"/>
                <a:gd name="connsiteY39" fmla="*/ 128873 h 333375"/>
                <a:gd name="connsiteX40" fmla="*/ 311808 w 361461"/>
                <a:gd name="connsiteY40" fmla="*/ 130588 h 333375"/>
                <a:gd name="connsiteX41" fmla="*/ 312189 w 361461"/>
                <a:gd name="connsiteY41" fmla="*/ 235363 h 333375"/>
                <a:gd name="connsiteX42" fmla="*/ 339774 w 361461"/>
                <a:gd name="connsiteY42" fmla="*/ 258890 h 333375"/>
                <a:gd name="connsiteX43" fmla="*/ 337967 w 361461"/>
                <a:gd name="connsiteY43" fmla="*/ 259651 h 333375"/>
                <a:gd name="connsiteX44" fmla="*/ 310857 w 361461"/>
                <a:gd name="connsiteY44" fmla="*/ 236506 h 333375"/>
                <a:gd name="connsiteX45" fmla="*/ 312189 w 361461"/>
                <a:gd name="connsiteY45" fmla="*/ 235363 h 333375"/>
                <a:gd name="connsiteX46" fmla="*/ 268338 w 361461"/>
                <a:gd name="connsiteY46" fmla="*/ 293370 h 333375"/>
                <a:gd name="connsiteX47" fmla="*/ 280513 w 361461"/>
                <a:gd name="connsiteY47" fmla="*/ 327660 h 333375"/>
                <a:gd name="connsiteX48" fmla="*/ 279181 w 361461"/>
                <a:gd name="connsiteY48" fmla="*/ 326136 h 333375"/>
                <a:gd name="connsiteX49" fmla="*/ 267006 w 361461"/>
                <a:gd name="connsiteY49" fmla="*/ 292132 h 333375"/>
                <a:gd name="connsiteX50" fmla="*/ 268338 w 361461"/>
                <a:gd name="connsiteY50" fmla="*/ 293370 h 333375"/>
                <a:gd name="connsiteX51" fmla="*/ 83897 w 361461"/>
                <a:gd name="connsiteY51" fmla="*/ 328041 h 333375"/>
                <a:gd name="connsiteX52" fmla="*/ 95882 w 361461"/>
                <a:gd name="connsiteY52" fmla="*/ 293751 h 333375"/>
                <a:gd name="connsiteX53" fmla="*/ 97119 w 361461"/>
                <a:gd name="connsiteY53" fmla="*/ 292417 h 333375"/>
                <a:gd name="connsiteX54" fmla="*/ 85229 w 361461"/>
                <a:gd name="connsiteY54" fmla="*/ 326517 h 333375"/>
                <a:gd name="connsiteX55" fmla="*/ 83897 w 361461"/>
                <a:gd name="connsiteY55" fmla="*/ 328041 h 333375"/>
                <a:gd name="connsiteX56" fmla="*/ 24446 w 361461"/>
                <a:gd name="connsiteY56" fmla="*/ 259461 h 333375"/>
                <a:gd name="connsiteX57" fmla="*/ 51936 w 361461"/>
                <a:gd name="connsiteY57" fmla="*/ 235839 h 333375"/>
                <a:gd name="connsiteX58" fmla="*/ 53268 w 361461"/>
                <a:gd name="connsiteY58" fmla="*/ 236887 h 333375"/>
                <a:gd name="connsiteX59" fmla="*/ 26063 w 361461"/>
                <a:gd name="connsiteY59" fmla="*/ 260413 h 333375"/>
                <a:gd name="connsiteX60" fmla="*/ 24446 w 361461"/>
                <a:gd name="connsiteY60" fmla="*/ 259461 h 333375"/>
                <a:gd name="connsiteX61" fmla="*/ 7134 w 361461"/>
                <a:gd name="connsiteY61" fmla="*/ 172593 h 333375"/>
                <a:gd name="connsiteX62" fmla="*/ 7134 w 361461"/>
                <a:gd name="connsiteY62" fmla="*/ 170307 h 333375"/>
                <a:gd name="connsiteX63" fmla="*/ 42805 w 361461"/>
                <a:gd name="connsiteY63" fmla="*/ 163544 h 333375"/>
                <a:gd name="connsiteX64" fmla="*/ 51080 w 361461"/>
                <a:gd name="connsiteY64" fmla="*/ 131540 h 333375"/>
                <a:gd name="connsiteX65" fmla="*/ 51746 w 361461"/>
                <a:gd name="connsiteY65" fmla="*/ 129826 h 333375"/>
                <a:gd name="connsiteX66" fmla="*/ 53078 w 361461"/>
                <a:gd name="connsiteY66" fmla="*/ 128778 h 333375"/>
                <a:gd name="connsiteX67" fmla="*/ 42805 w 361461"/>
                <a:gd name="connsiteY67" fmla="*/ 165830 h 333375"/>
                <a:gd name="connsiteX68" fmla="*/ 7134 w 361461"/>
                <a:gd name="connsiteY68" fmla="*/ 172593 h 333375"/>
                <a:gd name="connsiteX69" fmla="*/ 24066 w 361461"/>
                <a:gd name="connsiteY69" fmla="*/ 105918 h 333375"/>
                <a:gd name="connsiteX70" fmla="*/ 36622 w 361461"/>
                <a:gd name="connsiteY70" fmla="*/ 84106 h 333375"/>
                <a:gd name="connsiteX71" fmla="*/ 70009 w 361461"/>
                <a:gd name="connsiteY71" fmla="*/ 96488 h 333375"/>
                <a:gd name="connsiteX72" fmla="*/ 93885 w 361461"/>
                <a:gd name="connsiteY72" fmla="*/ 72295 h 333375"/>
                <a:gd name="connsiteX73" fmla="*/ 94551 w 361461"/>
                <a:gd name="connsiteY73" fmla="*/ 72295 h 333375"/>
                <a:gd name="connsiteX74" fmla="*/ 95882 w 361461"/>
                <a:gd name="connsiteY74" fmla="*/ 73628 h 333375"/>
                <a:gd name="connsiteX75" fmla="*/ 94551 w 361461"/>
                <a:gd name="connsiteY75" fmla="*/ 74581 h 333375"/>
                <a:gd name="connsiteX76" fmla="*/ 70009 w 361461"/>
                <a:gd name="connsiteY76" fmla="*/ 99250 h 333375"/>
                <a:gd name="connsiteX77" fmla="*/ 35671 w 361461"/>
                <a:gd name="connsiteY77" fmla="*/ 87249 h 333375"/>
                <a:gd name="connsiteX78" fmla="*/ 24922 w 361461"/>
                <a:gd name="connsiteY78" fmla="*/ 106299 h 333375"/>
                <a:gd name="connsiteX79" fmla="*/ 23115 w 361461"/>
                <a:gd name="connsiteY79" fmla="*/ 107061 h 333375"/>
                <a:gd name="connsiteX80" fmla="*/ 249028 w 361461"/>
                <a:gd name="connsiteY80" fmla="*/ 130397 h 333375"/>
                <a:gd name="connsiteX81" fmla="*/ 266721 w 361461"/>
                <a:gd name="connsiteY81" fmla="*/ 182213 h 333375"/>
                <a:gd name="connsiteX82" fmla="*/ 266721 w 361461"/>
                <a:gd name="connsiteY82" fmla="*/ 183642 h 333375"/>
                <a:gd name="connsiteX83" fmla="*/ 246555 w 361461"/>
                <a:gd name="connsiteY83" fmla="*/ 129254 h 333375"/>
                <a:gd name="connsiteX84" fmla="*/ 248457 w 361461"/>
                <a:gd name="connsiteY84" fmla="*/ 129254 h 333375"/>
                <a:gd name="connsiteX85" fmla="*/ 249504 w 361461"/>
                <a:gd name="connsiteY85" fmla="*/ 130492 h 333375"/>
                <a:gd name="connsiteX86" fmla="*/ 247506 w 361461"/>
                <a:gd name="connsiteY86" fmla="*/ 235172 h 333375"/>
                <a:gd name="connsiteX87" fmla="*/ 245508 w 361461"/>
                <a:gd name="connsiteY87" fmla="*/ 235172 h 333375"/>
                <a:gd name="connsiteX88" fmla="*/ 269669 w 361461"/>
                <a:gd name="connsiteY88" fmla="*/ 259175 h 333375"/>
                <a:gd name="connsiteX89" fmla="*/ 297255 w 361461"/>
                <a:gd name="connsiteY89" fmla="*/ 182975 h 333375"/>
                <a:gd name="connsiteX90" fmla="*/ 297255 w 361461"/>
                <a:gd name="connsiteY90" fmla="*/ 182023 h 333375"/>
                <a:gd name="connsiteX91" fmla="*/ 269669 w 361461"/>
                <a:gd name="connsiteY91" fmla="*/ 256413 h 333375"/>
                <a:gd name="connsiteX92" fmla="*/ 247506 w 361461"/>
                <a:gd name="connsiteY92" fmla="*/ 234410 h 333375"/>
                <a:gd name="connsiteX93" fmla="*/ 234379 w 361461"/>
                <a:gd name="connsiteY93" fmla="*/ 115538 h 333375"/>
                <a:gd name="connsiteX94" fmla="*/ 256352 w 361461"/>
                <a:gd name="connsiteY94" fmla="*/ 93440 h 333375"/>
                <a:gd name="connsiteX95" fmla="*/ 258825 w 361461"/>
                <a:gd name="connsiteY95" fmla="*/ 93440 h 333375"/>
                <a:gd name="connsiteX96" fmla="*/ 234379 w 361461"/>
                <a:gd name="connsiteY96" fmla="*/ 118015 h 333375"/>
                <a:gd name="connsiteX97" fmla="*/ 127273 w 361461"/>
                <a:gd name="connsiteY97" fmla="*/ 118015 h 333375"/>
                <a:gd name="connsiteX98" fmla="*/ 102921 w 361461"/>
                <a:gd name="connsiteY98" fmla="*/ 93726 h 333375"/>
                <a:gd name="connsiteX99" fmla="*/ 105204 w 361461"/>
                <a:gd name="connsiteY99" fmla="*/ 93726 h 333375"/>
                <a:gd name="connsiteX100" fmla="*/ 127273 w 361461"/>
                <a:gd name="connsiteY100" fmla="*/ 115538 h 333375"/>
                <a:gd name="connsiteX101" fmla="*/ 234379 w 361461"/>
                <a:gd name="connsiteY101" fmla="*/ 115538 h 333375"/>
                <a:gd name="connsiteX102" fmla="*/ 107582 w 361461"/>
                <a:gd name="connsiteY102" fmla="*/ 272986 h 333375"/>
                <a:gd name="connsiteX103" fmla="*/ 254640 w 361461"/>
                <a:gd name="connsiteY103" fmla="*/ 272986 h 333375"/>
                <a:gd name="connsiteX104" fmla="*/ 255972 w 361461"/>
                <a:gd name="connsiteY104" fmla="*/ 271939 h 333375"/>
                <a:gd name="connsiteX105" fmla="*/ 258445 w 361461"/>
                <a:gd name="connsiteY105" fmla="*/ 271939 h 333375"/>
                <a:gd name="connsiteX106" fmla="*/ 103778 w 361461"/>
                <a:gd name="connsiteY106" fmla="*/ 271939 h 333375"/>
                <a:gd name="connsiteX107" fmla="*/ 106346 w 361461"/>
                <a:gd name="connsiteY107" fmla="*/ 271939 h 333375"/>
                <a:gd name="connsiteX108" fmla="*/ 107582 w 361461"/>
                <a:gd name="connsiteY108" fmla="*/ 272986 h 333375"/>
                <a:gd name="connsiteX109" fmla="*/ 92173 w 361461"/>
                <a:gd name="connsiteY109" fmla="*/ 258413 h 333375"/>
                <a:gd name="connsiteX110" fmla="*/ 114241 w 361461"/>
                <a:gd name="connsiteY110" fmla="*/ 236315 h 333375"/>
                <a:gd name="connsiteX111" fmla="*/ 116238 w 361461"/>
                <a:gd name="connsiteY111" fmla="*/ 236315 h 333375"/>
                <a:gd name="connsiteX112" fmla="*/ 92173 w 361461"/>
                <a:gd name="connsiteY112" fmla="*/ 260413 h 333375"/>
                <a:gd name="connsiteX113" fmla="*/ 64302 w 361461"/>
                <a:gd name="connsiteY113" fmla="*/ 184785 h 333375"/>
                <a:gd name="connsiteX114" fmla="*/ 64302 w 361461"/>
                <a:gd name="connsiteY114" fmla="*/ 183832 h 333375"/>
                <a:gd name="connsiteX115" fmla="*/ 92173 w 361461"/>
                <a:gd name="connsiteY115" fmla="*/ 258127 h 333375"/>
                <a:gd name="connsiteX116" fmla="*/ 95312 w 361461"/>
                <a:gd name="connsiteY116" fmla="*/ 183642 h 333375"/>
                <a:gd name="connsiteX117" fmla="*/ 95312 w 361461"/>
                <a:gd name="connsiteY117" fmla="*/ 182213 h 333375"/>
                <a:gd name="connsiteX118" fmla="*/ 112338 w 361461"/>
                <a:gd name="connsiteY118" fmla="*/ 130588 h 333375"/>
                <a:gd name="connsiteX119" fmla="*/ 113290 w 361461"/>
                <a:gd name="connsiteY119" fmla="*/ 129349 h 333375"/>
                <a:gd name="connsiteX120" fmla="*/ 115382 w 361461"/>
                <a:gd name="connsiteY120" fmla="*/ 129349 h 333375"/>
                <a:gd name="connsiteX121" fmla="*/ 113385 w 361461"/>
                <a:gd name="connsiteY121" fmla="*/ 131826 h 333375"/>
                <a:gd name="connsiteX122" fmla="*/ 95312 w 361461"/>
                <a:gd name="connsiteY122" fmla="*/ 183261 h 333375"/>
                <a:gd name="connsiteX123" fmla="*/ 239135 w 361461"/>
                <a:gd name="connsiteY123" fmla="*/ 183642 h 333375"/>
                <a:gd name="connsiteX124" fmla="*/ 181016 w 361461"/>
                <a:gd name="connsiteY124" fmla="*/ 241840 h 333375"/>
                <a:gd name="connsiteX125" fmla="*/ 122897 w 361461"/>
                <a:gd name="connsiteY125" fmla="*/ 183642 h 333375"/>
                <a:gd name="connsiteX126" fmla="*/ 122897 w 361461"/>
                <a:gd name="connsiteY126" fmla="*/ 184975 h 333375"/>
                <a:gd name="connsiteX127" fmla="*/ 181016 w 361461"/>
                <a:gd name="connsiteY127" fmla="*/ 243173 h 333375"/>
                <a:gd name="connsiteX128" fmla="*/ 239135 w 361461"/>
                <a:gd name="connsiteY128" fmla="*/ 184975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361461" h="333375">
                  <a:moveTo>
                    <a:pt x="168080" y="7144"/>
                  </a:moveTo>
                  <a:lnTo>
                    <a:pt x="193192" y="7144"/>
                  </a:lnTo>
                  <a:lnTo>
                    <a:pt x="199945" y="42863"/>
                  </a:lnTo>
                  <a:cubicBezTo>
                    <a:pt x="211495" y="44448"/>
                    <a:pt x="222805" y="47455"/>
                    <a:pt x="233618" y="51816"/>
                  </a:cubicBezTo>
                  <a:lnTo>
                    <a:pt x="257208" y="24194"/>
                  </a:lnTo>
                  <a:lnTo>
                    <a:pt x="278991" y="36767"/>
                  </a:lnTo>
                  <a:lnTo>
                    <a:pt x="277660" y="38290"/>
                  </a:lnTo>
                  <a:lnTo>
                    <a:pt x="257208" y="26479"/>
                  </a:lnTo>
                  <a:lnTo>
                    <a:pt x="233618" y="54102"/>
                  </a:lnTo>
                  <a:cubicBezTo>
                    <a:pt x="222805" y="49741"/>
                    <a:pt x="211495" y="46734"/>
                    <a:pt x="199945" y="45148"/>
                  </a:cubicBezTo>
                  <a:lnTo>
                    <a:pt x="193192" y="9430"/>
                  </a:lnTo>
                  <a:lnTo>
                    <a:pt x="168080" y="9430"/>
                  </a:lnTo>
                  <a:lnTo>
                    <a:pt x="161516" y="45148"/>
                  </a:lnTo>
                  <a:cubicBezTo>
                    <a:pt x="149942" y="46920"/>
                    <a:pt x="138632" y="50119"/>
                    <a:pt x="127843" y="54673"/>
                  </a:cubicBezTo>
                  <a:lnTo>
                    <a:pt x="104158" y="27146"/>
                  </a:lnTo>
                  <a:lnTo>
                    <a:pt x="83802" y="38957"/>
                  </a:lnTo>
                  <a:lnTo>
                    <a:pt x="82470" y="37433"/>
                  </a:lnTo>
                  <a:lnTo>
                    <a:pt x="104158" y="24860"/>
                  </a:lnTo>
                  <a:lnTo>
                    <a:pt x="127843" y="52388"/>
                  </a:lnTo>
                  <a:cubicBezTo>
                    <a:pt x="138638" y="47952"/>
                    <a:pt x="149954" y="44912"/>
                    <a:pt x="161516" y="43339"/>
                  </a:cubicBezTo>
                  <a:lnTo>
                    <a:pt x="168080" y="7620"/>
                  </a:lnTo>
                  <a:close/>
                  <a:moveTo>
                    <a:pt x="268052" y="71438"/>
                  </a:moveTo>
                  <a:cubicBezTo>
                    <a:pt x="277020" y="78464"/>
                    <a:pt x="285101" y="86556"/>
                    <a:pt x="292118" y="95536"/>
                  </a:cubicBezTo>
                  <a:lnTo>
                    <a:pt x="326362" y="83439"/>
                  </a:lnTo>
                  <a:lnTo>
                    <a:pt x="339013" y="105251"/>
                  </a:lnTo>
                  <a:lnTo>
                    <a:pt x="337206" y="104394"/>
                  </a:lnTo>
                  <a:lnTo>
                    <a:pt x="326362" y="85344"/>
                  </a:lnTo>
                  <a:lnTo>
                    <a:pt x="292118" y="97441"/>
                  </a:lnTo>
                  <a:cubicBezTo>
                    <a:pt x="284958" y="88255"/>
                    <a:pt x="276682" y="80000"/>
                    <a:pt x="267482" y="72866"/>
                  </a:cubicBezTo>
                  <a:lnTo>
                    <a:pt x="266245" y="71914"/>
                  </a:lnTo>
                  <a:lnTo>
                    <a:pt x="267482" y="70580"/>
                  </a:lnTo>
                  <a:lnTo>
                    <a:pt x="268052" y="71056"/>
                  </a:lnTo>
                  <a:close/>
                  <a:moveTo>
                    <a:pt x="312189" y="130588"/>
                  </a:moveTo>
                  <a:cubicBezTo>
                    <a:pt x="316199" y="140898"/>
                    <a:pt x="319008" y="151637"/>
                    <a:pt x="320559" y="162592"/>
                  </a:cubicBezTo>
                  <a:lnTo>
                    <a:pt x="356230" y="169164"/>
                  </a:lnTo>
                  <a:lnTo>
                    <a:pt x="356230" y="171450"/>
                  </a:lnTo>
                  <a:lnTo>
                    <a:pt x="320559" y="164878"/>
                  </a:lnTo>
                  <a:cubicBezTo>
                    <a:pt x="318823" y="153281"/>
                    <a:pt x="315627" y="141952"/>
                    <a:pt x="311047" y="131159"/>
                  </a:cubicBezTo>
                  <a:lnTo>
                    <a:pt x="309620" y="128016"/>
                  </a:lnTo>
                  <a:lnTo>
                    <a:pt x="311047" y="128873"/>
                  </a:lnTo>
                  <a:lnTo>
                    <a:pt x="311808" y="130588"/>
                  </a:lnTo>
                  <a:close/>
                  <a:moveTo>
                    <a:pt x="312189" y="235363"/>
                  </a:moveTo>
                  <a:lnTo>
                    <a:pt x="339774" y="258890"/>
                  </a:lnTo>
                  <a:lnTo>
                    <a:pt x="337967" y="259651"/>
                  </a:lnTo>
                  <a:lnTo>
                    <a:pt x="310857" y="236506"/>
                  </a:lnTo>
                  <a:lnTo>
                    <a:pt x="312189" y="235363"/>
                  </a:lnTo>
                  <a:close/>
                  <a:moveTo>
                    <a:pt x="268338" y="293370"/>
                  </a:moveTo>
                  <a:lnTo>
                    <a:pt x="280513" y="327660"/>
                  </a:lnTo>
                  <a:lnTo>
                    <a:pt x="279181" y="326136"/>
                  </a:lnTo>
                  <a:lnTo>
                    <a:pt x="267006" y="292132"/>
                  </a:lnTo>
                  <a:lnTo>
                    <a:pt x="268338" y="293370"/>
                  </a:lnTo>
                  <a:close/>
                  <a:moveTo>
                    <a:pt x="83897" y="328041"/>
                  </a:moveTo>
                  <a:lnTo>
                    <a:pt x="95882" y="293751"/>
                  </a:lnTo>
                  <a:lnTo>
                    <a:pt x="97119" y="292417"/>
                  </a:lnTo>
                  <a:lnTo>
                    <a:pt x="85229" y="326517"/>
                  </a:lnTo>
                  <a:lnTo>
                    <a:pt x="83897" y="328041"/>
                  </a:lnTo>
                  <a:close/>
                  <a:moveTo>
                    <a:pt x="24446" y="259461"/>
                  </a:moveTo>
                  <a:lnTo>
                    <a:pt x="51936" y="235839"/>
                  </a:lnTo>
                  <a:lnTo>
                    <a:pt x="53268" y="236887"/>
                  </a:lnTo>
                  <a:lnTo>
                    <a:pt x="26063" y="260413"/>
                  </a:lnTo>
                  <a:lnTo>
                    <a:pt x="24446" y="259461"/>
                  </a:lnTo>
                  <a:close/>
                  <a:moveTo>
                    <a:pt x="7134" y="172593"/>
                  </a:moveTo>
                  <a:lnTo>
                    <a:pt x="7134" y="170307"/>
                  </a:lnTo>
                  <a:lnTo>
                    <a:pt x="42805" y="163544"/>
                  </a:lnTo>
                  <a:cubicBezTo>
                    <a:pt x="44279" y="152584"/>
                    <a:pt x="47057" y="141840"/>
                    <a:pt x="51080" y="131540"/>
                  </a:cubicBezTo>
                  <a:lnTo>
                    <a:pt x="51746" y="129826"/>
                  </a:lnTo>
                  <a:lnTo>
                    <a:pt x="53078" y="128778"/>
                  </a:lnTo>
                  <a:cubicBezTo>
                    <a:pt x="48056" y="140628"/>
                    <a:pt x="44602" y="153084"/>
                    <a:pt x="42805" y="165830"/>
                  </a:cubicBezTo>
                  <a:lnTo>
                    <a:pt x="7134" y="172593"/>
                  </a:lnTo>
                  <a:close/>
                  <a:moveTo>
                    <a:pt x="24066" y="105918"/>
                  </a:moveTo>
                  <a:lnTo>
                    <a:pt x="36622" y="84106"/>
                  </a:lnTo>
                  <a:lnTo>
                    <a:pt x="70009" y="96488"/>
                  </a:lnTo>
                  <a:cubicBezTo>
                    <a:pt x="76958" y="87483"/>
                    <a:pt x="84975" y="79359"/>
                    <a:pt x="93885" y="72295"/>
                  </a:cubicBezTo>
                  <a:lnTo>
                    <a:pt x="94551" y="72295"/>
                  </a:lnTo>
                  <a:lnTo>
                    <a:pt x="95882" y="73628"/>
                  </a:lnTo>
                  <a:lnTo>
                    <a:pt x="94551" y="74581"/>
                  </a:lnTo>
                  <a:cubicBezTo>
                    <a:pt x="85378" y="81750"/>
                    <a:pt x="77134" y="90037"/>
                    <a:pt x="70009" y="99250"/>
                  </a:cubicBezTo>
                  <a:lnTo>
                    <a:pt x="35671" y="87249"/>
                  </a:lnTo>
                  <a:lnTo>
                    <a:pt x="24922" y="106299"/>
                  </a:lnTo>
                  <a:lnTo>
                    <a:pt x="23115" y="107061"/>
                  </a:lnTo>
                  <a:close/>
                  <a:moveTo>
                    <a:pt x="249028" y="130397"/>
                  </a:moveTo>
                  <a:cubicBezTo>
                    <a:pt x="260424" y="145268"/>
                    <a:pt x="266639" y="163469"/>
                    <a:pt x="266721" y="182213"/>
                  </a:cubicBezTo>
                  <a:lnTo>
                    <a:pt x="266721" y="183642"/>
                  </a:lnTo>
                  <a:cubicBezTo>
                    <a:pt x="266515" y="163717"/>
                    <a:pt x="259385" y="144486"/>
                    <a:pt x="246555" y="129254"/>
                  </a:cubicBezTo>
                  <a:lnTo>
                    <a:pt x="248457" y="129254"/>
                  </a:lnTo>
                  <a:lnTo>
                    <a:pt x="249504" y="130492"/>
                  </a:lnTo>
                  <a:close/>
                  <a:moveTo>
                    <a:pt x="247506" y="235172"/>
                  </a:moveTo>
                  <a:lnTo>
                    <a:pt x="245508" y="235172"/>
                  </a:lnTo>
                  <a:lnTo>
                    <a:pt x="269669" y="259175"/>
                  </a:lnTo>
                  <a:cubicBezTo>
                    <a:pt x="287707" y="237918"/>
                    <a:pt x="297499" y="210869"/>
                    <a:pt x="297255" y="182975"/>
                  </a:cubicBezTo>
                  <a:lnTo>
                    <a:pt x="297255" y="182023"/>
                  </a:lnTo>
                  <a:cubicBezTo>
                    <a:pt x="297053" y="209291"/>
                    <a:pt x="287290" y="235621"/>
                    <a:pt x="269669" y="256413"/>
                  </a:cubicBezTo>
                  <a:lnTo>
                    <a:pt x="247506" y="234410"/>
                  </a:lnTo>
                  <a:close/>
                  <a:moveTo>
                    <a:pt x="234379" y="115538"/>
                  </a:moveTo>
                  <a:lnTo>
                    <a:pt x="256352" y="93440"/>
                  </a:lnTo>
                  <a:lnTo>
                    <a:pt x="258825" y="93440"/>
                  </a:lnTo>
                  <a:lnTo>
                    <a:pt x="234379" y="118015"/>
                  </a:lnTo>
                  <a:cubicBezTo>
                    <a:pt x="203086" y="92889"/>
                    <a:pt x="158566" y="92889"/>
                    <a:pt x="127273" y="118015"/>
                  </a:cubicBezTo>
                  <a:lnTo>
                    <a:pt x="102921" y="93726"/>
                  </a:lnTo>
                  <a:lnTo>
                    <a:pt x="105204" y="93726"/>
                  </a:lnTo>
                  <a:lnTo>
                    <a:pt x="127273" y="115538"/>
                  </a:lnTo>
                  <a:cubicBezTo>
                    <a:pt x="158566" y="90413"/>
                    <a:pt x="203086" y="90413"/>
                    <a:pt x="234379" y="115538"/>
                  </a:cubicBezTo>
                  <a:close/>
                  <a:moveTo>
                    <a:pt x="107582" y="272986"/>
                  </a:moveTo>
                  <a:cubicBezTo>
                    <a:pt x="150425" y="307835"/>
                    <a:pt x="211798" y="307835"/>
                    <a:pt x="254640" y="272986"/>
                  </a:cubicBezTo>
                  <a:lnTo>
                    <a:pt x="255972" y="271939"/>
                  </a:lnTo>
                  <a:lnTo>
                    <a:pt x="258445" y="271939"/>
                  </a:lnTo>
                  <a:cubicBezTo>
                    <a:pt x="214241" y="310928"/>
                    <a:pt x="147982" y="310928"/>
                    <a:pt x="103778" y="271939"/>
                  </a:cubicBezTo>
                  <a:lnTo>
                    <a:pt x="106346" y="271939"/>
                  </a:lnTo>
                  <a:lnTo>
                    <a:pt x="107582" y="272986"/>
                  </a:lnTo>
                  <a:close/>
                  <a:moveTo>
                    <a:pt x="92173" y="258413"/>
                  </a:moveTo>
                  <a:lnTo>
                    <a:pt x="114241" y="236315"/>
                  </a:lnTo>
                  <a:lnTo>
                    <a:pt x="116238" y="236315"/>
                  </a:lnTo>
                  <a:lnTo>
                    <a:pt x="92173" y="260413"/>
                  </a:lnTo>
                  <a:cubicBezTo>
                    <a:pt x="74168" y="239342"/>
                    <a:pt x="64283" y="212517"/>
                    <a:pt x="64302" y="184785"/>
                  </a:cubicBezTo>
                  <a:lnTo>
                    <a:pt x="64302" y="183832"/>
                  </a:lnTo>
                  <a:cubicBezTo>
                    <a:pt x="64630" y="211099"/>
                    <a:pt x="74492" y="237388"/>
                    <a:pt x="92173" y="258127"/>
                  </a:cubicBezTo>
                  <a:close/>
                  <a:moveTo>
                    <a:pt x="95312" y="183642"/>
                  </a:moveTo>
                  <a:lnTo>
                    <a:pt x="95312" y="182213"/>
                  </a:lnTo>
                  <a:cubicBezTo>
                    <a:pt x="95243" y="163611"/>
                    <a:pt x="101219" y="145490"/>
                    <a:pt x="112338" y="130588"/>
                  </a:cubicBezTo>
                  <a:lnTo>
                    <a:pt x="113290" y="129349"/>
                  </a:lnTo>
                  <a:lnTo>
                    <a:pt x="115382" y="129349"/>
                  </a:lnTo>
                  <a:lnTo>
                    <a:pt x="113385" y="131826"/>
                  </a:lnTo>
                  <a:cubicBezTo>
                    <a:pt x="101881" y="146517"/>
                    <a:pt x="95529" y="164593"/>
                    <a:pt x="95312" y="183261"/>
                  </a:cubicBezTo>
                  <a:close/>
                  <a:moveTo>
                    <a:pt x="239135" y="183642"/>
                  </a:moveTo>
                  <a:cubicBezTo>
                    <a:pt x="239135" y="215784"/>
                    <a:pt x="213114" y="241840"/>
                    <a:pt x="181016" y="241840"/>
                  </a:cubicBezTo>
                  <a:cubicBezTo>
                    <a:pt x="148918" y="241840"/>
                    <a:pt x="122897" y="215784"/>
                    <a:pt x="122897" y="183642"/>
                  </a:cubicBezTo>
                  <a:lnTo>
                    <a:pt x="122897" y="184975"/>
                  </a:lnTo>
                  <a:cubicBezTo>
                    <a:pt x="122897" y="217117"/>
                    <a:pt x="148918" y="243173"/>
                    <a:pt x="181016" y="243173"/>
                  </a:cubicBezTo>
                  <a:cubicBezTo>
                    <a:pt x="213114" y="243173"/>
                    <a:pt x="239135" y="217117"/>
                    <a:pt x="239135" y="184975"/>
                  </a:cubicBezTo>
                  <a:close/>
                </a:path>
              </a:pathLst>
            </a:custGeom>
            <a:solidFill>
              <a:schemeClr val="bg1">
                <a:lumMod val="95000"/>
              </a:schemeClr>
            </a:solidFill>
            <a:ln w="9525" cap="flat">
              <a:noFill/>
              <a:prstDash val="solid"/>
              <a:miter/>
            </a:ln>
            <a:effectLst>
              <a:outerShdw blurRad="50800" dist="38100" dir="2700000" algn="tl" rotWithShape="0">
                <a:prstClr val="black">
                  <a:alpha val="40000"/>
                </a:prstClr>
              </a:outerShdw>
            </a:effectLst>
          </p:spPr>
          <p:txBody>
            <a:bodyPr rtlCol="0" anchor="ctr"/>
            <a:lstStyle/>
            <a:p>
              <a:endParaRPr lang="en-US">
                <a:solidFill>
                  <a:schemeClr val="bg1">
                    <a:lumMod val="50000"/>
                  </a:schemeClr>
                </a:solidFill>
              </a:endParaRPr>
            </a:p>
          </p:txBody>
        </p:sp>
      </p:grpSp>
    </p:spTree>
    <p:custDataLst>
      <p:tags r:id="rId2"/>
    </p:custDataLst>
    <p:extLst>
      <p:ext uri="{BB962C8B-B14F-4D97-AF65-F5344CB8AC3E}">
        <p14:creationId xmlns:p14="http://schemas.microsoft.com/office/powerpoint/2010/main" val="1383256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0" nodeType="withEffect">
                                  <p:stCondLst>
                                    <p:cond delay="260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wipe(down)">
                                      <p:cBhvr>
                                        <p:cTn id="1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E18B07EE-A45E-4446-A223-5B883B13E13D}"/>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8" name="think-cell Slide" r:id="rId5" imgW="344" imgH="344" progId="TCLayout.ActiveDocument.1">
                  <p:embed/>
                </p:oleObj>
              </mc:Choice>
              <mc:Fallback>
                <p:oleObj name="think-cell Slide" r:id="rId5" imgW="344" imgH="344"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 xmlns:a16="http://schemas.microsoft.com/office/drawing/2014/main" id="{CA8813BB-D448-4521-9F33-B74EFDC2BCD9}"/>
              </a:ext>
            </a:extLst>
          </p:cNvPr>
          <p:cNvSpPr/>
          <p:nvPr/>
        </p:nvSpPr>
        <p:spPr>
          <a:xfrm>
            <a:off x="522514" y="2166484"/>
            <a:ext cx="10394881"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 xmlns:a16="http://schemas.microsoft.com/office/drawing/2014/main" id="{226F08B3-37B7-4D5C-80DD-85ECEA54CD23}"/>
              </a:ext>
            </a:extLst>
          </p:cNvPr>
          <p:cNvSpPr/>
          <p:nvPr/>
        </p:nvSpPr>
        <p:spPr>
          <a:xfrm>
            <a:off x="756069" y="1602762"/>
            <a:ext cx="10412674" cy="3725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Rectangle 31">
            <a:extLst>
              <a:ext uri="{FF2B5EF4-FFF2-40B4-BE49-F238E27FC236}">
                <a16:creationId xmlns="" xmlns:a16="http://schemas.microsoft.com/office/drawing/2014/main" id="{F176F74B-DE35-4053-92EC-B619D774A456}"/>
              </a:ext>
            </a:extLst>
          </p:cNvPr>
          <p:cNvSpPr/>
          <p:nvPr/>
        </p:nvSpPr>
        <p:spPr>
          <a:xfrm>
            <a:off x="10196661" y="3429000"/>
            <a:ext cx="471340" cy="445416"/>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Rectangle 32">
            <a:extLst>
              <a:ext uri="{FF2B5EF4-FFF2-40B4-BE49-F238E27FC236}">
                <a16:creationId xmlns="" xmlns:a16="http://schemas.microsoft.com/office/drawing/2014/main" id="{247245B7-D1D7-4330-8ECF-98990BE19DC0}"/>
              </a:ext>
            </a:extLst>
          </p:cNvPr>
          <p:cNvSpPr/>
          <p:nvPr/>
        </p:nvSpPr>
        <p:spPr>
          <a:xfrm>
            <a:off x="10196661" y="4041742"/>
            <a:ext cx="471340" cy="4454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Rectangle 34">
            <a:extLst>
              <a:ext uri="{FF2B5EF4-FFF2-40B4-BE49-F238E27FC236}">
                <a16:creationId xmlns="" xmlns:a16="http://schemas.microsoft.com/office/drawing/2014/main" id="{4AF2FAD2-AB80-4543-9B3E-B58399FA0C07}"/>
              </a:ext>
            </a:extLst>
          </p:cNvPr>
          <p:cNvSpPr/>
          <p:nvPr/>
        </p:nvSpPr>
        <p:spPr>
          <a:xfrm>
            <a:off x="10196661" y="4659237"/>
            <a:ext cx="471340" cy="44541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9" name="Partial Circle 180">
            <a:extLst>
              <a:ext uri="{FF2B5EF4-FFF2-40B4-BE49-F238E27FC236}">
                <a16:creationId xmlns="" xmlns:a16="http://schemas.microsoft.com/office/drawing/2014/main" id="{3A217F3A-56CB-49C9-A273-35E61A35FA7D}"/>
              </a:ext>
            </a:extLst>
          </p:cNvPr>
          <p:cNvSpPr/>
          <p:nvPr/>
        </p:nvSpPr>
        <p:spPr>
          <a:xfrm>
            <a:off x="6067249" y="1927873"/>
            <a:ext cx="3016672" cy="3016673"/>
          </a:xfrm>
          <a:prstGeom prst="pie">
            <a:avLst>
              <a:gd name="adj1" fmla="val 18659715"/>
              <a:gd name="adj2" fmla="val 7854079"/>
            </a:avLst>
          </a:prstGeom>
          <a:solidFill>
            <a:srgbClr val="D95C3F"/>
          </a:solidFill>
          <a:ln>
            <a:noFill/>
          </a:ln>
          <a:effectLst>
            <a:innerShdw blurRad="63500" dist="50800" dir="5400000">
              <a:prstClr val="black">
                <a:alpha val="35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40" name="Partial Circle 182">
            <a:extLst>
              <a:ext uri="{FF2B5EF4-FFF2-40B4-BE49-F238E27FC236}">
                <a16:creationId xmlns="" xmlns:a16="http://schemas.microsoft.com/office/drawing/2014/main" id="{74C55CE7-2C54-4384-80A3-CC205FDFD04B}"/>
              </a:ext>
            </a:extLst>
          </p:cNvPr>
          <p:cNvSpPr/>
          <p:nvPr/>
        </p:nvSpPr>
        <p:spPr>
          <a:xfrm>
            <a:off x="3425578" y="1927873"/>
            <a:ext cx="3016672" cy="3016673"/>
          </a:xfrm>
          <a:prstGeom prst="pie">
            <a:avLst>
              <a:gd name="adj1" fmla="val 7921138"/>
              <a:gd name="adj2" fmla="val 19057955"/>
            </a:avLst>
          </a:prstGeom>
          <a:solidFill>
            <a:srgbClr val="84CC68"/>
          </a:solidFill>
          <a:ln>
            <a:noFill/>
          </a:ln>
          <a:effectLst>
            <a:innerShdw blurRad="63500" dist="50800" dir="5400000">
              <a:prstClr val="black">
                <a:alpha val="35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41" name="Oval 40">
            <a:extLst>
              <a:ext uri="{FF2B5EF4-FFF2-40B4-BE49-F238E27FC236}">
                <a16:creationId xmlns="" xmlns:a16="http://schemas.microsoft.com/office/drawing/2014/main" id="{E9B1DEDC-82C9-4292-A48F-07E40540D917}"/>
              </a:ext>
            </a:extLst>
          </p:cNvPr>
          <p:cNvSpPr/>
          <p:nvPr/>
        </p:nvSpPr>
        <p:spPr>
          <a:xfrm rot="18836706">
            <a:off x="2594596" y="3136854"/>
            <a:ext cx="4492144" cy="475191"/>
          </a:xfrm>
          <a:prstGeom prst="ellipse">
            <a:avLst/>
          </a:prstGeom>
          <a:solidFill>
            <a:schemeClr val="tx1">
              <a:alpha val="29000"/>
            </a:scheme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2" name="Rectangle 7">
            <a:extLst>
              <a:ext uri="{FF2B5EF4-FFF2-40B4-BE49-F238E27FC236}">
                <a16:creationId xmlns="" xmlns:a16="http://schemas.microsoft.com/office/drawing/2014/main" id="{996AD0B3-53F8-46C4-8229-7F2AF567EC93}"/>
              </a:ext>
            </a:extLst>
          </p:cNvPr>
          <p:cNvSpPr/>
          <p:nvPr/>
        </p:nvSpPr>
        <p:spPr>
          <a:xfrm>
            <a:off x="3097002" y="1710179"/>
            <a:ext cx="5884241" cy="3403210"/>
          </a:xfrm>
          <a:custGeom>
            <a:avLst/>
            <a:gdLst>
              <a:gd name="connsiteX0" fmla="*/ 0 w 5272391"/>
              <a:gd name="connsiteY0" fmla="*/ 0 h 3667425"/>
              <a:gd name="connsiteX1" fmla="*/ 5272391 w 5272391"/>
              <a:gd name="connsiteY1" fmla="*/ 0 h 3667425"/>
              <a:gd name="connsiteX2" fmla="*/ 5272391 w 5272391"/>
              <a:gd name="connsiteY2" fmla="*/ 3667425 h 3667425"/>
              <a:gd name="connsiteX3" fmla="*/ 0 w 5272391"/>
              <a:gd name="connsiteY3" fmla="*/ 3667425 h 3667425"/>
              <a:gd name="connsiteX4" fmla="*/ 0 w 5272391"/>
              <a:gd name="connsiteY4" fmla="*/ 0 h 3667425"/>
              <a:gd name="connsiteX0" fmla="*/ 3122578 w 5272391"/>
              <a:gd name="connsiteY0" fmla="*/ 0 h 3677152"/>
              <a:gd name="connsiteX1" fmla="*/ 5272391 w 5272391"/>
              <a:gd name="connsiteY1" fmla="*/ 9727 h 3677152"/>
              <a:gd name="connsiteX2" fmla="*/ 5272391 w 5272391"/>
              <a:gd name="connsiteY2" fmla="*/ 3677152 h 3677152"/>
              <a:gd name="connsiteX3" fmla="*/ 0 w 5272391"/>
              <a:gd name="connsiteY3" fmla="*/ 3677152 h 3677152"/>
              <a:gd name="connsiteX4" fmla="*/ 3122578 w 5272391"/>
              <a:gd name="connsiteY4" fmla="*/ 0 h 3677152"/>
              <a:gd name="connsiteX0" fmla="*/ 2976663 w 5272391"/>
              <a:gd name="connsiteY0" fmla="*/ 0 h 3677152"/>
              <a:gd name="connsiteX1" fmla="*/ 5272391 w 5272391"/>
              <a:gd name="connsiteY1" fmla="*/ 9727 h 3677152"/>
              <a:gd name="connsiteX2" fmla="*/ 5272391 w 5272391"/>
              <a:gd name="connsiteY2" fmla="*/ 3677152 h 3677152"/>
              <a:gd name="connsiteX3" fmla="*/ 0 w 5272391"/>
              <a:gd name="connsiteY3" fmla="*/ 3677152 h 3677152"/>
              <a:gd name="connsiteX4" fmla="*/ 2976663 w 5272391"/>
              <a:gd name="connsiteY4" fmla="*/ 0 h 3677152"/>
              <a:gd name="connsiteX0" fmla="*/ 3424135 w 5719863"/>
              <a:gd name="connsiteY0" fmla="*/ 0 h 3677152"/>
              <a:gd name="connsiteX1" fmla="*/ 5719863 w 5719863"/>
              <a:gd name="connsiteY1" fmla="*/ 9727 h 3677152"/>
              <a:gd name="connsiteX2" fmla="*/ 5719863 w 5719863"/>
              <a:gd name="connsiteY2" fmla="*/ 3677152 h 3677152"/>
              <a:gd name="connsiteX3" fmla="*/ 0 w 5719863"/>
              <a:gd name="connsiteY3" fmla="*/ 3531237 h 3677152"/>
              <a:gd name="connsiteX4" fmla="*/ 3424135 w 5719863"/>
              <a:gd name="connsiteY4" fmla="*/ 0 h 3677152"/>
              <a:gd name="connsiteX0" fmla="*/ 3424135 w 5719863"/>
              <a:gd name="connsiteY0" fmla="*/ 0 h 3570147"/>
              <a:gd name="connsiteX1" fmla="*/ 5719863 w 5719863"/>
              <a:gd name="connsiteY1" fmla="*/ 9727 h 3570147"/>
              <a:gd name="connsiteX2" fmla="*/ 2840476 w 5719863"/>
              <a:gd name="connsiteY2" fmla="*/ 3570147 h 3570147"/>
              <a:gd name="connsiteX3" fmla="*/ 0 w 5719863"/>
              <a:gd name="connsiteY3" fmla="*/ 3531237 h 3570147"/>
              <a:gd name="connsiteX4" fmla="*/ 3424135 w 5719863"/>
              <a:gd name="connsiteY4" fmla="*/ 0 h 3570147"/>
              <a:gd name="connsiteX0" fmla="*/ 3424135 w 6079786"/>
              <a:gd name="connsiteY0" fmla="*/ 0 h 3570147"/>
              <a:gd name="connsiteX1" fmla="*/ 6079786 w 6079786"/>
              <a:gd name="connsiteY1" fmla="*/ 97276 h 3570147"/>
              <a:gd name="connsiteX2" fmla="*/ 2840476 w 6079786"/>
              <a:gd name="connsiteY2" fmla="*/ 3570147 h 3570147"/>
              <a:gd name="connsiteX3" fmla="*/ 0 w 6079786"/>
              <a:gd name="connsiteY3" fmla="*/ 3531237 h 3570147"/>
              <a:gd name="connsiteX4" fmla="*/ 3424135 w 6079786"/>
              <a:gd name="connsiteY4" fmla="*/ 0 h 3570147"/>
              <a:gd name="connsiteX0" fmla="*/ 3424135 w 6079786"/>
              <a:gd name="connsiteY0" fmla="*/ 0 h 3531237"/>
              <a:gd name="connsiteX1" fmla="*/ 6079786 w 6079786"/>
              <a:gd name="connsiteY1" fmla="*/ 97276 h 3531237"/>
              <a:gd name="connsiteX2" fmla="*/ 3132306 w 6079786"/>
              <a:gd name="connsiteY2" fmla="*/ 3531236 h 3531237"/>
              <a:gd name="connsiteX3" fmla="*/ 0 w 6079786"/>
              <a:gd name="connsiteY3" fmla="*/ 3531237 h 3531237"/>
              <a:gd name="connsiteX4" fmla="*/ 3424135 w 6079786"/>
              <a:gd name="connsiteY4" fmla="*/ 0 h 3531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9786" h="3531237">
                <a:moveTo>
                  <a:pt x="3424135" y="0"/>
                </a:moveTo>
                <a:lnTo>
                  <a:pt x="6079786" y="97276"/>
                </a:lnTo>
                <a:lnTo>
                  <a:pt x="3132306" y="3531236"/>
                </a:lnTo>
                <a:lnTo>
                  <a:pt x="0" y="3531237"/>
                </a:lnTo>
                <a:lnTo>
                  <a:pt x="3424135"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3" name="Oval 42">
            <a:extLst>
              <a:ext uri="{FF2B5EF4-FFF2-40B4-BE49-F238E27FC236}">
                <a16:creationId xmlns="" xmlns:a16="http://schemas.microsoft.com/office/drawing/2014/main" id="{8D470E3F-0817-430D-9AA9-42B703F3D260}"/>
              </a:ext>
            </a:extLst>
          </p:cNvPr>
          <p:cNvSpPr/>
          <p:nvPr/>
        </p:nvSpPr>
        <p:spPr>
          <a:xfrm>
            <a:off x="6513288" y="2396313"/>
            <a:ext cx="2079795" cy="2079793"/>
          </a:xfrm>
          <a:prstGeom prst="ellipse">
            <a:avLst/>
          </a:prstGeom>
          <a:gradFill flip="none" rotWithShape="1">
            <a:gsLst>
              <a:gs pos="0">
                <a:schemeClr val="bg1">
                  <a:lumMod val="85000"/>
                  <a:shade val="67500"/>
                  <a:satMod val="115000"/>
                </a:schemeClr>
              </a:gs>
              <a:gs pos="100000">
                <a:schemeClr val="bg1">
                  <a:lumMod val="95000"/>
                </a:schemeClr>
              </a:gs>
            </a:gsLst>
            <a:lin ang="13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4" name="Oval 43">
            <a:extLst>
              <a:ext uri="{FF2B5EF4-FFF2-40B4-BE49-F238E27FC236}">
                <a16:creationId xmlns="" xmlns:a16="http://schemas.microsoft.com/office/drawing/2014/main" id="{4283E2A4-FA2A-482F-8FD4-9CB896898DA1}"/>
              </a:ext>
            </a:extLst>
          </p:cNvPr>
          <p:cNvSpPr/>
          <p:nvPr/>
        </p:nvSpPr>
        <p:spPr>
          <a:xfrm>
            <a:off x="3916419" y="2385179"/>
            <a:ext cx="2079795" cy="2079793"/>
          </a:xfrm>
          <a:prstGeom prst="ellipse">
            <a:avLst/>
          </a:prstGeom>
          <a:gradFill flip="none" rotWithShape="1">
            <a:gsLst>
              <a:gs pos="0">
                <a:schemeClr val="bg1">
                  <a:lumMod val="85000"/>
                  <a:shade val="67500"/>
                  <a:satMod val="115000"/>
                </a:schemeClr>
              </a:gs>
              <a:gs pos="100000">
                <a:schemeClr val="bg1">
                  <a:lumMod val="95000"/>
                </a:schemeClr>
              </a:gs>
            </a:gsLst>
            <a:lin ang="13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5" name="Oval 44">
            <a:extLst>
              <a:ext uri="{FF2B5EF4-FFF2-40B4-BE49-F238E27FC236}">
                <a16:creationId xmlns="" xmlns:a16="http://schemas.microsoft.com/office/drawing/2014/main" id="{D5D0A4A2-6321-4E90-9B4E-FC85BA1B552E}"/>
              </a:ext>
            </a:extLst>
          </p:cNvPr>
          <p:cNvSpPr/>
          <p:nvPr/>
        </p:nvSpPr>
        <p:spPr>
          <a:xfrm>
            <a:off x="4069556" y="2538316"/>
            <a:ext cx="1773523" cy="1773521"/>
          </a:xfrm>
          <a:prstGeom prst="ellipse">
            <a:avLst/>
          </a:prstGeom>
          <a:gradFill flip="none" rotWithShape="1">
            <a:gsLst>
              <a:gs pos="100000">
                <a:srgbClr val="F1F2F3"/>
              </a:gs>
              <a:gs pos="100000">
                <a:srgbClr val="999CA5"/>
              </a:gs>
            </a:gsLst>
            <a:lin ang="5400000" scaled="1"/>
            <a:tileRect/>
          </a:gradFill>
          <a:ln>
            <a:gradFill>
              <a:gsLst>
                <a:gs pos="100000">
                  <a:srgbClr val="96979D"/>
                </a:gs>
                <a:gs pos="0">
                  <a:schemeClr val="bg1"/>
                </a:gs>
              </a:gsLst>
              <a:lin ang="5400000" scaled="1"/>
            </a:gradFill>
          </a:ln>
          <a:effectLst>
            <a:outerShdw blurRad="254000" dist="152400" dir="5400000" algn="t" rotWithShape="0">
              <a:prstClr val="black">
                <a:alpha val="5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IN" sz="2400"/>
          </a:p>
        </p:txBody>
      </p:sp>
      <p:sp>
        <p:nvSpPr>
          <p:cNvPr id="46" name="Oval 45">
            <a:extLst>
              <a:ext uri="{FF2B5EF4-FFF2-40B4-BE49-F238E27FC236}">
                <a16:creationId xmlns="" xmlns:a16="http://schemas.microsoft.com/office/drawing/2014/main" id="{858BD17A-EBF6-4D81-967C-840A6C1492A0}"/>
              </a:ext>
            </a:extLst>
          </p:cNvPr>
          <p:cNvSpPr/>
          <p:nvPr/>
        </p:nvSpPr>
        <p:spPr>
          <a:xfrm>
            <a:off x="6666425" y="2549449"/>
            <a:ext cx="1773523" cy="1773521"/>
          </a:xfrm>
          <a:prstGeom prst="ellipse">
            <a:avLst/>
          </a:prstGeom>
          <a:gradFill flip="none" rotWithShape="1">
            <a:gsLst>
              <a:gs pos="100000">
                <a:srgbClr val="F1F2F3"/>
              </a:gs>
              <a:gs pos="100000">
                <a:srgbClr val="999CA5"/>
              </a:gs>
            </a:gsLst>
            <a:lin ang="5400000" scaled="1"/>
            <a:tileRect/>
          </a:gradFill>
          <a:ln>
            <a:gradFill>
              <a:gsLst>
                <a:gs pos="100000">
                  <a:srgbClr val="96979D"/>
                </a:gs>
                <a:gs pos="0">
                  <a:schemeClr val="bg1"/>
                </a:gs>
              </a:gsLst>
              <a:lin ang="5400000" scaled="1"/>
            </a:gradFill>
          </a:ln>
          <a:effectLst>
            <a:outerShdw blurRad="254000" dist="152400" dir="5400000" algn="t" rotWithShape="0">
              <a:prstClr val="black">
                <a:alpha val="5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IN" sz="2400"/>
          </a:p>
        </p:txBody>
      </p:sp>
      <p:pic>
        <p:nvPicPr>
          <p:cNvPr id="47" name="Graphic 196" descr="Thumbs Down">
            <a:extLst>
              <a:ext uri="{FF2B5EF4-FFF2-40B4-BE49-F238E27FC236}">
                <a16:creationId xmlns="" xmlns:a16="http://schemas.microsoft.com/office/drawing/2014/main" id="{7C3E3176-5E11-43D2-8D1B-32CC6DAAFED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rcRect/>
          <a:stretch/>
        </p:blipFill>
        <p:spPr>
          <a:xfrm>
            <a:off x="7112561" y="2989863"/>
            <a:ext cx="881248" cy="881248"/>
          </a:xfrm>
          <a:prstGeom prst="rect">
            <a:avLst/>
          </a:prstGeom>
        </p:spPr>
      </p:pic>
      <p:pic>
        <p:nvPicPr>
          <p:cNvPr id="48" name="Graphic 197" descr="Thumbs Down">
            <a:extLst>
              <a:ext uri="{FF2B5EF4-FFF2-40B4-BE49-F238E27FC236}">
                <a16:creationId xmlns="" xmlns:a16="http://schemas.microsoft.com/office/drawing/2014/main" id="{DB41C1A8-A0B9-4E14-8845-6FFBCEEBFBFB}"/>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rcRect/>
          <a:stretch/>
        </p:blipFill>
        <p:spPr>
          <a:xfrm flipV="1">
            <a:off x="4515691" y="2989863"/>
            <a:ext cx="881248" cy="881248"/>
          </a:xfrm>
          <a:prstGeom prst="rect">
            <a:avLst/>
          </a:prstGeom>
        </p:spPr>
      </p:pic>
      <p:sp>
        <p:nvSpPr>
          <p:cNvPr id="3" name="TextBox 2"/>
          <p:cNvSpPr txBox="1"/>
          <p:nvPr/>
        </p:nvSpPr>
        <p:spPr>
          <a:xfrm>
            <a:off x="4585272" y="597774"/>
            <a:ext cx="2963953" cy="430887"/>
          </a:xfrm>
          <a:prstGeom prst="rect">
            <a:avLst/>
          </a:prstGeom>
          <a:noFill/>
        </p:spPr>
        <p:txBody>
          <a:bodyPr wrap="none" lIns="0" tIns="0" rIns="0" bIns="0" numCol="1" rtlCol="0">
            <a:spAutoFit/>
          </a:bodyPr>
          <a:lstStyle/>
          <a:p>
            <a:pPr algn="l"/>
            <a:r>
              <a:rPr lang="en-US" sz="2800" b="1" kern="0" dirty="0" smtClean="0">
                <a:solidFill>
                  <a:srgbClr val="FFC000"/>
                </a:solidFill>
                <a:latin typeface="Times New Roman" panose="02020603050405020304" pitchFamily="18" charset="0"/>
                <a:cs typeface="Times New Roman" panose="02020603050405020304" pitchFamily="18" charset="0"/>
              </a:rPr>
              <a:t>ANY QUESTIONS</a:t>
            </a:r>
          </a:p>
        </p:txBody>
      </p:sp>
    </p:spTree>
    <p:custDataLst>
      <p:tags r:id="rId2"/>
    </p:custDataLst>
    <p:extLst>
      <p:ext uri="{BB962C8B-B14F-4D97-AF65-F5344CB8AC3E}">
        <p14:creationId xmlns:p14="http://schemas.microsoft.com/office/powerpoint/2010/main" val="3258310255"/>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E18B07EE-A45E-4446-A223-5B883B13E13D}"/>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9" name="think-cell Slide" r:id="rId5" imgW="344" imgH="344" progId="TCLayout.ActiveDocument.1">
                  <p:embed/>
                </p:oleObj>
              </mc:Choice>
              <mc:Fallback>
                <p:oleObj name="think-cell Slide" r:id="rId5" imgW="344" imgH="344"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 xmlns:a16="http://schemas.microsoft.com/office/drawing/2014/main" id="{226F08B3-37B7-4D5C-80DD-85ECEA54CD23}"/>
              </a:ext>
            </a:extLst>
          </p:cNvPr>
          <p:cNvSpPr/>
          <p:nvPr/>
        </p:nvSpPr>
        <p:spPr>
          <a:xfrm>
            <a:off x="5500914" y="1566250"/>
            <a:ext cx="6691086" cy="3725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Rectangle 31">
            <a:extLst>
              <a:ext uri="{FF2B5EF4-FFF2-40B4-BE49-F238E27FC236}">
                <a16:creationId xmlns="" xmlns:a16="http://schemas.microsoft.com/office/drawing/2014/main" id="{F176F74B-DE35-4053-92EC-B619D774A456}"/>
              </a:ext>
            </a:extLst>
          </p:cNvPr>
          <p:cNvSpPr/>
          <p:nvPr/>
        </p:nvSpPr>
        <p:spPr>
          <a:xfrm>
            <a:off x="10196661" y="3429000"/>
            <a:ext cx="471340" cy="4454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Rectangle 32">
            <a:extLst>
              <a:ext uri="{FF2B5EF4-FFF2-40B4-BE49-F238E27FC236}">
                <a16:creationId xmlns="" xmlns:a16="http://schemas.microsoft.com/office/drawing/2014/main" id="{247245B7-D1D7-4330-8ECF-98990BE19DC0}"/>
              </a:ext>
            </a:extLst>
          </p:cNvPr>
          <p:cNvSpPr/>
          <p:nvPr/>
        </p:nvSpPr>
        <p:spPr>
          <a:xfrm>
            <a:off x="10196661" y="4041742"/>
            <a:ext cx="471340" cy="4454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4" name="Rectangle 33">
            <a:extLst>
              <a:ext uri="{FF2B5EF4-FFF2-40B4-BE49-F238E27FC236}">
                <a16:creationId xmlns="" xmlns:a16="http://schemas.microsoft.com/office/drawing/2014/main" id="{E0B573CB-73DE-4D2A-A793-A88698F8F168}"/>
              </a:ext>
            </a:extLst>
          </p:cNvPr>
          <p:cNvSpPr/>
          <p:nvPr/>
        </p:nvSpPr>
        <p:spPr>
          <a:xfrm>
            <a:off x="1164583" y="2020013"/>
            <a:ext cx="8672661" cy="3054284"/>
          </a:xfrm>
          <a:prstGeom prst="rect">
            <a:avLst/>
          </a:prstGeom>
          <a:solidFill>
            <a:schemeClr val="tx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sp>
        <p:nvSpPr>
          <p:cNvPr id="35" name="Rectangle 34">
            <a:extLst>
              <a:ext uri="{FF2B5EF4-FFF2-40B4-BE49-F238E27FC236}">
                <a16:creationId xmlns="" xmlns:a16="http://schemas.microsoft.com/office/drawing/2014/main" id="{4AF2FAD2-AB80-4543-9B3E-B58399FA0C07}"/>
              </a:ext>
            </a:extLst>
          </p:cNvPr>
          <p:cNvSpPr/>
          <p:nvPr/>
        </p:nvSpPr>
        <p:spPr>
          <a:xfrm>
            <a:off x="10196661" y="4659237"/>
            <a:ext cx="471340" cy="4454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TextBox 35">
            <a:extLst>
              <a:ext uri="{FF2B5EF4-FFF2-40B4-BE49-F238E27FC236}">
                <a16:creationId xmlns="" xmlns:a16="http://schemas.microsoft.com/office/drawing/2014/main" id="{5095B671-5F51-48FA-B130-27A4ADD6BFBC}"/>
              </a:ext>
            </a:extLst>
          </p:cNvPr>
          <p:cNvSpPr txBox="1"/>
          <p:nvPr/>
        </p:nvSpPr>
        <p:spPr>
          <a:xfrm>
            <a:off x="1995339" y="2623825"/>
            <a:ext cx="4791696" cy="923330"/>
          </a:xfrm>
          <a:prstGeom prst="rect">
            <a:avLst/>
          </a:prstGeom>
          <a:noFill/>
        </p:spPr>
        <p:txBody>
          <a:bodyPr wrap="none" rtlCol="0">
            <a:spAutoFit/>
          </a:bodyPr>
          <a:lstStyle/>
          <a:p>
            <a:r>
              <a:rPr lang="en-IN" sz="5400" b="1" dirty="0">
                <a:solidFill>
                  <a:schemeClr val="accent2">
                    <a:lumMod val="75000"/>
                  </a:schemeClr>
                </a:solidFill>
                <a:latin typeface="Verdana" panose="020B0604030504040204" pitchFamily="34" charset="0"/>
                <a:ea typeface="Verdana" panose="020B0604030504040204" pitchFamily="34" charset="0"/>
              </a:rPr>
              <a:t>THANK</a:t>
            </a:r>
            <a:r>
              <a:rPr lang="en-IN" sz="5400" b="1" dirty="0">
                <a:solidFill>
                  <a:schemeClr val="bg1"/>
                </a:solidFill>
                <a:latin typeface="Verdana" panose="020B0604030504040204" pitchFamily="34" charset="0"/>
                <a:ea typeface="Verdana" panose="020B0604030504040204" pitchFamily="34" charset="0"/>
              </a:rPr>
              <a:t> </a:t>
            </a:r>
            <a:r>
              <a:rPr lang="en-IN" sz="5400" b="1" dirty="0">
                <a:solidFill>
                  <a:schemeClr val="bg2"/>
                </a:solidFill>
                <a:latin typeface="Verdana" panose="020B0604030504040204" pitchFamily="34" charset="0"/>
                <a:ea typeface="Verdana" panose="020B0604030504040204" pitchFamily="34" charset="0"/>
              </a:rPr>
              <a:t>YOU</a:t>
            </a:r>
          </a:p>
        </p:txBody>
      </p:sp>
      <p:cxnSp>
        <p:nvCxnSpPr>
          <p:cNvPr id="37" name="Straight Connector 36">
            <a:extLst>
              <a:ext uri="{FF2B5EF4-FFF2-40B4-BE49-F238E27FC236}">
                <a16:creationId xmlns="" xmlns:a16="http://schemas.microsoft.com/office/drawing/2014/main" id="{2506B3C7-9383-4651-AB05-7D75BA8448D3}"/>
              </a:ext>
            </a:extLst>
          </p:cNvPr>
          <p:cNvCxnSpPr/>
          <p:nvPr/>
        </p:nvCxnSpPr>
        <p:spPr>
          <a:xfrm>
            <a:off x="1995339" y="3651708"/>
            <a:ext cx="53732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 xmlns:a16="http://schemas.microsoft.com/office/drawing/2014/main" id="{46405D18-42A3-4391-BE14-092BB0B23483}"/>
              </a:ext>
            </a:extLst>
          </p:cNvPr>
          <p:cNvSpPr txBox="1"/>
          <p:nvPr/>
        </p:nvSpPr>
        <p:spPr>
          <a:xfrm>
            <a:off x="1995339" y="3859921"/>
            <a:ext cx="5373280" cy="276999"/>
          </a:xfrm>
          <a:prstGeom prst="rect">
            <a:avLst/>
          </a:prstGeom>
          <a:noFill/>
        </p:spPr>
        <p:txBody>
          <a:bodyPr wrap="square" rtlCol="0">
            <a:spAutoFit/>
          </a:bodyPr>
          <a:lstStyle/>
          <a:p>
            <a:r>
              <a:rPr lang="en-US" sz="1200" dirty="0">
                <a:solidFill>
                  <a:schemeClr val="bg2"/>
                </a:solidFill>
                <a:latin typeface="Verdana" panose="020B0604030504040204" pitchFamily="34" charset="0"/>
                <a:ea typeface="Verdana" panose="020B0604030504040204" pitchFamily="34" charset="0"/>
              </a:rPr>
              <a:t>T</a:t>
            </a:r>
            <a:r>
              <a:rPr lang="en-US" sz="1200" dirty="0" smtClean="0">
                <a:solidFill>
                  <a:schemeClr val="bg2"/>
                </a:solidFill>
                <a:latin typeface="Verdana" panose="020B0604030504040204" pitchFamily="34" charset="0"/>
                <a:ea typeface="Verdana" panose="020B0604030504040204" pitchFamily="34" charset="0"/>
              </a:rPr>
              <a:t>hanks to everyone present here. </a:t>
            </a:r>
            <a:endParaRPr lang="en-US" sz="1200" dirty="0">
              <a:solidFill>
                <a:schemeClr val="bg2"/>
              </a:solidFill>
              <a:latin typeface="Verdana" panose="020B0604030504040204" pitchFamily="34" charset="0"/>
              <a:ea typeface="Verdana" panose="020B0604030504040204" pitchFamily="34" charset="0"/>
            </a:endParaRPr>
          </a:p>
        </p:txBody>
      </p:sp>
    </p:spTree>
    <p:custDataLst>
      <p:tags r:id="rId2"/>
    </p:custDataLst>
    <p:extLst>
      <p:ext uri="{BB962C8B-B14F-4D97-AF65-F5344CB8AC3E}">
        <p14:creationId xmlns:p14="http://schemas.microsoft.com/office/powerpoint/2010/main" val="3895282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22733E1C-109C-49C0-87D5-2F213696020B}"/>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1" name="think-cell Slide" r:id="rId7" imgW="344" imgH="344" progId="TCLayout.ActiveDocument.1">
                  <p:embed/>
                </p:oleObj>
              </mc:Choice>
              <mc:Fallback>
                <p:oleObj name="think-cell Slide" r:id="rId7" imgW="344" imgH="344" progId="TCLayout.ActiveDocument.1">
                  <p:embed/>
                  <p:pic>
                    <p:nvPicPr>
                      <p:cNvPr id="5" name="Object 4" hidden="1">
                        <a:extLst>
                          <a:ext uri="{FF2B5EF4-FFF2-40B4-BE49-F238E27FC236}">
                            <a16:creationId xmlns="" xmlns:a16="http://schemas.microsoft.com/office/drawing/2014/main" id="{22733E1C-109C-49C0-87D5-2F213696020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 xmlns:a16="http://schemas.microsoft.com/office/drawing/2014/main" id="{ECA4ACE5-10D3-415B-9571-45426C854FAB}"/>
              </a:ext>
            </a:extLst>
          </p:cNvPr>
          <p:cNvSpPr/>
          <p:nvPr>
            <p:custDataLst>
              <p:tags r:id="rId4"/>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8000"/>
              </a:lnSpc>
              <a:spcBef>
                <a:spcPct val="0"/>
              </a:spcBef>
              <a:spcAft>
                <a:spcPct val="0"/>
              </a:spcAft>
            </a:pPr>
            <a:endParaRPr lang="en-US" sz="3200" kern="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1">
            <a:extLst>
              <a:ext uri="{FF2B5EF4-FFF2-40B4-BE49-F238E27FC236}">
                <a16:creationId xmlns="" xmlns:a16="http://schemas.microsoft.com/office/drawing/2014/main" id="{E6836BFA-5538-4513-9B75-F06B323E2F63}"/>
              </a:ext>
            </a:extLst>
          </p:cNvPr>
          <p:cNvSpPr>
            <a:spLocks noGrp="1"/>
          </p:cNvSpPr>
          <p:nvPr>
            <p:ph type="title"/>
          </p:nvPr>
        </p:nvSpPr>
        <p:spPr/>
        <p:txBody>
          <a:bodyPr numCol="1"/>
          <a:lstStyle/>
          <a:p>
            <a:r>
              <a:rPr lang="en-IN" dirty="0" smtClean="0">
                <a:solidFill>
                  <a:srgbClr val="FFFF00"/>
                </a:solidFill>
                <a:latin typeface="Times New Roman" pitchFamily="18" charset="0"/>
                <a:cs typeface="Times New Roman" pitchFamily="18" charset="0"/>
              </a:rPr>
              <a:t>                                        CONTENT</a:t>
            </a:r>
            <a:endParaRPr lang="en-US" dirty="0"/>
          </a:p>
        </p:txBody>
      </p:sp>
      <p:sp>
        <p:nvSpPr>
          <p:cNvPr id="18" name="Rectangle 17">
            <a:extLst>
              <a:ext uri="{FF2B5EF4-FFF2-40B4-BE49-F238E27FC236}">
                <a16:creationId xmlns="" xmlns:a16="http://schemas.microsoft.com/office/drawing/2014/main" id="{06C75056-6086-4A85-BB1D-7757954AFB36}"/>
              </a:ext>
            </a:extLst>
          </p:cNvPr>
          <p:cNvSpPr/>
          <p:nvPr/>
        </p:nvSpPr>
        <p:spPr>
          <a:xfrm>
            <a:off x="9671515" y="116572"/>
            <a:ext cx="131078" cy="131078"/>
          </a:xfrm>
          <a:prstGeom prst="rect">
            <a:avLst/>
          </a:prstGeom>
          <a:solidFill>
            <a:srgbClr val="DD712C"/>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19" name="Rectangle 18">
            <a:extLst>
              <a:ext uri="{FF2B5EF4-FFF2-40B4-BE49-F238E27FC236}">
                <a16:creationId xmlns="" xmlns:a16="http://schemas.microsoft.com/office/drawing/2014/main" id="{9823DFFA-1938-4738-B2F9-89F78B813D82}"/>
              </a:ext>
            </a:extLst>
          </p:cNvPr>
          <p:cNvSpPr/>
          <p:nvPr/>
        </p:nvSpPr>
        <p:spPr>
          <a:xfrm>
            <a:off x="10082132" y="116572"/>
            <a:ext cx="131078" cy="131078"/>
          </a:xfrm>
          <a:prstGeom prst="rect">
            <a:avLst/>
          </a:prstGeom>
          <a:solidFill>
            <a:srgbClr val="016D9F"/>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0" name="Rectangle 19">
            <a:extLst>
              <a:ext uri="{FF2B5EF4-FFF2-40B4-BE49-F238E27FC236}">
                <a16:creationId xmlns="" xmlns:a16="http://schemas.microsoft.com/office/drawing/2014/main" id="{773D9B9F-C669-40DE-854B-29A01F5F62B3}"/>
              </a:ext>
            </a:extLst>
          </p:cNvPr>
          <p:cNvSpPr/>
          <p:nvPr/>
        </p:nvSpPr>
        <p:spPr>
          <a:xfrm>
            <a:off x="10903366" y="116572"/>
            <a:ext cx="131078" cy="131078"/>
          </a:xfrm>
          <a:prstGeom prst="rect">
            <a:avLst/>
          </a:prstGeom>
          <a:solidFill>
            <a:srgbClr val="646EAC"/>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1" name="Rectangle 20">
            <a:extLst>
              <a:ext uri="{FF2B5EF4-FFF2-40B4-BE49-F238E27FC236}">
                <a16:creationId xmlns="" xmlns:a16="http://schemas.microsoft.com/office/drawing/2014/main" id="{F1D995EA-F028-446E-9DCB-E00BF6EDA545}"/>
              </a:ext>
            </a:extLst>
          </p:cNvPr>
          <p:cNvSpPr/>
          <p:nvPr/>
        </p:nvSpPr>
        <p:spPr>
          <a:xfrm>
            <a:off x="11313983" y="116572"/>
            <a:ext cx="131078" cy="131078"/>
          </a:xfrm>
          <a:prstGeom prst="rect">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2" name="Rectangle 21">
            <a:extLst>
              <a:ext uri="{FF2B5EF4-FFF2-40B4-BE49-F238E27FC236}">
                <a16:creationId xmlns="" xmlns:a16="http://schemas.microsoft.com/office/drawing/2014/main" id="{CE6F9ACA-9E4F-43DA-83B4-8BEE7B6EA12D}"/>
              </a:ext>
            </a:extLst>
          </p:cNvPr>
          <p:cNvSpPr/>
          <p:nvPr/>
        </p:nvSpPr>
        <p:spPr>
          <a:xfrm>
            <a:off x="11724598" y="116572"/>
            <a:ext cx="131078" cy="131078"/>
          </a:xfrm>
          <a:prstGeom prst="rect">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3" name="Rectangle 22">
            <a:extLst>
              <a:ext uri="{FF2B5EF4-FFF2-40B4-BE49-F238E27FC236}">
                <a16:creationId xmlns="" xmlns:a16="http://schemas.microsoft.com/office/drawing/2014/main" id="{21DD8646-D1B7-4D63-8E50-A6E449D95046}"/>
              </a:ext>
            </a:extLst>
          </p:cNvPr>
          <p:cNvSpPr/>
          <p:nvPr/>
        </p:nvSpPr>
        <p:spPr>
          <a:xfrm>
            <a:off x="10492749" y="116572"/>
            <a:ext cx="131078" cy="1310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grpSp>
        <p:nvGrpSpPr>
          <p:cNvPr id="29" name="Group 28"/>
          <p:cNvGrpSpPr/>
          <p:nvPr/>
        </p:nvGrpSpPr>
        <p:grpSpPr>
          <a:xfrm>
            <a:off x="1616757" y="1296887"/>
            <a:ext cx="9248045" cy="4633609"/>
            <a:chOff x="0" y="-64985"/>
            <a:chExt cx="9029700" cy="4360760"/>
          </a:xfrm>
        </p:grpSpPr>
        <p:grpSp>
          <p:nvGrpSpPr>
            <p:cNvPr id="31" name="Group 30"/>
            <p:cNvGrpSpPr/>
            <p:nvPr/>
          </p:nvGrpSpPr>
          <p:grpSpPr>
            <a:xfrm>
              <a:off x="0" y="371475"/>
              <a:ext cx="8963025" cy="3528995"/>
              <a:chOff x="-6350" y="222250"/>
              <a:chExt cx="5956300" cy="2345690"/>
            </a:xfrm>
          </p:grpSpPr>
          <p:sp>
            <p:nvSpPr>
              <p:cNvPr id="109" name="Freeform 108"/>
              <p:cNvSpPr>
                <a:spLocks/>
              </p:cNvSpPr>
              <p:nvPr/>
            </p:nvSpPr>
            <p:spPr bwMode="auto">
              <a:xfrm>
                <a:off x="102215" y="1332249"/>
                <a:ext cx="1227455" cy="675640"/>
              </a:xfrm>
              <a:custGeom>
                <a:avLst/>
                <a:gdLst>
                  <a:gd name="T0" fmla="*/ 29 w 564"/>
                  <a:gd name="T1" fmla="*/ 0 h 310"/>
                  <a:gd name="T2" fmla="*/ 10 w 564"/>
                  <a:gd name="T3" fmla="*/ 8 h 310"/>
                  <a:gd name="T4" fmla="*/ 10 w 564"/>
                  <a:gd name="T5" fmla="*/ 44 h 310"/>
                  <a:gd name="T6" fmla="*/ 269 w 564"/>
                  <a:gd name="T7" fmla="*/ 303 h 310"/>
                  <a:gd name="T8" fmla="*/ 287 w 564"/>
                  <a:gd name="T9" fmla="*/ 310 h 310"/>
                  <a:gd name="T10" fmla="*/ 306 w 564"/>
                  <a:gd name="T11" fmla="*/ 303 h 310"/>
                  <a:gd name="T12" fmla="*/ 564 w 564"/>
                  <a:gd name="T13" fmla="*/ 45 h 310"/>
                  <a:gd name="T14" fmla="*/ 546 w 564"/>
                  <a:gd name="T15" fmla="*/ 52 h 310"/>
                  <a:gd name="T16" fmla="*/ 527 w 564"/>
                  <a:gd name="T17" fmla="*/ 44 h 310"/>
                  <a:gd name="T18" fmla="*/ 527 w 564"/>
                  <a:gd name="T19" fmla="*/ 8 h 310"/>
                  <a:gd name="T20" fmla="*/ 287 w 564"/>
                  <a:gd name="T21" fmla="*/ 248 h 310"/>
                  <a:gd name="T22" fmla="*/ 47 w 564"/>
                  <a:gd name="T23" fmla="*/ 8 h 310"/>
                  <a:gd name="T24" fmla="*/ 29 w 564"/>
                  <a:gd name="T25" fmla="*/ 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4" h="310">
                    <a:moveTo>
                      <a:pt x="29" y="0"/>
                    </a:moveTo>
                    <a:cubicBezTo>
                      <a:pt x="22" y="0"/>
                      <a:pt x="15" y="3"/>
                      <a:pt x="10" y="8"/>
                    </a:cubicBezTo>
                    <a:cubicBezTo>
                      <a:pt x="0" y="18"/>
                      <a:pt x="0" y="34"/>
                      <a:pt x="10" y="44"/>
                    </a:cubicBezTo>
                    <a:cubicBezTo>
                      <a:pt x="269" y="303"/>
                      <a:pt x="269" y="303"/>
                      <a:pt x="269" y="303"/>
                    </a:cubicBezTo>
                    <a:cubicBezTo>
                      <a:pt x="274" y="308"/>
                      <a:pt x="281" y="310"/>
                      <a:pt x="287" y="310"/>
                    </a:cubicBezTo>
                    <a:cubicBezTo>
                      <a:pt x="294" y="310"/>
                      <a:pt x="300" y="308"/>
                      <a:pt x="306" y="303"/>
                    </a:cubicBezTo>
                    <a:cubicBezTo>
                      <a:pt x="564" y="45"/>
                      <a:pt x="564" y="45"/>
                      <a:pt x="564" y="45"/>
                    </a:cubicBezTo>
                    <a:cubicBezTo>
                      <a:pt x="559" y="50"/>
                      <a:pt x="552" y="52"/>
                      <a:pt x="546" y="52"/>
                    </a:cubicBezTo>
                    <a:cubicBezTo>
                      <a:pt x="539" y="52"/>
                      <a:pt x="532" y="50"/>
                      <a:pt x="527" y="44"/>
                    </a:cubicBezTo>
                    <a:cubicBezTo>
                      <a:pt x="517" y="34"/>
                      <a:pt x="517" y="18"/>
                      <a:pt x="527" y="8"/>
                    </a:cubicBezTo>
                    <a:cubicBezTo>
                      <a:pt x="287" y="248"/>
                      <a:pt x="287" y="248"/>
                      <a:pt x="287" y="248"/>
                    </a:cubicBezTo>
                    <a:cubicBezTo>
                      <a:pt x="47" y="8"/>
                      <a:pt x="47" y="8"/>
                      <a:pt x="47" y="8"/>
                    </a:cubicBezTo>
                    <a:cubicBezTo>
                      <a:pt x="42" y="3"/>
                      <a:pt x="35" y="0"/>
                      <a:pt x="29" y="0"/>
                    </a:cubicBezTo>
                  </a:path>
                </a:pathLst>
              </a:custGeom>
              <a:solidFill>
                <a:srgbClr val="111111"/>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10" name="Freeform 109"/>
              <p:cNvSpPr>
                <a:spLocks/>
              </p:cNvSpPr>
              <p:nvPr/>
            </p:nvSpPr>
            <p:spPr bwMode="auto">
              <a:xfrm>
                <a:off x="1243330" y="775970"/>
                <a:ext cx="1203960" cy="660400"/>
              </a:xfrm>
              <a:custGeom>
                <a:avLst/>
                <a:gdLst>
                  <a:gd name="T0" fmla="*/ 277 w 553"/>
                  <a:gd name="T1" fmla="*/ 0 h 303"/>
                  <a:gd name="T2" fmla="*/ 259 w 553"/>
                  <a:gd name="T3" fmla="*/ 7 h 303"/>
                  <a:gd name="T4" fmla="*/ 0 w 553"/>
                  <a:gd name="T5" fmla="*/ 266 h 303"/>
                  <a:gd name="T6" fmla="*/ 0 w 553"/>
                  <a:gd name="T7" fmla="*/ 266 h 303"/>
                  <a:gd name="T8" fmla="*/ 0 w 553"/>
                  <a:gd name="T9" fmla="*/ 266 h 303"/>
                  <a:gd name="T10" fmla="*/ 19 w 553"/>
                  <a:gd name="T11" fmla="*/ 258 h 303"/>
                  <a:gd name="T12" fmla="*/ 37 w 553"/>
                  <a:gd name="T13" fmla="*/ 266 h 303"/>
                  <a:gd name="T14" fmla="*/ 37 w 553"/>
                  <a:gd name="T15" fmla="*/ 302 h 303"/>
                  <a:gd name="T16" fmla="*/ 37 w 553"/>
                  <a:gd name="T17" fmla="*/ 303 h 303"/>
                  <a:gd name="T18" fmla="*/ 37 w 553"/>
                  <a:gd name="T19" fmla="*/ 302 h 303"/>
                  <a:gd name="T20" fmla="*/ 277 w 553"/>
                  <a:gd name="T21" fmla="*/ 62 h 303"/>
                  <a:gd name="T22" fmla="*/ 517 w 553"/>
                  <a:gd name="T23" fmla="*/ 302 h 303"/>
                  <a:gd name="T24" fmla="*/ 517 w 553"/>
                  <a:gd name="T25" fmla="*/ 302 h 303"/>
                  <a:gd name="T26" fmla="*/ 517 w 553"/>
                  <a:gd name="T27" fmla="*/ 266 h 303"/>
                  <a:gd name="T28" fmla="*/ 535 w 553"/>
                  <a:gd name="T29" fmla="*/ 258 h 303"/>
                  <a:gd name="T30" fmla="*/ 553 w 553"/>
                  <a:gd name="T31" fmla="*/ 265 h 303"/>
                  <a:gd name="T32" fmla="*/ 295 w 553"/>
                  <a:gd name="T33" fmla="*/ 7 h 303"/>
                  <a:gd name="T34" fmla="*/ 277 w 553"/>
                  <a:gd name="T35"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3" h="303">
                    <a:moveTo>
                      <a:pt x="277" y="0"/>
                    </a:moveTo>
                    <a:cubicBezTo>
                      <a:pt x="270" y="0"/>
                      <a:pt x="263" y="2"/>
                      <a:pt x="259" y="7"/>
                    </a:cubicBezTo>
                    <a:cubicBezTo>
                      <a:pt x="0" y="266"/>
                      <a:pt x="0" y="266"/>
                      <a:pt x="0" y="266"/>
                    </a:cubicBezTo>
                    <a:cubicBezTo>
                      <a:pt x="0" y="266"/>
                      <a:pt x="0" y="266"/>
                      <a:pt x="0" y="266"/>
                    </a:cubicBezTo>
                    <a:cubicBezTo>
                      <a:pt x="0" y="266"/>
                      <a:pt x="0" y="266"/>
                      <a:pt x="0" y="266"/>
                    </a:cubicBezTo>
                    <a:cubicBezTo>
                      <a:pt x="5" y="261"/>
                      <a:pt x="12" y="258"/>
                      <a:pt x="19" y="258"/>
                    </a:cubicBezTo>
                    <a:cubicBezTo>
                      <a:pt x="25" y="258"/>
                      <a:pt x="32" y="261"/>
                      <a:pt x="37" y="266"/>
                    </a:cubicBezTo>
                    <a:cubicBezTo>
                      <a:pt x="47" y="276"/>
                      <a:pt x="47" y="292"/>
                      <a:pt x="37" y="302"/>
                    </a:cubicBezTo>
                    <a:cubicBezTo>
                      <a:pt x="37" y="303"/>
                      <a:pt x="37" y="303"/>
                      <a:pt x="37" y="303"/>
                    </a:cubicBezTo>
                    <a:cubicBezTo>
                      <a:pt x="37" y="303"/>
                      <a:pt x="37" y="303"/>
                      <a:pt x="37" y="302"/>
                    </a:cubicBezTo>
                    <a:cubicBezTo>
                      <a:pt x="277" y="62"/>
                      <a:pt x="277" y="62"/>
                      <a:pt x="277" y="62"/>
                    </a:cubicBezTo>
                    <a:cubicBezTo>
                      <a:pt x="517" y="302"/>
                      <a:pt x="517" y="302"/>
                      <a:pt x="517" y="302"/>
                    </a:cubicBezTo>
                    <a:cubicBezTo>
                      <a:pt x="517" y="302"/>
                      <a:pt x="517" y="302"/>
                      <a:pt x="517" y="302"/>
                    </a:cubicBezTo>
                    <a:cubicBezTo>
                      <a:pt x="507" y="292"/>
                      <a:pt x="507" y="276"/>
                      <a:pt x="517" y="266"/>
                    </a:cubicBezTo>
                    <a:cubicBezTo>
                      <a:pt x="522" y="261"/>
                      <a:pt x="529" y="258"/>
                      <a:pt x="535" y="258"/>
                    </a:cubicBezTo>
                    <a:cubicBezTo>
                      <a:pt x="542" y="258"/>
                      <a:pt x="548" y="261"/>
                      <a:pt x="553" y="265"/>
                    </a:cubicBezTo>
                    <a:cubicBezTo>
                      <a:pt x="295" y="7"/>
                      <a:pt x="295" y="7"/>
                      <a:pt x="295" y="7"/>
                    </a:cubicBezTo>
                    <a:cubicBezTo>
                      <a:pt x="290" y="2"/>
                      <a:pt x="284" y="0"/>
                      <a:pt x="277" y="0"/>
                    </a:cubicBezTo>
                  </a:path>
                </a:pathLst>
              </a:custGeom>
              <a:solidFill>
                <a:srgbClr val="111111"/>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11" name="Freeform 110"/>
              <p:cNvSpPr>
                <a:spLocks/>
              </p:cNvSpPr>
              <p:nvPr/>
            </p:nvSpPr>
            <p:spPr bwMode="auto">
              <a:xfrm>
                <a:off x="1221105" y="1338580"/>
                <a:ext cx="124460" cy="113030"/>
              </a:xfrm>
              <a:custGeom>
                <a:avLst/>
                <a:gdLst>
                  <a:gd name="T0" fmla="*/ 29 w 57"/>
                  <a:gd name="T1" fmla="*/ 0 h 52"/>
                  <a:gd name="T2" fmla="*/ 10 w 57"/>
                  <a:gd name="T3" fmla="*/ 8 h 52"/>
                  <a:gd name="T4" fmla="*/ 10 w 57"/>
                  <a:gd name="T5" fmla="*/ 8 h 52"/>
                  <a:gd name="T6" fmla="*/ 10 w 57"/>
                  <a:gd name="T7" fmla="*/ 44 h 52"/>
                  <a:gd name="T8" fmla="*/ 29 w 57"/>
                  <a:gd name="T9" fmla="*/ 52 h 52"/>
                  <a:gd name="T10" fmla="*/ 47 w 57"/>
                  <a:gd name="T11" fmla="*/ 45 h 52"/>
                  <a:gd name="T12" fmla="*/ 47 w 57"/>
                  <a:gd name="T13" fmla="*/ 44 h 52"/>
                  <a:gd name="T14" fmla="*/ 47 w 57"/>
                  <a:gd name="T15" fmla="*/ 8 h 52"/>
                  <a:gd name="T16" fmla="*/ 29 w 57"/>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52">
                    <a:moveTo>
                      <a:pt x="29" y="0"/>
                    </a:moveTo>
                    <a:cubicBezTo>
                      <a:pt x="22" y="0"/>
                      <a:pt x="15" y="3"/>
                      <a:pt x="10" y="8"/>
                    </a:cubicBezTo>
                    <a:cubicBezTo>
                      <a:pt x="10" y="8"/>
                      <a:pt x="10" y="8"/>
                      <a:pt x="10" y="8"/>
                    </a:cubicBezTo>
                    <a:cubicBezTo>
                      <a:pt x="0" y="18"/>
                      <a:pt x="0" y="34"/>
                      <a:pt x="10" y="44"/>
                    </a:cubicBezTo>
                    <a:cubicBezTo>
                      <a:pt x="15" y="50"/>
                      <a:pt x="22" y="52"/>
                      <a:pt x="29" y="52"/>
                    </a:cubicBezTo>
                    <a:cubicBezTo>
                      <a:pt x="35" y="52"/>
                      <a:pt x="42" y="50"/>
                      <a:pt x="47" y="45"/>
                    </a:cubicBezTo>
                    <a:cubicBezTo>
                      <a:pt x="47" y="44"/>
                      <a:pt x="47" y="44"/>
                      <a:pt x="47" y="44"/>
                    </a:cubicBezTo>
                    <a:cubicBezTo>
                      <a:pt x="57" y="34"/>
                      <a:pt x="57" y="18"/>
                      <a:pt x="47" y="8"/>
                    </a:cubicBezTo>
                    <a:cubicBezTo>
                      <a:pt x="42" y="3"/>
                      <a:pt x="35" y="0"/>
                      <a:pt x="29" y="0"/>
                    </a:cubicBezTo>
                  </a:path>
                </a:pathLst>
              </a:custGeom>
              <a:solidFill>
                <a:srgbClr val="111111"/>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12" name="Freeform 111"/>
              <p:cNvSpPr>
                <a:spLocks/>
              </p:cNvSpPr>
              <p:nvPr/>
            </p:nvSpPr>
            <p:spPr bwMode="auto">
              <a:xfrm>
                <a:off x="2362220" y="1347489"/>
                <a:ext cx="1206500" cy="660400"/>
              </a:xfrm>
              <a:custGeom>
                <a:avLst/>
                <a:gdLst>
                  <a:gd name="T0" fmla="*/ 36 w 554"/>
                  <a:gd name="T1" fmla="*/ 0 h 303"/>
                  <a:gd name="T2" fmla="*/ 37 w 554"/>
                  <a:gd name="T3" fmla="*/ 1 h 303"/>
                  <a:gd name="T4" fmla="*/ 37 w 554"/>
                  <a:gd name="T5" fmla="*/ 37 h 303"/>
                  <a:gd name="T6" fmla="*/ 18 w 554"/>
                  <a:gd name="T7" fmla="*/ 45 h 303"/>
                  <a:gd name="T8" fmla="*/ 0 w 554"/>
                  <a:gd name="T9" fmla="*/ 37 h 303"/>
                  <a:gd name="T10" fmla="*/ 258 w 554"/>
                  <a:gd name="T11" fmla="*/ 296 h 303"/>
                  <a:gd name="T12" fmla="*/ 277 w 554"/>
                  <a:gd name="T13" fmla="*/ 303 h 303"/>
                  <a:gd name="T14" fmla="*/ 295 w 554"/>
                  <a:gd name="T15" fmla="*/ 296 h 303"/>
                  <a:gd name="T16" fmla="*/ 554 w 554"/>
                  <a:gd name="T17" fmla="*/ 37 h 303"/>
                  <a:gd name="T18" fmla="*/ 554 w 554"/>
                  <a:gd name="T19" fmla="*/ 37 h 303"/>
                  <a:gd name="T20" fmla="*/ 535 w 554"/>
                  <a:gd name="T21" fmla="*/ 45 h 303"/>
                  <a:gd name="T22" fmla="*/ 517 w 554"/>
                  <a:gd name="T23" fmla="*/ 37 h 303"/>
                  <a:gd name="T24" fmla="*/ 517 w 554"/>
                  <a:gd name="T25" fmla="*/ 1 h 303"/>
                  <a:gd name="T26" fmla="*/ 517 w 554"/>
                  <a:gd name="T27" fmla="*/ 0 h 303"/>
                  <a:gd name="T28" fmla="*/ 517 w 554"/>
                  <a:gd name="T29" fmla="*/ 1 h 303"/>
                  <a:gd name="T30" fmla="*/ 277 w 554"/>
                  <a:gd name="T31" fmla="*/ 241 h 303"/>
                  <a:gd name="T32" fmla="*/ 37 w 554"/>
                  <a:gd name="T33" fmla="*/ 1 h 303"/>
                  <a:gd name="T34" fmla="*/ 36 w 554"/>
                  <a:gd name="T35"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4" h="303">
                    <a:moveTo>
                      <a:pt x="36" y="0"/>
                    </a:moveTo>
                    <a:cubicBezTo>
                      <a:pt x="37" y="1"/>
                      <a:pt x="37" y="1"/>
                      <a:pt x="37" y="1"/>
                    </a:cubicBezTo>
                    <a:cubicBezTo>
                      <a:pt x="47" y="11"/>
                      <a:pt x="47" y="27"/>
                      <a:pt x="37" y="37"/>
                    </a:cubicBezTo>
                    <a:cubicBezTo>
                      <a:pt x="32" y="43"/>
                      <a:pt x="25" y="45"/>
                      <a:pt x="18" y="45"/>
                    </a:cubicBezTo>
                    <a:cubicBezTo>
                      <a:pt x="12" y="45"/>
                      <a:pt x="5" y="43"/>
                      <a:pt x="0" y="37"/>
                    </a:cubicBezTo>
                    <a:cubicBezTo>
                      <a:pt x="258" y="296"/>
                      <a:pt x="258" y="296"/>
                      <a:pt x="258" y="296"/>
                    </a:cubicBezTo>
                    <a:cubicBezTo>
                      <a:pt x="263" y="301"/>
                      <a:pt x="270" y="303"/>
                      <a:pt x="277" y="303"/>
                    </a:cubicBezTo>
                    <a:cubicBezTo>
                      <a:pt x="283" y="303"/>
                      <a:pt x="290" y="301"/>
                      <a:pt x="295" y="296"/>
                    </a:cubicBezTo>
                    <a:cubicBezTo>
                      <a:pt x="554" y="37"/>
                      <a:pt x="554" y="37"/>
                      <a:pt x="554" y="37"/>
                    </a:cubicBezTo>
                    <a:cubicBezTo>
                      <a:pt x="554" y="37"/>
                      <a:pt x="554" y="37"/>
                      <a:pt x="554" y="37"/>
                    </a:cubicBezTo>
                    <a:cubicBezTo>
                      <a:pt x="548" y="43"/>
                      <a:pt x="542" y="45"/>
                      <a:pt x="535" y="45"/>
                    </a:cubicBezTo>
                    <a:cubicBezTo>
                      <a:pt x="529" y="45"/>
                      <a:pt x="522" y="43"/>
                      <a:pt x="517" y="37"/>
                    </a:cubicBezTo>
                    <a:cubicBezTo>
                      <a:pt x="507" y="27"/>
                      <a:pt x="507" y="11"/>
                      <a:pt x="517" y="1"/>
                    </a:cubicBezTo>
                    <a:cubicBezTo>
                      <a:pt x="517" y="0"/>
                      <a:pt x="517" y="0"/>
                      <a:pt x="517" y="0"/>
                    </a:cubicBezTo>
                    <a:cubicBezTo>
                      <a:pt x="517" y="1"/>
                      <a:pt x="517" y="1"/>
                      <a:pt x="517" y="1"/>
                    </a:cubicBezTo>
                    <a:cubicBezTo>
                      <a:pt x="277" y="241"/>
                      <a:pt x="277" y="241"/>
                      <a:pt x="277" y="241"/>
                    </a:cubicBezTo>
                    <a:cubicBezTo>
                      <a:pt x="37" y="1"/>
                      <a:pt x="37" y="1"/>
                      <a:pt x="37" y="1"/>
                    </a:cubicBezTo>
                    <a:cubicBezTo>
                      <a:pt x="37" y="1"/>
                      <a:pt x="37" y="0"/>
                      <a:pt x="36" y="0"/>
                    </a:cubicBezTo>
                  </a:path>
                </a:pathLst>
              </a:custGeom>
              <a:solidFill>
                <a:srgbClr val="111111"/>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13" name="Freeform 112"/>
              <p:cNvSpPr>
                <a:spLocks/>
              </p:cNvSpPr>
              <p:nvPr/>
            </p:nvSpPr>
            <p:spPr bwMode="auto">
              <a:xfrm>
                <a:off x="2346960" y="1338580"/>
                <a:ext cx="123825" cy="113030"/>
              </a:xfrm>
              <a:custGeom>
                <a:avLst/>
                <a:gdLst>
                  <a:gd name="T0" fmla="*/ 28 w 57"/>
                  <a:gd name="T1" fmla="*/ 0 h 52"/>
                  <a:gd name="T2" fmla="*/ 10 w 57"/>
                  <a:gd name="T3" fmla="*/ 8 h 52"/>
                  <a:gd name="T4" fmla="*/ 10 w 57"/>
                  <a:gd name="T5" fmla="*/ 44 h 52"/>
                  <a:gd name="T6" fmla="*/ 10 w 57"/>
                  <a:gd name="T7" fmla="*/ 44 h 52"/>
                  <a:gd name="T8" fmla="*/ 28 w 57"/>
                  <a:gd name="T9" fmla="*/ 52 h 52"/>
                  <a:gd name="T10" fmla="*/ 47 w 57"/>
                  <a:gd name="T11" fmla="*/ 44 h 52"/>
                  <a:gd name="T12" fmla="*/ 47 w 57"/>
                  <a:gd name="T13" fmla="*/ 8 h 52"/>
                  <a:gd name="T14" fmla="*/ 46 w 57"/>
                  <a:gd name="T15" fmla="*/ 7 h 52"/>
                  <a:gd name="T16" fmla="*/ 28 w 57"/>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52">
                    <a:moveTo>
                      <a:pt x="28" y="0"/>
                    </a:moveTo>
                    <a:cubicBezTo>
                      <a:pt x="22" y="0"/>
                      <a:pt x="15" y="3"/>
                      <a:pt x="10" y="8"/>
                    </a:cubicBezTo>
                    <a:cubicBezTo>
                      <a:pt x="0" y="18"/>
                      <a:pt x="0" y="34"/>
                      <a:pt x="10" y="44"/>
                    </a:cubicBezTo>
                    <a:cubicBezTo>
                      <a:pt x="10" y="44"/>
                      <a:pt x="10" y="44"/>
                      <a:pt x="10" y="44"/>
                    </a:cubicBezTo>
                    <a:cubicBezTo>
                      <a:pt x="15" y="50"/>
                      <a:pt x="22" y="52"/>
                      <a:pt x="28" y="52"/>
                    </a:cubicBezTo>
                    <a:cubicBezTo>
                      <a:pt x="35" y="52"/>
                      <a:pt x="42" y="50"/>
                      <a:pt x="47" y="44"/>
                    </a:cubicBezTo>
                    <a:cubicBezTo>
                      <a:pt x="57" y="34"/>
                      <a:pt x="57" y="18"/>
                      <a:pt x="47" y="8"/>
                    </a:cubicBezTo>
                    <a:cubicBezTo>
                      <a:pt x="46" y="7"/>
                      <a:pt x="46" y="7"/>
                      <a:pt x="46" y="7"/>
                    </a:cubicBezTo>
                    <a:cubicBezTo>
                      <a:pt x="41" y="3"/>
                      <a:pt x="35" y="0"/>
                      <a:pt x="28" y="0"/>
                    </a:cubicBezTo>
                  </a:path>
                </a:pathLst>
              </a:custGeom>
              <a:solidFill>
                <a:srgbClr val="111111"/>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14" name="Freeform 113"/>
              <p:cNvSpPr>
                <a:spLocks/>
              </p:cNvSpPr>
              <p:nvPr/>
            </p:nvSpPr>
            <p:spPr bwMode="auto">
              <a:xfrm>
                <a:off x="3488075" y="782301"/>
                <a:ext cx="1205865" cy="660400"/>
              </a:xfrm>
              <a:custGeom>
                <a:avLst/>
                <a:gdLst>
                  <a:gd name="T0" fmla="*/ 277 w 554"/>
                  <a:gd name="T1" fmla="*/ 0 h 303"/>
                  <a:gd name="T2" fmla="*/ 258 w 554"/>
                  <a:gd name="T3" fmla="*/ 7 h 303"/>
                  <a:gd name="T4" fmla="*/ 0 w 554"/>
                  <a:gd name="T5" fmla="*/ 265 h 303"/>
                  <a:gd name="T6" fmla="*/ 18 w 554"/>
                  <a:gd name="T7" fmla="*/ 258 h 303"/>
                  <a:gd name="T8" fmla="*/ 37 w 554"/>
                  <a:gd name="T9" fmla="*/ 266 h 303"/>
                  <a:gd name="T10" fmla="*/ 37 w 554"/>
                  <a:gd name="T11" fmla="*/ 302 h 303"/>
                  <a:gd name="T12" fmla="*/ 277 w 554"/>
                  <a:gd name="T13" fmla="*/ 62 h 303"/>
                  <a:gd name="T14" fmla="*/ 517 w 554"/>
                  <a:gd name="T15" fmla="*/ 302 h 303"/>
                  <a:gd name="T16" fmla="*/ 517 w 554"/>
                  <a:gd name="T17" fmla="*/ 303 h 303"/>
                  <a:gd name="T18" fmla="*/ 517 w 554"/>
                  <a:gd name="T19" fmla="*/ 302 h 303"/>
                  <a:gd name="T20" fmla="*/ 517 w 554"/>
                  <a:gd name="T21" fmla="*/ 266 h 303"/>
                  <a:gd name="T22" fmla="*/ 535 w 554"/>
                  <a:gd name="T23" fmla="*/ 258 h 303"/>
                  <a:gd name="T24" fmla="*/ 553 w 554"/>
                  <a:gd name="T25" fmla="*/ 266 h 303"/>
                  <a:gd name="T26" fmla="*/ 554 w 554"/>
                  <a:gd name="T27" fmla="*/ 266 h 303"/>
                  <a:gd name="T28" fmla="*/ 553 w 554"/>
                  <a:gd name="T29" fmla="*/ 266 h 303"/>
                  <a:gd name="T30" fmla="*/ 295 w 554"/>
                  <a:gd name="T31" fmla="*/ 7 h 303"/>
                  <a:gd name="T32" fmla="*/ 277 w 554"/>
                  <a:gd name="T3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4" h="303">
                    <a:moveTo>
                      <a:pt x="277" y="0"/>
                    </a:moveTo>
                    <a:cubicBezTo>
                      <a:pt x="270" y="0"/>
                      <a:pt x="263" y="2"/>
                      <a:pt x="258" y="7"/>
                    </a:cubicBezTo>
                    <a:cubicBezTo>
                      <a:pt x="0" y="265"/>
                      <a:pt x="0" y="265"/>
                      <a:pt x="0" y="265"/>
                    </a:cubicBezTo>
                    <a:cubicBezTo>
                      <a:pt x="5" y="261"/>
                      <a:pt x="12" y="258"/>
                      <a:pt x="18" y="258"/>
                    </a:cubicBezTo>
                    <a:cubicBezTo>
                      <a:pt x="25" y="258"/>
                      <a:pt x="31" y="261"/>
                      <a:pt x="37" y="266"/>
                    </a:cubicBezTo>
                    <a:cubicBezTo>
                      <a:pt x="47" y="276"/>
                      <a:pt x="47" y="292"/>
                      <a:pt x="37" y="302"/>
                    </a:cubicBezTo>
                    <a:cubicBezTo>
                      <a:pt x="277" y="62"/>
                      <a:pt x="277" y="62"/>
                      <a:pt x="277" y="62"/>
                    </a:cubicBezTo>
                    <a:cubicBezTo>
                      <a:pt x="517" y="302"/>
                      <a:pt x="517" y="302"/>
                      <a:pt x="517" y="302"/>
                    </a:cubicBezTo>
                    <a:cubicBezTo>
                      <a:pt x="517" y="303"/>
                      <a:pt x="517" y="303"/>
                      <a:pt x="517" y="303"/>
                    </a:cubicBezTo>
                    <a:cubicBezTo>
                      <a:pt x="517" y="302"/>
                      <a:pt x="517" y="302"/>
                      <a:pt x="517" y="302"/>
                    </a:cubicBezTo>
                    <a:cubicBezTo>
                      <a:pt x="506" y="292"/>
                      <a:pt x="506" y="276"/>
                      <a:pt x="517" y="266"/>
                    </a:cubicBezTo>
                    <a:cubicBezTo>
                      <a:pt x="522" y="261"/>
                      <a:pt x="528" y="258"/>
                      <a:pt x="535" y="258"/>
                    </a:cubicBezTo>
                    <a:cubicBezTo>
                      <a:pt x="542" y="258"/>
                      <a:pt x="548" y="261"/>
                      <a:pt x="553" y="266"/>
                    </a:cubicBezTo>
                    <a:cubicBezTo>
                      <a:pt x="554" y="266"/>
                      <a:pt x="554" y="266"/>
                      <a:pt x="554" y="266"/>
                    </a:cubicBezTo>
                    <a:cubicBezTo>
                      <a:pt x="554" y="266"/>
                      <a:pt x="553" y="266"/>
                      <a:pt x="553" y="266"/>
                    </a:cubicBezTo>
                    <a:cubicBezTo>
                      <a:pt x="295" y="7"/>
                      <a:pt x="295" y="7"/>
                      <a:pt x="295" y="7"/>
                    </a:cubicBezTo>
                    <a:cubicBezTo>
                      <a:pt x="290" y="2"/>
                      <a:pt x="283" y="0"/>
                      <a:pt x="277" y="0"/>
                    </a:cubicBezTo>
                  </a:path>
                </a:pathLst>
              </a:custGeom>
              <a:solidFill>
                <a:srgbClr val="111111"/>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15" name="Freeform 114"/>
              <p:cNvSpPr>
                <a:spLocks/>
              </p:cNvSpPr>
              <p:nvPr/>
            </p:nvSpPr>
            <p:spPr bwMode="auto">
              <a:xfrm>
                <a:off x="3466486" y="1338580"/>
                <a:ext cx="123825" cy="113030"/>
              </a:xfrm>
              <a:custGeom>
                <a:avLst/>
                <a:gdLst>
                  <a:gd name="T0" fmla="*/ 28 w 57"/>
                  <a:gd name="T1" fmla="*/ 0 h 52"/>
                  <a:gd name="T2" fmla="*/ 10 w 57"/>
                  <a:gd name="T3" fmla="*/ 7 h 52"/>
                  <a:gd name="T4" fmla="*/ 10 w 57"/>
                  <a:gd name="T5" fmla="*/ 8 h 52"/>
                  <a:gd name="T6" fmla="*/ 10 w 57"/>
                  <a:gd name="T7" fmla="*/ 44 h 52"/>
                  <a:gd name="T8" fmla="*/ 28 w 57"/>
                  <a:gd name="T9" fmla="*/ 52 h 52"/>
                  <a:gd name="T10" fmla="*/ 47 w 57"/>
                  <a:gd name="T11" fmla="*/ 44 h 52"/>
                  <a:gd name="T12" fmla="*/ 47 w 57"/>
                  <a:gd name="T13" fmla="*/ 44 h 52"/>
                  <a:gd name="T14" fmla="*/ 47 w 57"/>
                  <a:gd name="T15" fmla="*/ 8 h 52"/>
                  <a:gd name="T16" fmla="*/ 28 w 57"/>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52">
                    <a:moveTo>
                      <a:pt x="28" y="0"/>
                    </a:moveTo>
                    <a:cubicBezTo>
                      <a:pt x="22" y="0"/>
                      <a:pt x="15" y="3"/>
                      <a:pt x="10" y="7"/>
                    </a:cubicBezTo>
                    <a:cubicBezTo>
                      <a:pt x="10" y="8"/>
                      <a:pt x="10" y="8"/>
                      <a:pt x="10" y="8"/>
                    </a:cubicBezTo>
                    <a:cubicBezTo>
                      <a:pt x="0" y="18"/>
                      <a:pt x="0" y="34"/>
                      <a:pt x="10" y="44"/>
                    </a:cubicBezTo>
                    <a:cubicBezTo>
                      <a:pt x="15" y="50"/>
                      <a:pt x="22" y="52"/>
                      <a:pt x="28" y="52"/>
                    </a:cubicBezTo>
                    <a:cubicBezTo>
                      <a:pt x="35" y="52"/>
                      <a:pt x="41" y="50"/>
                      <a:pt x="47" y="44"/>
                    </a:cubicBezTo>
                    <a:cubicBezTo>
                      <a:pt x="47" y="44"/>
                      <a:pt x="47" y="44"/>
                      <a:pt x="47" y="44"/>
                    </a:cubicBezTo>
                    <a:cubicBezTo>
                      <a:pt x="57" y="34"/>
                      <a:pt x="57" y="18"/>
                      <a:pt x="47" y="8"/>
                    </a:cubicBezTo>
                    <a:cubicBezTo>
                      <a:pt x="41" y="3"/>
                      <a:pt x="35" y="0"/>
                      <a:pt x="28" y="0"/>
                    </a:cubicBezTo>
                  </a:path>
                </a:pathLst>
              </a:custGeom>
              <a:solidFill>
                <a:srgbClr val="111111"/>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16" name="Freeform 115"/>
              <p:cNvSpPr>
                <a:spLocks/>
              </p:cNvSpPr>
              <p:nvPr/>
            </p:nvSpPr>
            <p:spPr bwMode="auto">
              <a:xfrm>
                <a:off x="4606965" y="1338580"/>
                <a:ext cx="1226185" cy="675640"/>
              </a:xfrm>
              <a:custGeom>
                <a:avLst/>
                <a:gdLst>
                  <a:gd name="T0" fmla="*/ 535 w 563"/>
                  <a:gd name="T1" fmla="*/ 0 h 310"/>
                  <a:gd name="T2" fmla="*/ 516 w 563"/>
                  <a:gd name="T3" fmla="*/ 8 h 310"/>
                  <a:gd name="T4" fmla="*/ 276 w 563"/>
                  <a:gd name="T5" fmla="*/ 248 h 310"/>
                  <a:gd name="T6" fmla="*/ 37 w 563"/>
                  <a:gd name="T7" fmla="*/ 8 h 310"/>
                  <a:gd name="T8" fmla="*/ 36 w 563"/>
                  <a:gd name="T9" fmla="*/ 44 h 310"/>
                  <a:gd name="T10" fmla="*/ 18 w 563"/>
                  <a:gd name="T11" fmla="*/ 52 h 310"/>
                  <a:gd name="T12" fmla="*/ 0 w 563"/>
                  <a:gd name="T13" fmla="*/ 45 h 310"/>
                  <a:gd name="T14" fmla="*/ 258 w 563"/>
                  <a:gd name="T15" fmla="*/ 303 h 310"/>
                  <a:gd name="T16" fmla="*/ 276 w 563"/>
                  <a:gd name="T17" fmla="*/ 310 h 310"/>
                  <a:gd name="T18" fmla="*/ 295 w 563"/>
                  <a:gd name="T19" fmla="*/ 303 h 310"/>
                  <a:gd name="T20" fmla="*/ 553 w 563"/>
                  <a:gd name="T21" fmla="*/ 44 h 310"/>
                  <a:gd name="T22" fmla="*/ 553 w 563"/>
                  <a:gd name="T23" fmla="*/ 8 h 310"/>
                  <a:gd name="T24" fmla="*/ 535 w 563"/>
                  <a:gd name="T25" fmla="*/ 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3" h="310">
                    <a:moveTo>
                      <a:pt x="535" y="0"/>
                    </a:moveTo>
                    <a:cubicBezTo>
                      <a:pt x="528" y="0"/>
                      <a:pt x="521" y="3"/>
                      <a:pt x="516" y="8"/>
                    </a:cubicBezTo>
                    <a:cubicBezTo>
                      <a:pt x="276" y="248"/>
                      <a:pt x="276" y="248"/>
                      <a:pt x="276" y="248"/>
                    </a:cubicBezTo>
                    <a:cubicBezTo>
                      <a:pt x="37" y="8"/>
                      <a:pt x="37" y="8"/>
                      <a:pt x="37" y="8"/>
                    </a:cubicBezTo>
                    <a:cubicBezTo>
                      <a:pt x="47" y="18"/>
                      <a:pt x="46" y="34"/>
                      <a:pt x="36" y="44"/>
                    </a:cubicBezTo>
                    <a:cubicBezTo>
                      <a:pt x="31" y="50"/>
                      <a:pt x="25" y="52"/>
                      <a:pt x="18" y="52"/>
                    </a:cubicBezTo>
                    <a:cubicBezTo>
                      <a:pt x="11" y="52"/>
                      <a:pt x="5" y="50"/>
                      <a:pt x="0" y="45"/>
                    </a:cubicBezTo>
                    <a:cubicBezTo>
                      <a:pt x="258" y="303"/>
                      <a:pt x="258" y="303"/>
                      <a:pt x="258" y="303"/>
                    </a:cubicBezTo>
                    <a:cubicBezTo>
                      <a:pt x="263" y="308"/>
                      <a:pt x="270" y="310"/>
                      <a:pt x="276" y="310"/>
                    </a:cubicBezTo>
                    <a:cubicBezTo>
                      <a:pt x="283" y="310"/>
                      <a:pt x="290" y="308"/>
                      <a:pt x="295" y="303"/>
                    </a:cubicBezTo>
                    <a:cubicBezTo>
                      <a:pt x="553" y="44"/>
                      <a:pt x="553" y="44"/>
                      <a:pt x="553" y="44"/>
                    </a:cubicBezTo>
                    <a:cubicBezTo>
                      <a:pt x="563" y="34"/>
                      <a:pt x="563" y="18"/>
                      <a:pt x="553" y="8"/>
                    </a:cubicBezTo>
                    <a:cubicBezTo>
                      <a:pt x="548" y="3"/>
                      <a:pt x="541" y="0"/>
                      <a:pt x="535" y="0"/>
                    </a:cubicBezTo>
                  </a:path>
                </a:pathLst>
              </a:custGeom>
              <a:solidFill>
                <a:srgbClr val="111111"/>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17" name="Freeform 116"/>
              <p:cNvSpPr>
                <a:spLocks/>
              </p:cNvSpPr>
              <p:nvPr/>
            </p:nvSpPr>
            <p:spPr bwMode="auto">
              <a:xfrm>
                <a:off x="4589800" y="1338580"/>
                <a:ext cx="126365" cy="113030"/>
              </a:xfrm>
              <a:custGeom>
                <a:avLst/>
                <a:gdLst>
                  <a:gd name="T0" fmla="*/ 29 w 58"/>
                  <a:gd name="T1" fmla="*/ 0 h 52"/>
                  <a:gd name="T2" fmla="*/ 11 w 58"/>
                  <a:gd name="T3" fmla="*/ 8 h 52"/>
                  <a:gd name="T4" fmla="*/ 11 w 58"/>
                  <a:gd name="T5" fmla="*/ 44 h 52"/>
                  <a:gd name="T6" fmla="*/ 11 w 58"/>
                  <a:gd name="T7" fmla="*/ 45 h 52"/>
                  <a:gd name="T8" fmla="*/ 29 w 58"/>
                  <a:gd name="T9" fmla="*/ 52 h 52"/>
                  <a:gd name="T10" fmla="*/ 47 w 58"/>
                  <a:gd name="T11" fmla="*/ 44 h 52"/>
                  <a:gd name="T12" fmla="*/ 48 w 58"/>
                  <a:gd name="T13" fmla="*/ 8 h 52"/>
                  <a:gd name="T14" fmla="*/ 47 w 58"/>
                  <a:gd name="T15" fmla="*/ 8 h 52"/>
                  <a:gd name="T16" fmla="*/ 29 w 58"/>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52">
                    <a:moveTo>
                      <a:pt x="29" y="0"/>
                    </a:moveTo>
                    <a:cubicBezTo>
                      <a:pt x="22" y="0"/>
                      <a:pt x="16" y="3"/>
                      <a:pt x="11" y="8"/>
                    </a:cubicBezTo>
                    <a:cubicBezTo>
                      <a:pt x="0" y="18"/>
                      <a:pt x="0" y="34"/>
                      <a:pt x="11" y="44"/>
                    </a:cubicBezTo>
                    <a:cubicBezTo>
                      <a:pt x="11" y="45"/>
                      <a:pt x="11" y="45"/>
                      <a:pt x="11" y="45"/>
                    </a:cubicBezTo>
                    <a:cubicBezTo>
                      <a:pt x="16" y="50"/>
                      <a:pt x="22" y="52"/>
                      <a:pt x="29" y="52"/>
                    </a:cubicBezTo>
                    <a:cubicBezTo>
                      <a:pt x="36" y="52"/>
                      <a:pt x="42" y="50"/>
                      <a:pt x="47" y="44"/>
                    </a:cubicBezTo>
                    <a:cubicBezTo>
                      <a:pt x="57" y="34"/>
                      <a:pt x="58" y="18"/>
                      <a:pt x="48" y="8"/>
                    </a:cubicBezTo>
                    <a:cubicBezTo>
                      <a:pt x="47" y="8"/>
                      <a:pt x="47" y="8"/>
                      <a:pt x="47" y="8"/>
                    </a:cubicBezTo>
                    <a:cubicBezTo>
                      <a:pt x="42" y="3"/>
                      <a:pt x="36" y="0"/>
                      <a:pt x="29" y="0"/>
                    </a:cubicBezTo>
                  </a:path>
                </a:pathLst>
              </a:custGeom>
              <a:solidFill>
                <a:srgbClr val="111111"/>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18" name="Freeform 117"/>
              <p:cNvSpPr>
                <a:spLocks/>
              </p:cNvSpPr>
              <p:nvPr/>
            </p:nvSpPr>
            <p:spPr bwMode="auto">
              <a:xfrm>
                <a:off x="-6350" y="222250"/>
                <a:ext cx="1454150" cy="1456055"/>
              </a:xfrm>
              <a:custGeom>
                <a:avLst/>
                <a:gdLst>
                  <a:gd name="T0" fmla="*/ 13 w 668"/>
                  <a:gd name="T1" fmla="*/ 310 h 668"/>
                  <a:gd name="T2" fmla="*/ 310 w 668"/>
                  <a:gd name="T3" fmla="*/ 13 h 668"/>
                  <a:gd name="T4" fmla="*/ 358 w 668"/>
                  <a:gd name="T5" fmla="*/ 13 h 668"/>
                  <a:gd name="T6" fmla="*/ 655 w 668"/>
                  <a:gd name="T7" fmla="*/ 310 h 668"/>
                  <a:gd name="T8" fmla="*/ 655 w 668"/>
                  <a:gd name="T9" fmla="*/ 358 h 668"/>
                  <a:gd name="T10" fmla="*/ 358 w 668"/>
                  <a:gd name="T11" fmla="*/ 655 h 668"/>
                  <a:gd name="T12" fmla="*/ 310 w 668"/>
                  <a:gd name="T13" fmla="*/ 655 h 668"/>
                  <a:gd name="T14" fmla="*/ 13 w 668"/>
                  <a:gd name="T15" fmla="*/ 358 h 668"/>
                  <a:gd name="T16" fmla="*/ 13 w 668"/>
                  <a:gd name="T17" fmla="*/ 310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8" h="668">
                    <a:moveTo>
                      <a:pt x="13" y="310"/>
                    </a:moveTo>
                    <a:cubicBezTo>
                      <a:pt x="310" y="13"/>
                      <a:pt x="310" y="13"/>
                      <a:pt x="310" y="13"/>
                    </a:cubicBezTo>
                    <a:cubicBezTo>
                      <a:pt x="323" y="0"/>
                      <a:pt x="345" y="0"/>
                      <a:pt x="358" y="13"/>
                    </a:cubicBezTo>
                    <a:cubicBezTo>
                      <a:pt x="655" y="310"/>
                      <a:pt x="655" y="310"/>
                      <a:pt x="655" y="310"/>
                    </a:cubicBezTo>
                    <a:cubicBezTo>
                      <a:pt x="668" y="323"/>
                      <a:pt x="668" y="345"/>
                      <a:pt x="655" y="358"/>
                    </a:cubicBezTo>
                    <a:cubicBezTo>
                      <a:pt x="358" y="655"/>
                      <a:pt x="358" y="655"/>
                      <a:pt x="358" y="655"/>
                    </a:cubicBezTo>
                    <a:cubicBezTo>
                      <a:pt x="345" y="668"/>
                      <a:pt x="323" y="668"/>
                      <a:pt x="310" y="655"/>
                    </a:cubicBezTo>
                    <a:cubicBezTo>
                      <a:pt x="13" y="358"/>
                      <a:pt x="13" y="358"/>
                      <a:pt x="13" y="358"/>
                    </a:cubicBezTo>
                    <a:cubicBezTo>
                      <a:pt x="0" y="345"/>
                      <a:pt x="0" y="323"/>
                      <a:pt x="13" y="310"/>
                    </a:cubicBezTo>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19" name="Freeform 118"/>
              <p:cNvSpPr>
                <a:spLocks/>
              </p:cNvSpPr>
              <p:nvPr/>
            </p:nvSpPr>
            <p:spPr bwMode="auto">
              <a:xfrm>
                <a:off x="720725" y="645160"/>
                <a:ext cx="646430" cy="952500"/>
              </a:xfrm>
              <a:custGeom>
                <a:avLst/>
                <a:gdLst>
                  <a:gd name="T0" fmla="*/ 507 w 1018"/>
                  <a:gd name="T1" fmla="*/ 0 h 1500"/>
                  <a:gd name="T2" fmla="*/ 991 w 1018"/>
                  <a:gd name="T3" fmla="*/ 481 h 1500"/>
                  <a:gd name="T4" fmla="*/ 0 w 1018"/>
                  <a:gd name="T5" fmla="*/ 1473 h 1500"/>
                  <a:gd name="T6" fmla="*/ 27 w 1018"/>
                  <a:gd name="T7" fmla="*/ 1500 h 1500"/>
                  <a:gd name="T8" fmla="*/ 1018 w 1018"/>
                  <a:gd name="T9" fmla="*/ 508 h 1500"/>
                  <a:gd name="T10" fmla="*/ 507 w 1018"/>
                  <a:gd name="T11" fmla="*/ 0 h 1500"/>
                </a:gdLst>
                <a:ahLst/>
                <a:cxnLst>
                  <a:cxn ang="0">
                    <a:pos x="T0" y="T1"/>
                  </a:cxn>
                  <a:cxn ang="0">
                    <a:pos x="T2" y="T3"/>
                  </a:cxn>
                  <a:cxn ang="0">
                    <a:pos x="T4" y="T5"/>
                  </a:cxn>
                  <a:cxn ang="0">
                    <a:pos x="T6" y="T7"/>
                  </a:cxn>
                  <a:cxn ang="0">
                    <a:pos x="T8" y="T9"/>
                  </a:cxn>
                  <a:cxn ang="0">
                    <a:pos x="T10" y="T11"/>
                  </a:cxn>
                </a:cxnLst>
                <a:rect l="0" t="0" r="r" b="b"/>
                <a:pathLst>
                  <a:path w="1018" h="1500">
                    <a:moveTo>
                      <a:pt x="507" y="0"/>
                    </a:moveTo>
                    <a:lnTo>
                      <a:pt x="991" y="481"/>
                    </a:lnTo>
                    <a:lnTo>
                      <a:pt x="0" y="1473"/>
                    </a:lnTo>
                    <a:lnTo>
                      <a:pt x="27" y="1500"/>
                    </a:lnTo>
                    <a:lnTo>
                      <a:pt x="1018" y="508"/>
                    </a:lnTo>
                    <a:lnTo>
                      <a:pt x="50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20" name="Freeform 119"/>
              <p:cNvSpPr>
                <a:spLocks/>
              </p:cNvSpPr>
              <p:nvPr/>
            </p:nvSpPr>
            <p:spPr bwMode="auto">
              <a:xfrm>
                <a:off x="93345" y="322580"/>
                <a:ext cx="1256665" cy="1257935"/>
              </a:xfrm>
              <a:custGeom>
                <a:avLst/>
                <a:gdLst>
                  <a:gd name="T0" fmla="*/ 0 w 1979"/>
                  <a:gd name="T1" fmla="*/ 989 h 1981"/>
                  <a:gd name="T2" fmla="*/ 988 w 1979"/>
                  <a:gd name="T3" fmla="*/ 0 h 1981"/>
                  <a:gd name="T4" fmla="*/ 1979 w 1979"/>
                  <a:gd name="T5" fmla="*/ 989 h 1981"/>
                  <a:gd name="T6" fmla="*/ 988 w 1979"/>
                  <a:gd name="T7" fmla="*/ 1981 h 1981"/>
                  <a:gd name="T8" fmla="*/ 0 w 1979"/>
                  <a:gd name="T9" fmla="*/ 989 h 1981"/>
                </a:gdLst>
                <a:ahLst/>
                <a:cxnLst>
                  <a:cxn ang="0">
                    <a:pos x="T0" y="T1"/>
                  </a:cxn>
                  <a:cxn ang="0">
                    <a:pos x="T2" y="T3"/>
                  </a:cxn>
                  <a:cxn ang="0">
                    <a:pos x="T4" y="T5"/>
                  </a:cxn>
                  <a:cxn ang="0">
                    <a:pos x="T6" y="T7"/>
                  </a:cxn>
                  <a:cxn ang="0">
                    <a:pos x="T8" y="T9"/>
                  </a:cxn>
                </a:cxnLst>
                <a:rect l="0" t="0" r="r" b="b"/>
                <a:pathLst>
                  <a:path w="1979" h="1981">
                    <a:moveTo>
                      <a:pt x="0" y="989"/>
                    </a:moveTo>
                    <a:lnTo>
                      <a:pt x="988" y="0"/>
                    </a:lnTo>
                    <a:lnTo>
                      <a:pt x="1979" y="989"/>
                    </a:lnTo>
                    <a:lnTo>
                      <a:pt x="988" y="1981"/>
                    </a:lnTo>
                    <a:lnTo>
                      <a:pt x="0" y="9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21" name="Freeform 120"/>
              <p:cNvSpPr>
                <a:spLocks/>
              </p:cNvSpPr>
              <p:nvPr/>
            </p:nvSpPr>
            <p:spPr bwMode="auto">
              <a:xfrm>
                <a:off x="93345" y="322580"/>
                <a:ext cx="1256665" cy="1257935"/>
              </a:xfrm>
              <a:custGeom>
                <a:avLst/>
                <a:gdLst>
                  <a:gd name="T0" fmla="*/ 0 w 1979"/>
                  <a:gd name="T1" fmla="*/ 989 h 1981"/>
                  <a:gd name="T2" fmla="*/ 988 w 1979"/>
                  <a:gd name="T3" fmla="*/ 0 h 1981"/>
                  <a:gd name="T4" fmla="*/ 1979 w 1979"/>
                  <a:gd name="T5" fmla="*/ 989 h 1981"/>
                  <a:gd name="T6" fmla="*/ 988 w 1979"/>
                  <a:gd name="T7" fmla="*/ 1981 h 1981"/>
                  <a:gd name="T8" fmla="*/ 0 w 1979"/>
                  <a:gd name="T9" fmla="*/ 989 h 1981"/>
                </a:gdLst>
                <a:ahLst/>
                <a:cxnLst>
                  <a:cxn ang="0">
                    <a:pos x="T0" y="T1"/>
                  </a:cxn>
                  <a:cxn ang="0">
                    <a:pos x="T2" y="T3"/>
                  </a:cxn>
                  <a:cxn ang="0">
                    <a:pos x="T4" y="T5"/>
                  </a:cxn>
                  <a:cxn ang="0">
                    <a:pos x="T6" y="T7"/>
                  </a:cxn>
                  <a:cxn ang="0">
                    <a:pos x="T8" y="T9"/>
                  </a:cxn>
                </a:cxnLst>
                <a:rect l="0" t="0" r="r" b="b"/>
                <a:pathLst>
                  <a:path w="1979" h="1981">
                    <a:moveTo>
                      <a:pt x="0" y="989"/>
                    </a:moveTo>
                    <a:lnTo>
                      <a:pt x="988" y="0"/>
                    </a:lnTo>
                    <a:lnTo>
                      <a:pt x="1979" y="989"/>
                    </a:lnTo>
                    <a:lnTo>
                      <a:pt x="988" y="1981"/>
                    </a:lnTo>
                    <a:lnTo>
                      <a:pt x="0" y="98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22" name="Freeform 121"/>
              <p:cNvSpPr>
                <a:spLocks/>
              </p:cNvSpPr>
              <p:nvPr/>
            </p:nvSpPr>
            <p:spPr bwMode="auto">
              <a:xfrm>
                <a:off x="1118870" y="1111885"/>
                <a:ext cx="1454785" cy="1456055"/>
              </a:xfrm>
              <a:custGeom>
                <a:avLst/>
                <a:gdLst>
                  <a:gd name="T0" fmla="*/ 13 w 668"/>
                  <a:gd name="T1" fmla="*/ 310 h 668"/>
                  <a:gd name="T2" fmla="*/ 310 w 668"/>
                  <a:gd name="T3" fmla="*/ 13 h 668"/>
                  <a:gd name="T4" fmla="*/ 358 w 668"/>
                  <a:gd name="T5" fmla="*/ 13 h 668"/>
                  <a:gd name="T6" fmla="*/ 655 w 668"/>
                  <a:gd name="T7" fmla="*/ 310 h 668"/>
                  <a:gd name="T8" fmla="*/ 655 w 668"/>
                  <a:gd name="T9" fmla="*/ 358 h 668"/>
                  <a:gd name="T10" fmla="*/ 358 w 668"/>
                  <a:gd name="T11" fmla="*/ 655 h 668"/>
                  <a:gd name="T12" fmla="*/ 310 w 668"/>
                  <a:gd name="T13" fmla="*/ 655 h 668"/>
                  <a:gd name="T14" fmla="*/ 13 w 668"/>
                  <a:gd name="T15" fmla="*/ 358 h 668"/>
                  <a:gd name="T16" fmla="*/ 13 w 668"/>
                  <a:gd name="T17" fmla="*/ 310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8" h="668">
                    <a:moveTo>
                      <a:pt x="13" y="310"/>
                    </a:moveTo>
                    <a:cubicBezTo>
                      <a:pt x="310" y="13"/>
                      <a:pt x="310" y="13"/>
                      <a:pt x="310" y="13"/>
                    </a:cubicBezTo>
                    <a:cubicBezTo>
                      <a:pt x="323" y="0"/>
                      <a:pt x="345" y="0"/>
                      <a:pt x="358" y="13"/>
                    </a:cubicBezTo>
                    <a:cubicBezTo>
                      <a:pt x="655" y="310"/>
                      <a:pt x="655" y="310"/>
                      <a:pt x="655" y="310"/>
                    </a:cubicBezTo>
                    <a:cubicBezTo>
                      <a:pt x="668" y="323"/>
                      <a:pt x="668" y="345"/>
                      <a:pt x="655" y="358"/>
                    </a:cubicBezTo>
                    <a:cubicBezTo>
                      <a:pt x="358" y="655"/>
                      <a:pt x="358" y="655"/>
                      <a:pt x="358" y="655"/>
                    </a:cubicBezTo>
                    <a:cubicBezTo>
                      <a:pt x="345" y="668"/>
                      <a:pt x="323" y="668"/>
                      <a:pt x="310" y="655"/>
                    </a:cubicBezTo>
                    <a:cubicBezTo>
                      <a:pt x="13" y="358"/>
                      <a:pt x="13" y="358"/>
                      <a:pt x="13" y="358"/>
                    </a:cubicBezTo>
                    <a:cubicBezTo>
                      <a:pt x="0" y="345"/>
                      <a:pt x="0" y="323"/>
                      <a:pt x="13" y="310"/>
                    </a:cubicBezTo>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23" name="Freeform 122"/>
              <p:cNvSpPr>
                <a:spLocks/>
              </p:cNvSpPr>
              <p:nvPr/>
            </p:nvSpPr>
            <p:spPr bwMode="auto">
              <a:xfrm>
                <a:off x="1998345" y="1839595"/>
                <a:ext cx="492125" cy="492760"/>
              </a:xfrm>
              <a:custGeom>
                <a:avLst/>
                <a:gdLst>
                  <a:gd name="T0" fmla="*/ 748 w 775"/>
                  <a:gd name="T1" fmla="*/ 0 h 776"/>
                  <a:gd name="T2" fmla="*/ 0 w 775"/>
                  <a:gd name="T3" fmla="*/ 748 h 776"/>
                  <a:gd name="T4" fmla="*/ 28 w 775"/>
                  <a:gd name="T5" fmla="*/ 776 h 776"/>
                  <a:gd name="T6" fmla="*/ 775 w 775"/>
                  <a:gd name="T7" fmla="*/ 28 h 776"/>
                  <a:gd name="T8" fmla="*/ 748 w 775"/>
                  <a:gd name="T9" fmla="*/ 0 h 776"/>
                </a:gdLst>
                <a:ahLst/>
                <a:cxnLst>
                  <a:cxn ang="0">
                    <a:pos x="T0" y="T1"/>
                  </a:cxn>
                  <a:cxn ang="0">
                    <a:pos x="T2" y="T3"/>
                  </a:cxn>
                  <a:cxn ang="0">
                    <a:pos x="T4" y="T5"/>
                  </a:cxn>
                  <a:cxn ang="0">
                    <a:pos x="T6" y="T7"/>
                  </a:cxn>
                  <a:cxn ang="0">
                    <a:pos x="T8" y="T9"/>
                  </a:cxn>
                </a:cxnLst>
                <a:rect l="0" t="0" r="r" b="b"/>
                <a:pathLst>
                  <a:path w="775" h="776">
                    <a:moveTo>
                      <a:pt x="748" y="0"/>
                    </a:moveTo>
                    <a:lnTo>
                      <a:pt x="0" y="748"/>
                    </a:lnTo>
                    <a:lnTo>
                      <a:pt x="28" y="776"/>
                    </a:lnTo>
                    <a:lnTo>
                      <a:pt x="775" y="28"/>
                    </a:lnTo>
                    <a:lnTo>
                      <a:pt x="7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24" name="Freeform 123"/>
              <p:cNvSpPr>
                <a:spLocks/>
              </p:cNvSpPr>
              <p:nvPr/>
            </p:nvSpPr>
            <p:spPr bwMode="auto">
              <a:xfrm>
                <a:off x="1216660" y="1212215"/>
                <a:ext cx="1256665" cy="1257300"/>
              </a:xfrm>
              <a:custGeom>
                <a:avLst/>
                <a:gdLst>
                  <a:gd name="T0" fmla="*/ 0 w 1979"/>
                  <a:gd name="T1" fmla="*/ 988 h 1980"/>
                  <a:gd name="T2" fmla="*/ 991 w 1979"/>
                  <a:gd name="T3" fmla="*/ 0 h 1980"/>
                  <a:gd name="T4" fmla="*/ 1979 w 1979"/>
                  <a:gd name="T5" fmla="*/ 988 h 1980"/>
                  <a:gd name="T6" fmla="*/ 991 w 1979"/>
                  <a:gd name="T7" fmla="*/ 1980 h 1980"/>
                  <a:gd name="T8" fmla="*/ 0 w 1979"/>
                  <a:gd name="T9" fmla="*/ 988 h 1980"/>
                </a:gdLst>
                <a:ahLst/>
                <a:cxnLst>
                  <a:cxn ang="0">
                    <a:pos x="T0" y="T1"/>
                  </a:cxn>
                  <a:cxn ang="0">
                    <a:pos x="T2" y="T3"/>
                  </a:cxn>
                  <a:cxn ang="0">
                    <a:pos x="T4" y="T5"/>
                  </a:cxn>
                  <a:cxn ang="0">
                    <a:pos x="T6" y="T7"/>
                  </a:cxn>
                  <a:cxn ang="0">
                    <a:pos x="T8" y="T9"/>
                  </a:cxn>
                </a:cxnLst>
                <a:rect l="0" t="0" r="r" b="b"/>
                <a:pathLst>
                  <a:path w="1979" h="1980">
                    <a:moveTo>
                      <a:pt x="0" y="988"/>
                    </a:moveTo>
                    <a:lnTo>
                      <a:pt x="991" y="0"/>
                    </a:lnTo>
                    <a:lnTo>
                      <a:pt x="1979" y="988"/>
                    </a:lnTo>
                    <a:lnTo>
                      <a:pt x="991" y="1980"/>
                    </a:lnTo>
                    <a:lnTo>
                      <a:pt x="0" y="9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25" name="Freeform 124"/>
              <p:cNvSpPr>
                <a:spLocks/>
              </p:cNvSpPr>
              <p:nvPr/>
            </p:nvSpPr>
            <p:spPr bwMode="auto">
              <a:xfrm>
                <a:off x="1216660" y="1212215"/>
                <a:ext cx="1256665" cy="1257300"/>
              </a:xfrm>
              <a:custGeom>
                <a:avLst/>
                <a:gdLst>
                  <a:gd name="T0" fmla="*/ 0 w 1979"/>
                  <a:gd name="T1" fmla="*/ 988 h 1980"/>
                  <a:gd name="T2" fmla="*/ 991 w 1979"/>
                  <a:gd name="T3" fmla="*/ 0 h 1980"/>
                  <a:gd name="T4" fmla="*/ 1979 w 1979"/>
                  <a:gd name="T5" fmla="*/ 988 h 1980"/>
                  <a:gd name="T6" fmla="*/ 991 w 1979"/>
                  <a:gd name="T7" fmla="*/ 1980 h 1980"/>
                  <a:gd name="T8" fmla="*/ 0 w 1979"/>
                  <a:gd name="T9" fmla="*/ 988 h 1980"/>
                </a:gdLst>
                <a:ahLst/>
                <a:cxnLst>
                  <a:cxn ang="0">
                    <a:pos x="T0" y="T1"/>
                  </a:cxn>
                  <a:cxn ang="0">
                    <a:pos x="T2" y="T3"/>
                  </a:cxn>
                  <a:cxn ang="0">
                    <a:pos x="T4" y="T5"/>
                  </a:cxn>
                  <a:cxn ang="0">
                    <a:pos x="T6" y="T7"/>
                  </a:cxn>
                  <a:cxn ang="0">
                    <a:pos x="T8" y="T9"/>
                  </a:cxn>
                </a:cxnLst>
                <a:rect l="0" t="0" r="r" b="b"/>
                <a:pathLst>
                  <a:path w="1979" h="1980">
                    <a:moveTo>
                      <a:pt x="0" y="988"/>
                    </a:moveTo>
                    <a:lnTo>
                      <a:pt x="991" y="0"/>
                    </a:lnTo>
                    <a:lnTo>
                      <a:pt x="1979" y="988"/>
                    </a:lnTo>
                    <a:lnTo>
                      <a:pt x="991" y="1980"/>
                    </a:lnTo>
                    <a:lnTo>
                      <a:pt x="0" y="9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26" name="Freeform 125"/>
              <p:cNvSpPr>
                <a:spLocks/>
              </p:cNvSpPr>
              <p:nvPr/>
            </p:nvSpPr>
            <p:spPr bwMode="auto">
              <a:xfrm>
                <a:off x="1702435" y="2314575"/>
                <a:ext cx="313690" cy="172720"/>
              </a:xfrm>
              <a:custGeom>
                <a:avLst/>
                <a:gdLst>
                  <a:gd name="T0" fmla="*/ 466 w 494"/>
                  <a:gd name="T1" fmla="*/ 0 h 272"/>
                  <a:gd name="T2" fmla="*/ 226 w 494"/>
                  <a:gd name="T3" fmla="*/ 244 h 272"/>
                  <a:gd name="T4" fmla="*/ 0 w 494"/>
                  <a:gd name="T5" fmla="*/ 14 h 272"/>
                  <a:gd name="T6" fmla="*/ 254 w 494"/>
                  <a:gd name="T7" fmla="*/ 272 h 272"/>
                  <a:gd name="T8" fmla="*/ 494 w 494"/>
                  <a:gd name="T9" fmla="*/ 28 h 272"/>
                  <a:gd name="T10" fmla="*/ 466 w 494"/>
                  <a:gd name="T11" fmla="*/ 0 h 272"/>
                </a:gdLst>
                <a:ahLst/>
                <a:cxnLst>
                  <a:cxn ang="0">
                    <a:pos x="T0" y="T1"/>
                  </a:cxn>
                  <a:cxn ang="0">
                    <a:pos x="T2" y="T3"/>
                  </a:cxn>
                  <a:cxn ang="0">
                    <a:pos x="T4" y="T5"/>
                  </a:cxn>
                  <a:cxn ang="0">
                    <a:pos x="T6" y="T7"/>
                  </a:cxn>
                  <a:cxn ang="0">
                    <a:pos x="T8" y="T9"/>
                  </a:cxn>
                  <a:cxn ang="0">
                    <a:pos x="T10" y="T11"/>
                  </a:cxn>
                </a:cxnLst>
                <a:rect l="0" t="0" r="r" b="b"/>
                <a:pathLst>
                  <a:path w="494" h="272">
                    <a:moveTo>
                      <a:pt x="466" y="0"/>
                    </a:moveTo>
                    <a:lnTo>
                      <a:pt x="226" y="244"/>
                    </a:lnTo>
                    <a:lnTo>
                      <a:pt x="0" y="14"/>
                    </a:lnTo>
                    <a:lnTo>
                      <a:pt x="254" y="272"/>
                    </a:lnTo>
                    <a:lnTo>
                      <a:pt x="494" y="28"/>
                    </a:lnTo>
                    <a:lnTo>
                      <a:pt x="4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27" name="Freeform 126"/>
              <p:cNvSpPr>
                <a:spLocks/>
              </p:cNvSpPr>
              <p:nvPr/>
            </p:nvSpPr>
            <p:spPr bwMode="auto">
              <a:xfrm>
                <a:off x="2244725" y="222250"/>
                <a:ext cx="1454150" cy="1456055"/>
              </a:xfrm>
              <a:custGeom>
                <a:avLst/>
                <a:gdLst>
                  <a:gd name="T0" fmla="*/ 13 w 668"/>
                  <a:gd name="T1" fmla="*/ 310 h 668"/>
                  <a:gd name="T2" fmla="*/ 309 w 668"/>
                  <a:gd name="T3" fmla="*/ 13 h 668"/>
                  <a:gd name="T4" fmla="*/ 358 w 668"/>
                  <a:gd name="T5" fmla="*/ 13 h 668"/>
                  <a:gd name="T6" fmla="*/ 655 w 668"/>
                  <a:gd name="T7" fmla="*/ 310 h 668"/>
                  <a:gd name="T8" fmla="*/ 655 w 668"/>
                  <a:gd name="T9" fmla="*/ 358 h 668"/>
                  <a:gd name="T10" fmla="*/ 358 w 668"/>
                  <a:gd name="T11" fmla="*/ 655 h 668"/>
                  <a:gd name="T12" fmla="*/ 309 w 668"/>
                  <a:gd name="T13" fmla="*/ 655 h 668"/>
                  <a:gd name="T14" fmla="*/ 13 w 668"/>
                  <a:gd name="T15" fmla="*/ 358 h 668"/>
                  <a:gd name="T16" fmla="*/ 13 w 668"/>
                  <a:gd name="T17" fmla="*/ 310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8" h="668">
                    <a:moveTo>
                      <a:pt x="13" y="310"/>
                    </a:moveTo>
                    <a:cubicBezTo>
                      <a:pt x="309" y="13"/>
                      <a:pt x="309" y="13"/>
                      <a:pt x="309" y="13"/>
                    </a:cubicBezTo>
                    <a:cubicBezTo>
                      <a:pt x="323" y="0"/>
                      <a:pt x="345" y="0"/>
                      <a:pt x="358" y="13"/>
                    </a:cubicBezTo>
                    <a:cubicBezTo>
                      <a:pt x="655" y="310"/>
                      <a:pt x="655" y="310"/>
                      <a:pt x="655" y="310"/>
                    </a:cubicBezTo>
                    <a:cubicBezTo>
                      <a:pt x="668" y="323"/>
                      <a:pt x="668" y="345"/>
                      <a:pt x="655" y="358"/>
                    </a:cubicBezTo>
                    <a:cubicBezTo>
                      <a:pt x="358" y="655"/>
                      <a:pt x="358" y="655"/>
                      <a:pt x="358" y="655"/>
                    </a:cubicBezTo>
                    <a:cubicBezTo>
                      <a:pt x="345" y="668"/>
                      <a:pt x="323" y="668"/>
                      <a:pt x="309" y="655"/>
                    </a:cubicBezTo>
                    <a:cubicBezTo>
                      <a:pt x="13" y="358"/>
                      <a:pt x="13" y="358"/>
                      <a:pt x="13" y="358"/>
                    </a:cubicBezTo>
                    <a:cubicBezTo>
                      <a:pt x="0" y="345"/>
                      <a:pt x="0" y="323"/>
                      <a:pt x="13" y="310"/>
                    </a:cubicBezTo>
                  </a:path>
                </a:pathLst>
              </a:custGeom>
              <a:solidFill>
                <a:schemeClr val="accent5">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28" name="Freeform 127"/>
              <p:cNvSpPr>
                <a:spLocks/>
              </p:cNvSpPr>
              <p:nvPr/>
            </p:nvSpPr>
            <p:spPr bwMode="auto">
              <a:xfrm>
                <a:off x="2971800" y="474980"/>
                <a:ext cx="644525" cy="1122680"/>
              </a:xfrm>
              <a:custGeom>
                <a:avLst/>
                <a:gdLst>
                  <a:gd name="T0" fmla="*/ 240 w 1015"/>
                  <a:gd name="T1" fmla="*/ 0 h 1768"/>
                  <a:gd name="T2" fmla="*/ 240 w 1015"/>
                  <a:gd name="T3" fmla="*/ 0 h 1768"/>
                  <a:gd name="T4" fmla="*/ 987 w 1015"/>
                  <a:gd name="T5" fmla="*/ 749 h 1768"/>
                  <a:gd name="T6" fmla="*/ 0 w 1015"/>
                  <a:gd name="T7" fmla="*/ 1741 h 1768"/>
                  <a:gd name="T8" fmla="*/ 27 w 1015"/>
                  <a:gd name="T9" fmla="*/ 1768 h 1768"/>
                  <a:gd name="T10" fmla="*/ 1015 w 1015"/>
                  <a:gd name="T11" fmla="*/ 776 h 1768"/>
                  <a:gd name="T12" fmla="*/ 240 w 1015"/>
                  <a:gd name="T13" fmla="*/ 0 h 1768"/>
                </a:gdLst>
                <a:ahLst/>
                <a:cxnLst>
                  <a:cxn ang="0">
                    <a:pos x="T0" y="T1"/>
                  </a:cxn>
                  <a:cxn ang="0">
                    <a:pos x="T2" y="T3"/>
                  </a:cxn>
                  <a:cxn ang="0">
                    <a:pos x="T4" y="T5"/>
                  </a:cxn>
                  <a:cxn ang="0">
                    <a:pos x="T6" y="T7"/>
                  </a:cxn>
                  <a:cxn ang="0">
                    <a:pos x="T8" y="T9"/>
                  </a:cxn>
                  <a:cxn ang="0">
                    <a:pos x="T10" y="T11"/>
                  </a:cxn>
                  <a:cxn ang="0">
                    <a:pos x="T12" y="T13"/>
                  </a:cxn>
                </a:cxnLst>
                <a:rect l="0" t="0" r="r" b="b"/>
                <a:pathLst>
                  <a:path w="1015" h="1768">
                    <a:moveTo>
                      <a:pt x="240" y="0"/>
                    </a:moveTo>
                    <a:lnTo>
                      <a:pt x="240" y="0"/>
                    </a:lnTo>
                    <a:lnTo>
                      <a:pt x="987" y="749"/>
                    </a:lnTo>
                    <a:lnTo>
                      <a:pt x="0" y="1741"/>
                    </a:lnTo>
                    <a:lnTo>
                      <a:pt x="27" y="1768"/>
                    </a:lnTo>
                    <a:lnTo>
                      <a:pt x="1015" y="776"/>
                    </a:lnTo>
                    <a:lnTo>
                      <a:pt x="2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29" name="Freeform 128"/>
              <p:cNvSpPr>
                <a:spLocks/>
              </p:cNvSpPr>
              <p:nvPr/>
            </p:nvSpPr>
            <p:spPr bwMode="auto">
              <a:xfrm>
                <a:off x="2342515" y="322580"/>
                <a:ext cx="1256030" cy="1257935"/>
              </a:xfrm>
              <a:custGeom>
                <a:avLst/>
                <a:gdLst>
                  <a:gd name="T0" fmla="*/ 0 w 1978"/>
                  <a:gd name="T1" fmla="*/ 989 h 1981"/>
                  <a:gd name="T2" fmla="*/ 991 w 1978"/>
                  <a:gd name="T3" fmla="*/ 0 h 1981"/>
                  <a:gd name="T4" fmla="*/ 1978 w 1978"/>
                  <a:gd name="T5" fmla="*/ 989 h 1981"/>
                  <a:gd name="T6" fmla="*/ 991 w 1978"/>
                  <a:gd name="T7" fmla="*/ 1981 h 1981"/>
                  <a:gd name="T8" fmla="*/ 0 w 1978"/>
                  <a:gd name="T9" fmla="*/ 989 h 1981"/>
                </a:gdLst>
                <a:ahLst/>
                <a:cxnLst>
                  <a:cxn ang="0">
                    <a:pos x="T0" y="T1"/>
                  </a:cxn>
                  <a:cxn ang="0">
                    <a:pos x="T2" y="T3"/>
                  </a:cxn>
                  <a:cxn ang="0">
                    <a:pos x="T4" y="T5"/>
                  </a:cxn>
                  <a:cxn ang="0">
                    <a:pos x="T6" y="T7"/>
                  </a:cxn>
                  <a:cxn ang="0">
                    <a:pos x="T8" y="T9"/>
                  </a:cxn>
                </a:cxnLst>
                <a:rect l="0" t="0" r="r" b="b"/>
                <a:pathLst>
                  <a:path w="1978" h="1981">
                    <a:moveTo>
                      <a:pt x="0" y="989"/>
                    </a:moveTo>
                    <a:lnTo>
                      <a:pt x="991" y="0"/>
                    </a:lnTo>
                    <a:lnTo>
                      <a:pt x="1978" y="989"/>
                    </a:lnTo>
                    <a:lnTo>
                      <a:pt x="991" y="1981"/>
                    </a:lnTo>
                    <a:lnTo>
                      <a:pt x="0" y="9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30" name="Freeform 129"/>
              <p:cNvSpPr>
                <a:spLocks/>
              </p:cNvSpPr>
              <p:nvPr/>
            </p:nvSpPr>
            <p:spPr bwMode="auto">
              <a:xfrm>
                <a:off x="2342515" y="322580"/>
                <a:ext cx="1256030" cy="1257935"/>
              </a:xfrm>
              <a:custGeom>
                <a:avLst/>
                <a:gdLst>
                  <a:gd name="T0" fmla="*/ 0 w 1978"/>
                  <a:gd name="T1" fmla="*/ 989 h 1981"/>
                  <a:gd name="T2" fmla="*/ 991 w 1978"/>
                  <a:gd name="T3" fmla="*/ 0 h 1981"/>
                  <a:gd name="T4" fmla="*/ 1978 w 1978"/>
                  <a:gd name="T5" fmla="*/ 989 h 1981"/>
                  <a:gd name="T6" fmla="*/ 991 w 1978"/>
                  <a:gd name="T7" fmla="*/ 1981 h 1981"/>
                  <a:gd name="T8" fmla="*/ 0 w 1978"/>
                  <a:gd name="T9" fmla="*/ 989 h 1981"/>
                </a:gdLst>
                <a:ahLst/>
                <a:cxnLst>
                  <a:cxn ang="0">
                    <a:pos x="T0" y="T1"/>
                  </a:cxn>
                  <a:cxn ang="0">
                    <a:pos x="T2" y="T3"/>
                  </a:cxn>
                  <a:cxn ang="0">
                    <a:pos x="T4" y="T5"/>
                  </a:cxn>
                  <a:cxn ang="0">
                    <a:pos x="T6" y="T7"/>
                  </a:cxn>
                  <a:cxn ang="0">
                    <a:pos x="T8" y="T9"/>
                  </a:cxn>
                </a:cxnLst>
                <a:rect l="0" t="0" r="r" b="b"/>
                <a:pathLst>
                  <a:path w="1978" h="1981">
                    <a:moveTo>
                      <a:pt x="0" y="989"/>
                    </a:moveTo>
                    <a:lnTo>
                      <a:pt x="991" y="0"/>
                    </a:lnTo>
                    <a:lnTo>
                      <a:pt x="1978" y="989"/>
                    </a:lnTo>
                    <a:lnTo>
                      <a:pt x="991" y="1981"/>
                    </a:lnTo>
                    <a:lnTo>
                      <a:pt x="0" y="98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31" name="Freeform 130"/>
              <p:cNvSpPr>
                <a:spLocks/>
              </p:cNvSpPr>
              <p:nvPr/>
            </p:nvSpPr>
            <p:spPr bwMode="auto">
              <a:xfrm>
                <a:off x="2988945" y="340360"/>
                <a:ext cx="135255" cy="134620"/>
              </a:xfrm>
              <a:custGeom>
                <a:avLst/>
                <a:gdLst>
                  <a:gd name="T0" fmla="*/ 0 w 213"/>
                  <a:gd name="T1" fmla="*/ 0 h 212"/>
                  <a:gd name="T2" fmla="*/ 0 w 213"/>
                  <a:gd name="T3" fmla="*/ 0 h 212"/>
                  <a:gd name="T4" fmla="*/ 213 w 213"/>
                  <a:gd name="T5" fmla="*/ 212 h 212"/>
                  <a:gd name="T6" fmla="*/ 213 w 213"/>
                  <a:gd name="T7" fmla="*/ 212 h 212"/>
                  <a:gd name="T8" fmla="*/ 0 w 213"/>
                  <a:gd name="T9" fmla="*/ 0 h 212"/>
                </a:gdLst>
                <a:ahLst/>
                <a:cxnLst>
                  <a:cxn ang="0">
                    <a:pos x="T0" y="T1"/>
                  </a:cxn>
                  <a:cxn ang="0">
                    <a:pos x="T2" y="T3"/>
                  </a:cxn>
                  <a:cxn ang="0">
                    <a:pos x="T4" y="T5"/>
                  </a:cxn>
                  <a:cxn ang="0">
                    <a:pos x="T6" y="T7"/>
                  </a:cxn>
                  <a:cxn ang="0">
                    <a:pos x="T8" y="T9"/>
                  </a:cxn>
                </a:cxnLst>
                <a:rect l="0" t="0" r="r" b="b"/>
                <a:pathLst>
                  <a:path w="213" h="212">
                    <a:moveTo>
                      <a:pt x="0" y="0"/>
                    </a:moveTo>
                    <a:lnTo>
                      <a:pt x="0" y="0"/>
                    </a:lnTo>
                    <a:lnTo>
                      <a:pt x="213" y="212"/>
                    </a:lnTo>
                    <a:lnTo>
                      <a:pt x="213" y="212"/>
                    </a:lnTo>
                    <a:lnTo>
                      <a:pt x="0" y="0"/>
                    </a:lnTo>
                    <a:close/>
                  </a:path>
                </a:pathLst>
              </a:custGeom>
              <a:solidFill>
                <a:srgbClr val="A7A7A7"/>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32" name="Freeform 131"/>
              <p:cNvSpPr>
                <a:spLocks/>
              </p:cNvSpPr>
              <p:nvPr/>
            </p:nvSpPr>
            <p:spPr bwMode="auto">
              <a:xfrm>
                <a:off x="2988945" y="340360"/>
                <a:ext cx="135255" cy="134620"/>
              </a:xfrm>
              <a:custGeom>
                <a:avLst/>
                <a:gdLst>
                  <a:gd name="T0" fmla="*/ 0 w 213"/>
                  <a:gd name="T1" fmla="*/ 0 h 212"/>
                  <a:gd name="T2" fmla="*/ 0 w 213"/>
                  <a:gd name="T3" fmla="*/ 0 h 212"/>
                  <a:gd name="T4" fmla="*/ 213 w 213"/>
                  <a:gd name="T5" fmla="*/ 212 h 212"/>
                  <a:gd name="T6" fmla="*/ 213 w 213"/>
                  <a:gd name="T7" fmla="*/ 212 h 212"/>
                  <a:gd name="T8" fmla="*/ 0 w 213"/>
                  <a:gd name="T9" fmla="*/ 0 h 212"/>
                </a:gdLst>
                <a:ahLst/>
                <a:cxnLst>
                  <a:cxn ang="0">
                    <a:pos x="T0" y="T1"/>
                  </a:cxn>
                  <a:cxn ang="0">
                    <a:pos x="T2" y="T3"/>
                  </a:cxn>
                  <a:cxn ang="0">
                    <a:pos x="T4" y="T5"/>
                  </a:cxn>
                  <a:cxn ang="0">
                    <a:pos x="T6" y="T7"/>
                  </a:cxn>
                  <a:cxn ang="0">
                    <a:pos x="T8" y="T9"/>
                  </a:cxn>
                </a:cxnLst>
                <a:rect l="0" t="0" r="r" b="b"/>
                <a:pathLst>
                  <a:path w="213" h="212">
                    <a:moveTo>
                      <a:pt x="0" y="0"/>
                    </a:moveTo>
                    <a:lnTo>
                      <a:pt x="0" y="0"/>
                    </a:lnTo>
                    <a:lnTo>
                      <a:pt x="213" y="212"/>
                    </a:lnTo>
                    <a:lnTo>
                      <a:pt x="213" y="21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33" name="Freeform 132"/>
              <p:cNvSpPr>
                <a:spLocks/>
              </p:cNvSpPr>
              <p:nvPr/>
            </p:nvSpPr>
            <p:spPr bwMode="auto">
              <a:xfrm>
                <a:off x="4493895" y="222250"/>
                <a:ext cx="1456055" cy="1456055"/>
              </a:xfrm>
              <a:custGeom>
                <a:avLst/>
                <a:gdLst>
                  <a:gd name="T0" fmla="*/ 14 w 669"/>
                  <a:gd name="T1" fmla="*/ 310 h 668"/>
                  <a:gd name="T2" fmla="*/ 310 w 669"/>
                  <a:gd name="T3" fmla="*/ 13 h 668"/>
                  <a:gd name="T4" fmla="*/ 359 w 669"/>
                  <a:gd name="T5" fmla="*/ 13 h 668"/>
                  <a:gd name="T6" fmla="*/ 655 w 669"/>
                  <a:gd name="T7" fmla="*/ 310 h 668"/>
                  <a:gd name="T8" fmla="*/ 655 w 669"/>
                  <a:gd name="T9" fmla="*/ 358 h 668"/>
                  <a:gd name="T10" fmla="*/ 359 w 669"/>
                  <a:gd name="T11" fmla="*/ 655 h 668"/>
                  <a:gd name="T12" fmla="*/ 310 w 669"/>
                  <a:gd name="T13" fmla="*/ 655 h 668"/>
                  <a:gd name="T14" fmla="*/ 14 w 669"/>
                  <a:gd name="T15" fmla="*/ 358 h 668"/>
                  <a:gd name="T16" fmla="*/ 14 w 669"/>
                  <a:gd name="T17" fmla="*/ 310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9" h="668">
                    <a:moveTo>
                      <a:pt x="14" y="310"/>
                    </a:moveTo>
                    <a:cubicBezTo>
                      <a:pt x="310" y="13"/>
                      <a:pt x="310" y="13"/>
                      <a:pt x="310" y="13"/>
                    </a:cubicBezTo>
                    <a:cubicBezTo>
                      <a:pt x="323" y="0"/>
                      <a:pt x="345" y="0"/>
                      <a:pt x="359" y="13"/>
                    </a:cubicBezTo>
                    <a:cubicBezTo>
                      <a:pt x="655" y="310"/>
                      <a:pt x="655" y="310"/>
                      <a:pt x="655" y="310"/>
                    </a:cubicBezTo>
                    <a:cubicBezTo>
                      <a:pt x="669" y="323"/>
                      <a:pt x="669" y="345"/>
                      <a:pt x="655" y="358"/>
                    </a:cubicBezTo>
                    <a:cubicBezTo>
                      <a:pt x="359" y="655"/>
                      <a:pt x="359" y="655"/>
                      <a:pt x="359" y="655"/>
                    </a:cubicBezTo>
                    <a:cubicBezTo>
                      <a:pt x="345" y="668"/>
                      <a:pt x="323" y="668"/>
                      <a:pt x="310" y="655"/>
                    </a:cubicBezTo>
                    <a:cubicBezTo>
                      <a:pt x="14" y="358"/>
                      <a:pt x="14" y="358"/>
                      <a:pt x="14" y="358"/>
                    </a:cubicBezTo>
                    <a:cubicBezTo>
                      <a:pt x="0" y="345"/>
                      <a:pt x="0" y="323"/>
                      <a:pt x="14" y="310"/>
                    </a:cubicBezTo>
                  </a:path>
                </a:pathLst>
              </a:custGeom>
              <a:solidFill>
                <a:schemeClr val="accent5">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34" name="Freeform 133"/>
              <p:cNvSpPr>
                <a:spLocks/>
              </p:cNvSpPr>
              <p:nvPr/>
            </p:nvSpPr>
            <p:spPr bwMode="auto">
              <a:xfrm>
                <a:off x="4611370" y="593090"/>
                <a:ext cx="1256030" cy="1004570"/>
              </a:xfrm>
              <a:custGeom>
                <a:avLst/>
                <a:gdLst>
                  <a:gd name="T0" fmla="*/ 1388 w 1978"/>
                  <a:gd name="T1" fmla="*/ 0 h 1582"/>
                  <a:gd name="T2" fmla="*/ 1951 w 1978"/>
                  <a:gd name="T3" fmla="*/ 563 h 1582"/>
                  <a:gd name="T4" fmla="*/ 960 w 1978"/>
                  <a:gd name="T5" fmla="*/ 1555 h 1582"/>
                  <a:gd name="T6" fmla="*/ 0 w 1978"/>
                  <a:gd name="T7" fmla="*/ 590 h 1582"/>
                  <a:gd name="T8" fmla="*/ 0 w 1978"/>
                  <a:gd name="T9" fmla="*/ 590 h 1582"/>
                  <a:gd name="T10" fmla="*/ 987 w 1978"/>
                  <a:gd name="T11" fmla="*/ 1582 h 1582"/>
                  <a:gd name="T12" fmla="*/ 1978 w 1978"/>
                  <a:gd name="T13" fmla="*/ 590 h 1582"/>
                  <a:gd name="T14" fmla="*/ 1388 w 1978"/>
                  <a:gd name="T15" fmla="*/ 0 h 15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8" h="1582">
                    <a:moveTo>
                      <a:pt x="1388" y="0"/>
                    </a:moveTo>
                    <a:lnTo>
                      <a:pt x="1951" y="563"/>
                    </a:lnTo>
                    <a:lnTo>
                      <a:pt x="960" y="1555"/>
                    </a:lnTo>
                    <a:lnTo>
                      <a:pt x="0" y="590"/>
                    </a:lnTo>
                    <a:lnTo>
                      <a:pt x="0" y="590"/>
                    </a:lnTo>
                    <a:lnTo>
                      <a:pt x="987" y="1582"/>
                    </a:lnTo>
                    <a:lnTo>
                      <a:pt x="1978" y="590"/>
                    </a:lnTo>
                    <a:lnTo>
                      <a:pt x="1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35" name="Freeform 134"/>
              <p:cNvSpPr>
                <a:spLocks/>
              </p:cNvSpPr>
              <p:nvPr/>
            </p:nvSpPr>
            <p:spPr bwMode="auto">
              <a:xfrm>
                <a:off x="4593590" y="322580"/>
                <a:ext cx="1256665" cy="1257935"/>
              </a:xfrm>
              <a:custGeom>
                <a:avLst/>
                <a:gdLst>
                  <a:gd name="T0" fmla="*/ 0 w 1979"/>
                  <a:gd name="T1" fmla="*/ 989 h 1981"/>
                  <a:gd name="T2" fmla="*/ 988 w 1979"/>
                  <a:gd name="T3" fmla="*/ 0 h 1981"/>
                  <a:gd name="T4" fmla="*/ 1979 w 1979"/>
                  <a:gd name="T5" fmla="*/ 989 h 1981"/>
                  <a:gd name="T6" fmla="*/ 988 w 1979"/>
                  <a:gd name="T7" fmla="*/ 1981 h 1981"/>
                  <a:gd name="T8" fmla="*/ 0 w 1979"/>
                  <a:gd name="T9" fmla="*/ 989 h 1981"/>
                </a:gdLst>
                <a:ahLst/>
                <a:cxnLst>
                  <a:cxn ang="0">
                    <a:pos x="T0" y="T1"/>
                  </a:cxn>
                  <a:cxn ang="0">
                    <a:pos x="T2" y="T3"/>
                  </a:cxn>
                  <a:cxn ang="0">
                    <a:pos x="T4" y="T5"/>
                  </a:cxn>
                  <a:cxn ang="0">
                    <a:pos x="T6" y="T7"/>
                  </a:cxn>
                  <a:cxn ang="0">
                    <a:pos x="T8" y="T9"/>
                  </a:cxn>
                </a:cxnLst>
                <a:rect l="0" t="0" r="r" b="b"/>
                <a:pathLst>
                  <a:path w="1979" h="1981">
                    <a:moveTo>
                      <a:pt x="0" y="989"/>
                    </a:moveTo>
                    <a:lnTo>
                      <a:pt x="988" y="0"/>
                    </a:lnTo>
                    <a:lnTo>
                      <a:pt x="1979" y="989"/>
                    </a:lnTo>
                    <a:lnTo>
                      <a:pt x="988" y="1981"/>
                    </a:lnTo>
                    <a:lnTo>
                      <a:pt x="0" y="9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36" name="Freeform 135"/>
              <p:cNvSpPr>
                <a:spLocks/>
              </p:cNvSpPr>
              <p:nvPr/>
            </p:nvSpPr>
            <p:spPr bwMode="auto">
              <a:xfrm>
                <a:off x="4593590" y="322580"/>
                <a:ext cx="1256665" cy="1257935"/>
              </a:xfrm>
              <a:custGeom>
                <a:avLst/>
                <a:gdLst>
                  <a:gd name="T0" fmla="*/ 0 w 1979"/>
                  <a:gd name="T1" fmla="*/ 989 h 1981"/>
                  <a:gd name="T2" fmla="*/ 988 w 1979"/>
                  <a:gd name="T3" fmla="*/ 0 h 1981"/>
                  <a:gd name="T4" fmla="*/ 1979 w 1979"/>
                  <a:gd name="T5" fmla="*/ 989 h 1981"/>
                  <a:gd name="T6" fmla="*/ 988 w 1979"/>
                  <a:gd name="T7" fmla="*/ 1981 h 1981"/>
                  <a:gd name="T8" fmla="*/ 0 w 1979"/>
                  <a:gd name="T9" fmla="*/ 989 h 1981"/>
                </a:gdLst>
                <a:ahLst/>
                <a:cxnLst>
                  <a:cxn ang="0">
                    <a:pos x="T0" y="T1"/>
                  </a:cxn>
                  <a:cxn ang="0">
                    <a:pos x="T2" y="T3"/>
                  </a:cxn>
                  <a:cxn ang="0">
                    <a:pos x="T4" y="T5"/>
                  </a:cxn>
                  <a:cxn ang="0">
                    <a:pos x="T6" y="T7"/>
                  </a:cxn>
                  <a:cxn ang="0">
                    <a:pos x="T8" y="T9"/>
                  </a:cxn>
                </a:cxnLst>
                <a:rect l="0" t="0" r="r" b="b"/>
                <a:pathLst>
                  <a:path w="1979" h="1981">
                    <a:moveTo>
                      <a:pt x="0" y="989"/>
                    </a:moveTo>
                    <a:lnTo>
                      <a:pt x="988" y="0"/>
                    </a:lnTo>
                    <a:lnTo>
                      <a:pt x="1979" y="989"/>
                    </a:lnTo>
                    <a:lnTo>
                      <a:pt x="988" y="1981"/>
                    </a:lnTo>
                    <a:lnTo>
                      <a:pt x="0" y="98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37" name="Freeform 136"/>
              <p:cNvSpPr>
                <a:spLocks/>
              </p:cNvSpPr>
              <p:nvPr/>
            </p:nvSpPr>
            <p:spPr bwMode="auto">
              <a:xfrm>
                <a:off x="3368040" y="1111885"/>
                <a:ext cx="1456690" cy="1456055"/>
              </a:xfrm>
              <a:custGeom>
                <a:avLst/>
                <a:gdLst>
                  <a:gd name="T0" fmla="*/ 14 w 669"/>
                  <a:gd name="T1" fmla="*/ 310 h 668"/>
                  <a:gd name="T2" fmla="*/ 310 w 669"/>
                  <a:gd name="T3" fmla="*/ 13 h 668"/>
                  <a:gd name="T4" fmla="*/ 359 w 669"/>
                  <a:gd name="T5" fmla="*/ 13 h 668"/>
                  <a:gd name="T6" fmla="*/ 655 w 669"/>
                  <a:gd name="T7" fmla="*/ 310 h 668"/>
                  <a:gd name="T8" fmla="*/ 655 w 669"/>
                  <a:gd name="T9" fmla="*/ 358 h 668"/>
                  <a:gd name="T10" fmla="*/ 359 w 669"/>
                  <a:gd name="T11" fmla="*/ 655 h 668"/>
                  <a:gd name="T12" fmla="*/ 310 w 669"/>
                  <a:gd name="T13" fmla="*/ 655 h 668"/>
                  <a:gd name="T14" fmla="*/ 14 w 669"/>
                  <a:gd name="T15" fmla="*/ 358 h 668"/>
                  <a:gd name="T16" fmla="*/ 14 w 669"/>
                  <a:gd name="T17" fmla="*/ 310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9" h="668">
                    <a:moveTo>
                      <a:pt x="14" y="310"/>
                    </a:moveTo>
                    <a:cubicBezTo>
                      <a:pt x="310" y="13"/>
                      <a:pt x="310" y="13"/>
                      <a:pt x="310" y="13"/>
                    </a:cubicBezTo>
                    <a:cubicBezTo>
                      <a:pt x="324" y="0"/>
                      <a:pt x="345" y="0"/>
                      <a:pt x="359" y="13"/>
                    </a:cubicBezTo>
                    <a:cubicBezTo>
                      <a:pt x="655" y="310"/>
                      <a:pt x="655" y="310"/>
                      <a:pt x="655" y="310"/>
                    </a:cubicBezTo>
                    <a:cubicBezTo>
                      <a:pt x="669" y="323"/>
                      <a:pt x="669" y="345"/>
                      <a:pt x="655" y="358"/>
                    </a:cubicBezTo>
                    <a:cubicBezTo>
                      <a:pt x="359" y="655"/>
                      <a:pt x="359" y="655"/>
                      <a:pt x="359" y="655"/>
                    </a:cubicBezTo>
                    <a:cubicBezTo>
                      <a:pt x="345" y="668"/>
                      <a:pt x="324" y="668"/>
                      <a:pt x="310" y="655"/>
                    </a:cubicBezTo>
                    <a:cubicBezTo>
                      <a:pt x="14" y="358"/>
                      <a:pt x="14" y="358"/>
                      <a:pt x="14" y="358"/>
                    </a:cubicBezTo>
                    <a:cubicBezTo>
                      <a:pt x="0" y="345"/>
                      <a:pt x="0" y="323"/>
                      <a:pt x="14" y="310"/>
                    </a:cubicBezTo>
                  </a:path>
                </a:pathLst>
              </a:custGeom>
              <a:solidFill>
                <a:schemeClr val="accent5">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38" name="Freeform 137"/>
              <p:cNvSpPr>
                <a:spLocks noEditPoints="1"/>
              </p:cNvSpPr>
              <p:nvPr/>
            </p:nvSpPr>
            <p:spPr bwMode="auto">
              <a:xfrm>
                <a:off x="3485515" y="1229360"/>
                <a:ext cx="1256030" cy="1102995"/>
              </a:xfrm>
              <a:custGeom>
                <a:avLst/>
                <a:gdLst>
                  <a:gd name="T0" fmla="*/ 0 w 1978"/>
                  <a:gd name="T1" fmla="*/ 989 h 1737"/>
                  <a:gd name="T2" fmla="*/ 0 w 1978"/>
                  <a:gd name="T3" fmla="*/ 989 h 1737"/>
                  <a:gd name="T4" fmla="*/ 562 w 1978"/>
                  <a:gd name="T5" fmla="*/ 1552 h 1737"/>
                  <a:gd name="T6" fmla="*/ 0 w 1978"/>
                  <a:gd name="T7" fmla="*/ 989 h 1737"/>
                  <a:gd name="T8" fmla="*/ 991 w 1978"/>
                  <a:gd name="T9" fmla="*/ 0 h 1737"/>
                  <a:gd name="T10" fmla="*/ 991 w 1978"/>
                  <a:gd name="T11" fmla="*/ 0 h 1737"/>
                  <a:gd name="T12" fmla="*/ 1951 w 1978"/>
                  <a:gd name="T13" fmla="*/ 961 h 1737"/>
                  <a:gd name="T14" fmla="*/ 1204 w 1978"/>
                  <a:gd name="T15" fmla="*/ 1709 h 1737"/>
                  <a:gd name="T16" fmla="*/ 1231 w 1978"/>
                  <a:gd name="T17" fmla="*/ 1737 h 1737"/>
                  <a:gd name="T18" fmla="*/ 1978 w 1978"/>
                  <a:gd name="T19" fmla="*/ 989 h 1737"/>
                  <a:gd name="T20" fmla="*/ 991 w 1978"/>
                  <a:gd name="T21" fmla="*/ 0 h 1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78" h="1737">
                    <a:moveTo>
                      <a:pt x="0" y="989"/>
                    </a:moveTo>
                    <a:lnTo>
                      <a:pt x="0" y="989"/>
                    </a:lnTo>
                    <a:lnTo>
                      <a:pt x="562" y="1552"/>
                    </a:lnTo>
                    <a:lnTo>
                      <a:pt x="0" y="989"/>
                    </a:lnTo>
                    <a:moveTo>
                      <a:pt x="991" y="0"/>
                    </a:moveTo>
                    <a:lnTo>
                      <a:pt x="991" y="0"/>
                    </a:lnTo>
                    <a:lnTo>
                      <a:pt x="1951" y="961"/>
                    </a:lnTo>
                    <a:lnTo>
                      <a:pt x="1204" y="1709"/>
                    </a:lnTo>
                    <a:lnTo>
                      <a:pt x="1231" y="1737"/>
                    </a:lnTo>
                    <a:lnTo>
                      <a:pt x="1978" y="989"/>
                    </a:lnTo>
                    <a:lnTo>
                      <a:pt x="9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39" name="Freeform 138"/>
              <p:cNvSpPr>
                <a:spLocks/>
              </p:cNvSpPr>
              <p:nvPr/>
            </p:nvSpPr>
            <p:spPr bwMode="auto">
              <a:xfrm>
                <a:off x="3468370" y="1212215"/>
                <a:ext cx="1256030" cy="1257300"/>
              </a:xfrm>
              <a:custGeom>
                <a:avLst/>
                <a:gdLst>
                  <a:gd name="T0" fmla="*/ 0 w 1978"/>
                  <a:gd name="T1" fmla="*/ 988 h 1980"/>
                  <a:gd name="T2" fmla="*/ 991 w 1978"/>
                  <a:gd name="T3" fmla="*/ 0 h 1980"/>
                  <a:gd name="T4" fmla="*/ 1978 w 1978"/>
                  <a:gd name="T5" fmla="*/ 988 h 1980"/>
                  <a:gd name="T6" fmla="*/ 991 w 1978"/>
                  <a:gd name="T7" fmla="*/ 1980 h 1980"/>
                  <a:gd name="T8" fmla="*/ 0 w 1978"/>
                  <a:gd name="T9" fmla="*/ 988 h 1980"/>
                </a:gdLst>
                <a:ahLst/>
                <a:cxnLst>
                  <a:cxn ang="0">
                    <a:pos x="T0" y="T1"/>
                  </a:cxn>
                  <a:cxn ang="0">
                    <a:pos x="T2" y="T3"/>
                  </a:cxn>
                  <a:cxn ang="0">
                    <a:pos x="T4" y="T5"/>
                  </a:cxn>
                  <a:cxn ang="0">
                    <a:pos x="T6" y="T7"/>
                  </a:cxn>
                  <a:cxn ang="0">
                    <a:pos x="T8" y="T9"/>
                  </a:cxn>
                </a:cxnLst>
                <a:rect l="0" t="0" r="r" b="b"/>
                <a:pathLst>
                  <a:path w="1978" h="1980">
                    <a:moveTo>
                      <a:pt x="0" y="988"/>
                    </a:moveTo>
                    <a:lnTo>
                      <a:pt x="991" y="0"/>
                    </a:lnTo>
                    <a:lnTo>
                      <a:pt x="1978" y="988"/>
                    </a:lnTo>
                    <a:lnTo>
                      <a:pt x="991" y="1980"/>
                    </a:lnTo>
                    <a:lnTo>
                      <a:pt x="0" y="9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40" name="Freeform 139"/>
              <p:cNvSpPr>
                <a:spLocks/>
              </p:cNvSpPr>
              <p:nvPr/>
            </p:nvSpPr>
            <p:spPr bwMode="auto">
              <a:xfrm>
                <a:off x="3468370" y="1212215"/>
                <a:ext cx="1256030" cy="1257300"/>
              </a:xfrm>
              <a:custGeom>
                <a:avLst/>
                <a:gdLst>
                  <a:gd name="T0" fmla="*/ 0 w 1978"/>
                  <a:gd name="T1" fmla="*/ 988 h 1980"/>
                  <a:gd name="T2" fmla="*/ 991 w 1978"/>
                  <a:gd name="T3" fmla="*/ 0 h 1980"/>
                  <a:gd name="T4" fmla="*/ 1978 w 1978"/>
                  <a:gd name="T5" fmla="*/ 988 h 1980"/>
                  <a:gd name="T6" fmla="*/ 991 w 1978"/>
                  <a:gd name="T7" fmla="*/ 1980 h 1980"/>
                  <a:gd name="T8" fmla="*/ 0 w 1978"/>
                  <a:gd name="T9" fmla="*/ 988 h 1980"/>
                </a:gdLst>
                <a:ahLst/>
                <a:cxnLst>
                  <a:cxn ang="0">
                    <a:pos x="T0" y="T1"/>
                  </a:cxn>
                  <a:cxn ang="0">
                    <a:pos x="T2" y="T3"/>
                  </a:cxn>
                  <a:cxn ang="0">
                    <a:pos x="T4" y="T5"/>
                  </a:cxn>
                  <a:cxn ang="0">
                    <a:pos x="T6" y="T7"/>
                  </a:cxn>
                  <a:cxn ang="0">
                    <a:pos x="T8" y="T9"/>
                  </a:cxn>
                </a:cxnLst>
                <a:rect l="0" t="0" r="r" b="b"/>
                <a:pathLst>
                  <a:path w="1978" h="1980">
                    <a:moveTo>
                      <a:pt x="0" y="988"/>
                    </a:moveTo>
                    <a:lnTo>
                      <a:pt x="991" y="0"/>
                    </a:lnTo>
                    <a:lnTo>
                      <a:pt x="1978" y="988"/>
                    </a:lnTo>
                    <a:lnTo>
                      <a:pt x="991" y="1980"/>
                    </a:lnTo>
                    <a:lnTo>
                      <a:pt x="0" y="9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41" name="Freeform 140"/>
              <p:cNvSpPr>
                <a:spLocks/>
              </p:cNvSpPr>
              <p:nvPr/>
            </p:nvSpPr>
            <p:spPr bwMode="auto">
              <a:xfrm>
                <a:off x="4097655" y="2314575"/>
                <a:ext cx="169545" cy="172720"/>
              </a:xfrm>
              <a:custGeom>
                <a:avLst/>
                <a:gdLst>
                  <a:gd name="T0" fmla="*/ 240 w 267"/>
                  <a:gd name="T1" fmla="*/ 0 h 272"/>
                  <a:gd name="T2" fmla="*/ 0 w 267"/>
                  <a:gd name="T3" fmla="*/ 244 h 272"/>
                  <a:gd name="T4" fmla="*/ 27 w 267"/>
                  <a:gd name="T5" fmla="*/ 272 h 272"/>
                  <a:gd name="T6" fmla="*/ 267 w 267"/>
                  <a:gd name="T7" fmla="*/ 28 h 272"/>
                  <a:gd name="T8" fmla="*/ 240 w 267"/>
                  <a:gd name="T9" fmla="*/ 0 h 272"/>
                </a:gdLst>
                <a:ahLst/>
                <a:cxnLst>
                  <a:cxn ang="0">
                    <a:pos x="T0" y="T1"/>
                  </a:cxn>
                  <a:cxn ang="0">
                    <a:pos x="T2" y="T3"/>
                  </a:cxn>
                  <a:cxn ang="0">
                    <a:pos x="T4" y="T5"/>
                  </a:cxn>
                  <a:cxn ang="0">
                    <a:pos x="T6" y="T7"/>
                  </a:cxn>
                  <a:cxn ang="0">
                    <a:pos x="T8" y="T9"/>
                  </a:cxn>
                </a:cxnLst>
                <a:rect l="0" t="0" r="r" b="b"/>
                <a:pathLst>
                  <a:path w="267" h="272">
                    <a:moveTo>
                      <a:pt x="240" y="0"/>
                    </a:moveTo>
                    <a:lnTo>
                      <a:pt x="0" y="244"/>
                    </a:lnTo>
                    <a:lnTo>
                      <a:pt x="27" y="272"/>
                    </a:lnTo>
                    <a:lnTo>
                      <a:pt x="267" y="28"/>
                    </a:lnTo>
                    <a:lnTo>
                      <a:pt x="2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grpSp>
        <p:sp>
          <p:nvSpPr>
            <p:cNvPr id="33" name="Text Box 62"/>
            <p:cNvSpPr txBox="1"/>
            <p:nvPr/>
          </p:nvSpPr>
          <p:spPr>
            <a:xfrm>
              <a:off x="163369" y="0"/>
              <a:ext cx="1600813" cy="37147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07000"/>
                </a:lnSpc>
              </a:pPr>
              <a:r>
                <a:rPr lang="en-US" sz="2000" dirty="0" smtClean="0">
                  <a:solidFill>
                    <a:schemeClr val="tx1"/>
                  </a:solidFill>
                  <a:latin typeface="Times New Roman" pitchFamily="18" charset="0"/>
                  <a:cs typeface="Times New Roman" pitchFamily="18" charset="0"/>
                </a:rPr>
                <a:t>   Introduction</a:t>
              </a:r>
              <a:endParaRPr lang="en-US" sz="2000" dirty="0">
                <a:solidFill>
                  <a:schemeClr val="tx1"/>
                </a:solidFill>
                <a:latin typeface="Times New Roman" pitchFamily="18" charset="0"/>
                <a:cs typeface="Times New Roman" pitchFamily="18" charset="0"/>
              </a:endParaRPr>
            </a:p>
          </p:txBody>
        </p:sp>
        <p:sp>
          <p:nvSpPr>
            <p:cNvPr id="35" name="Text Box 63"/>
            <p:cNvSpPr txBox="1"/>
            <p:nvPr/>
          </p:nvSpPr>
          <p:spPr>
            <a:xfrm>
              <a:off x="1564237" y="3898185"/>
              <a:ext cx="2443317" cy="37147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defRPr/>
              </a:pPr>
              <a:r>
                <a:rPr lang="en-US" sz="2000" dirty="0" smtClean="0">
                  <a:solidFill>
                    <a:schemeClr val="tx1"/>
                  </a:solidFill>
                  <a:latin typeface="Times New Roman" pitchFamily="18" charset="0"/>
                  <a:cs typeface="Times New Roman" pitchFamily="18" charset="0"/>
                </a:rPr>
                <a:t>   Aim and Objectives</a:t>
              </a:r>
              <a:endParaRPr lang="en-US" sz="2000" dirty="0">
                <a:solidFill>
                  <a:schemeClr val="tx1"/>
                </a:solidFill>
                <a:latin typeface="Times New Roman" pitchFamily="18" charset="0"/>
                <a:cs typeface="Times New Roman" pitchFamily="18" charset="0"/>
              </a:endParaRPr>
            </a:p>
            <a:p>
              <a:pPr marL="0" marR="0" algn="ctr">
                <a:lnSpc>
                  <a:spcPct val="107000"/>
                </a:lnSpc>
                <a:spcBef>
                  <a:spcPts val="0"/>
                </a:spcBef>
                <a:spcAft>
                  <a:spcPts val="0"/>
                </a:spcAft>
              </a:pPr>
              <a:endParaRPr lang="en-US" sz="1100" dirty="0">
                <a:effectLst/>
                <a:ea typeface="Calibri" panose="020F0502020204030204" pitchFamily="34" charset="0"/>
                <a:cs typeface="Times New Roman" panose="02020603050405020304" pitchFamily="18" charset="0"/>
              </a:endParaRPr>
            </a:p>
          </p:txBody>
        </p:sp>
        <p:sp>
          <p:nvSpPr>
            <p:cNvPr id="37" name="Text Box 65"/>
            <p:cNvSpPr txBox="1"/>
            <p:nvPr/>
          </p:nvSpPr>
          <p:spPr>
            <a:xfrm>
              <a:off x="5495925" y="3924300"/>
              <a:ext cx="1452808" cy="37147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07000"/>
                </a:lnSpc>
              </a:pPr>
              <a:r>
                <a:rPr lang="en-US" sz="2000" dirty="0" smtClean="0">
                  <a:solidFill>
                    <a:schemeClr val="tx1"/>
                  </a:solidFill>
                  <a:latin typeface="Times New Roman" pitchFamily="18" charset="0"/>
                  <a:cs typeface="Times New Roman" pitchFamily="18" charset="0"/>
                </a:rPr>
                <a:t>Applications</a:t>
              </a:r>
              <a:endParaRPr lang="en-US" sz="2000" dirty="0">
                <a:solidFill>
                  <a:schemeClr val="tx1"/>
                </a:solidFill>
                <a:latin typeface="Times New Roman" pitchFamily="18" charset="0"/>
                <a:cs typeface="Times New Roman" pitchFamily="18" charset="0"/>
              </a:endParaRPr>
            </a:p>
            <a:p>
              <a:pPr marL="0" marR="0" algn="ctr">
                <a:lnSpc>
                  <a:spcPct val="107000"/>
                </a:lnSpc>
                <a:spcBef>
                  <a:spcPts val="0"/>
                </a:spcBef>
                <a:spcAft>
                  <a:spcPts val="0"/>
                </a:spcAft>
              </a:pPr>
              <a:endParaRPr lang="en-US" sz="1100" dirty="0">
                <a:effectLst/>
                <a:ea typeface="Calibri" panose="020F0502020204030204" pitchFamily="34" charset="0"/>
                <a:cs typeface="Times New Roman" panose="02020603050405020304" pitchFamily="18" charset="0"/>
              </a:endParaRPr>
            </a:p>
          </p:txBody>
        </p:sp>
        <p:sp>
          <p:nvSpPr>
            <p:cNvPr id="39" name="Text Box 66"/>
            <p:cNvSpPr txBox="1"/>
            <p:nvPr/>
          </p:nvSpPr>
          <p:spPr>
            <a:xfrm>
              <a:off x="7048380" y="-64985"/>
              <a:ext cx="1516870" cy="37147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07000"/>
                </a:lnSpc>
              </a:pPr>
              <a:r>
                <a:rPr lang="en-US" sz="2000" dirty="0">
                  <a:solidFill>
                    <a:schemeClr val="tx1"/>
                  </a:solidFill>
                  <a:latin typeface="Times New Roman" pitchFamily="18" charset="0"/>
                  <a:cs typeface="Times New Roman" pitchFamily="18" charset="0"/>
                </a:rPr>
                <a:t>Conclusion</a:t>
              </a:r>
              <a:endParaRPr lang="en-IN" sz="2000" dirty="0">
                <a:solidFill>
                  <a:schemeClr val="tx1"/>
                </a:solidFill>
                <a:latin typeface="Times New Roman" pitchFamily="18" charset="0"/>
                <a:cs typeface="Times New Roman" pitchFamily="18" charset="0"/>
              </a:endParaRPr>
            </a:p>
            <a:p>
              <a:pPr marL="0" marR="0" algn="ctr">
                <a:lnSpc>
                  <a:spcPct val="107000"/>
                </a:lnSpc>
                <a:spcBef>
                  <a:spcPts val="0"/>
                </a:spcBef>
                <a:spcAft>
                  <a:spcPts val="0"/>
                </a:spcAft>
              </a:pPr>
              <a:endParaRPr lang="en-US" sz="1100" dirty="0">
                <a:effectLst/>
                <a:ea typeface="Calibri" panose="020F0502020204030204" pitchFamily="34" charset="0"/>
                <a:cs typeface="Times New Roman" panose="02020603050405020304" pitchFamily="18" charset="0"/>
              </a:endParaRPr>
            </a:p>
          </p:txBody>
        </p:sp>
        <p:sp>
          <p:nvSpPr>
            <p:cNvPr id="40" name="Text Box 67"/>
            <p:cNvSpPr txBox="1"/>
            <p:nvPr/>
          </p:nvSpPr>
          <p:spPr>
            <a:xfrm>
              <a:off x="104775" y="3267075"/>
              <a:ext cx="1962150" cy="77152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342900" marR="0" lvl="0" indent="-342900">
                <a:lnSpc>
                  <a:spcPct val="107000"/>
                </a:lnSpc>
                <a:spcBef>
                  <a:spcPts val="0"/>
                </a:spcBef>
                <a:spcAft>
                  <a:spcPts val="0"/>
                </a:spcAft>
                <a:buFont typeface="Symbol" panose="05050102010706020507" pitchFamily="18" charset="2"/>
                <a:buChar char=""/>
              </a:pPr>
              <a:r>
                <a:rPr lang="en-US" sz="1400" dirty="0">
                  <a:solidFill>
                    <a:schemeClr val="tx1"/>
                  </a:solidFill>
                  <a:effectLst/>
                  <a:latin typeface="Lato" panose="020F0502020204030203" pitchFamily="34" charset="0"/>
                  <a:ea typeface="Calibri" panose="020F0502020204030204" pitchFamily="34" charset="0"/>
                  <a:cs typeface="Times New Roman" panose="02020603050405020304" pitchFamily="18" charset="0"/>
                </a:rPr>
                <a:t>Needs Assessment</a:t>
              </a:r>
              <a:endParaRPr lang="en-US" sz="1100" dirty="0">
                <a:solidFill>
                  <a:schemeClr val="tx1"/>
                </a:solidFill>
                <a:effectLs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400" dirty="0">
                  <a:solidFill>
                    <a:schemeClr val="tx1"/>
                  </a:solidFill>
                  <a:effectLst/>
                  <a:latin typeface="Lato" panose="020F0502020204030203" pitchFamily="34" charset="0"/>
                  <a:ea typeface="Calibri" panose="020F0502020204030204" pitchFamily="34" charset="0"/>
                  <a:cs typeface="Times New Roman" panose="02020603050405020304" pitchFamily="18" charset="0"/>
                </a:rPr>
                <a:t>Scoping</a:t>
              </a:r>
              <a:endParaRPr lang="en-US" sz="1100" dirty="0">
                <a:solidFill>
                  <a:schemeClr val="tx1"/>
                </a:solidFill>
                <a:effectLs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400" dirty="0">
                  <a:solidFill>
                    <a:schemeClr val="tx1"/>
                  </a:solidFill>
                  <a:effectLst/>
                  <a:latin typeface="Lato" panose="020F0502020204030203" pitchFamily="34" charset="0"/>
                  <a:ea typeface="Calibri" panose="020F0502020204030204" pitchFamily="34" charset="0"/>
                  <a:cs typeface="Times New Roman" panose="02020603050405020304" pitchFamily="18" charset="0"/>
                </a:rPr>
                <a:t>Set Objectives</a:t>
              </a:r>
              <a:endParaRPr lang="en-US" sz="1100" dirty="0">
                <a:solidFill>
                  <a:schemeClr val="tx1"/>
                </a:solidFill>
                <a:effectLst/>
                <a:ea typeface="Calibri" panose="020F0502020204030204" pitchFamily="34" charset="0"/>
                <a:cs typeface="Times New Roman" panose="02020603050405020304" pitchFamily="18" charset="0"/>
              </a:endParaRPr>
            </a:p>
          </p:txBody>
        </p:sp>
        <p:sp>
          <p:nvSpPr>
            <p:cNvPr id="41" name="Text Box 68"/>
            <p:cNvSpPr txBox="1"/>
            <p:nvPr/>
          </p:nvSpPr>
          <p:spPr>
            <a:xfrm>
              <a:off x="1838325" y="504825"/>
              <a:ext cx="1962150" cy="59055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342900" marR="0" lvl="0" indent="-342900">
                <a:spcBef>
                  <a:spcPts val="0"/>
                </a:spcBef>
                <a:spcAft>
                  <a:spcPts val="0"/>
                </a:spcAft>
                <a:buFont typeface="Symbol" panose="05050102010706020507" pitchFamily="18" charset="2"/>
                <a:buChar char=""/>
                <a:tabLst>
                  <a:tab pos="2971800" algn="ctr"/>
                  <a:tab pos="5943600" algn="r"/>
                </a:tabLst>
              </a:pPr>
              <a:r>
                <a:rPr lang="en-US" sz="1400" dirty="0">
                  <a:solidFill>
                    <a:schemeClr val="tx1"/>
                  </a:solidFill>
                  <a:effectLst/>
                  <a:latin typeface="Lato" panose="020F0502020204030203" pitchFamily="34" charset="0"/>
                  <a:ea typeface="Calibri" panose="020F0502020204030204" pitchFamily="34" charset="0"/>
                  <a:cs typeface="Times New Roman" panose="02020603050405020304" pitchFamily="18" charset="0"/>
                </a:rPr>
                <a:t>Risk Assessment </a:t>
              </a:r>
              <a:endParaRPr lang="en-US" sz="1100" dirty="0">
                <a:solidFill>
                  <a:schemeClr val="tx1"/>
                </a:solidFill>
                <a:effectLs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2971800" algn="ctr"/>
                  <a:tab pos="5943600" algn="r"/>
                </a:tabLst>
              </a:pPr>
              <a:r>
                <a:rPr lang="en-US" sz="1400" dirty="0">
                  <a:solidFill>
                    <a:schemeClr val="tx1"/>
                  </a:solidFill>
                  <a:effectLst/>
                  <a:latin typeface="Lato" panose="020F0502020204030203" pitchFamily="34" charset="0"/>
                  <a:ea typeface="Calibri" panose="020F0502020204030204" pitchFamily="34" charset="0"/>
                  <a:cs typeface="Times New Roman" panose="02020603050405020304" pitchFamily="18" charset="0"/>
                </a:rPr>
                <a:t>Budget Formation</a:t>
              </a:r>
              <a:endParaRPr lang="en-US" sz="1100" dirty="0">
                <a:solidFill>
                  <a:schemeClr val="tx1"/>
                </a:solidFill>
                <a:effectLst/>
                <a:ea typeface="Calibri" panose="020F0502020204030204" pitchFamily="34" charset="0"/>
                <a:cs typeface="Times New Roman" panose="02020603050405020304" pitchFamily="18" charset="0"/>
              </a:endParaRPr>
            </a:p>
          </p:txBody>
        </p:sp>
        <p:sp>
          <p:nvSpPr>
            <p:cNvPr id="42" name="Text Box 69"/>
            <p:cNvSpPr txBox="1"/>
            <p:nvPr/>
          </p:nvSpPr>
          <p:spPr>
            <a:xfrm>
              <a:off x="3609975" y="3267075"/>
              <a:ext cx="1962150" cy="77152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342900" marR="0" lvl="0" indent="-342900">
                <a:spcBef>
                  <a:spcPts val="0"/>
                </a:spcBef>
                <a:spcAft>
                  <a:spcPts val="0"/>
                </a:spcAft>
                <a:buFont typeface="Symbol" panose="05050102010706020507" pitchFamily="18" charset="2"/>
                <a:buChar char=""/>
                <a:tabLst>
                  <a:tab pos="2971800" algn="ctr"/>
                  <a:tab pos="5943600" algn="r"/>
                </a:tabLst>
              </a:pPr>
              <a:r>
                <a:rPr lang="en-US" sz="1400" dirty="0">
                  <a:solidFill>
                    <a:schemeClr val="tx1"/>
                  </a:solidFill>
                  <a:effectLst/>
                  <a:latin typeface="Lato" panose="020F0502020204030203" pitchFamily="34" charset="0"/>
                  <a:ea typeface="Calibri" panose="020F0502020204030204" pitchFamily="34" charset="0"/>
                  <a:cs typeface="Times New Roman" panose="02020603050405020304" pitchFamily="18" charset="0"/>
                </a:rPr>
                <a:t>Plan of Action</a:t>
              </a:r>
              <a:endParaRPr lang="en-US" sz="1100" dirty="0">
                <a:solidFill>
                  <a:schemeClr val="tx1"/>
                </a:solidFill>
                <a:effectLs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2971800" algn="ctr"/>
                  <a:tab pos="5943600" algn="r"/>
                </a:tabLst>
              </a:pPr>
              <a:r>
                <a:rPr lang="en-US" sz="1400" dirty="0">
                  <a:solidFill>
                    <a:schemeClr val="tx1"/>
                  </a:solidFill>
                  <a:effectLst/>
                  <a:latin typeface="Lato" panose="020F0502020204030203" pitchFamily="34" charset="0"/>
                  <a:ea typeface="Calibri" panose="020F0502020204030204" pitchFamily="34" charset="0"/>
                  <a:cs typeface="Times New Roman" panose="02020603050405020304" pitchFamily="18" charset="0"/>
                </a:rPr>
                <a:t>Project Schedule</a:t>
              </a:r>
              <a:endParaRPr lang="en-US" sz="1100" dirty="0">
                <a:solidFill>
                  <a:schemeClr val="tx1"/>
                </a:solidFill>
                <a:effectLst/>
                <a:ea typeface="Calibri" panose="020F0502020204030204" pitchFamily="34" charset="0"/>
                <a:cs typeface="Times New Roman" panose="02020603050405020304" pitchFamily="18" charset="0"/>
              </a:endParaRPr>
            </a:p>
          </p:txBody>
        </p:sp>
        <p:sp>
          <p:nvSpPr>
            <p:cNvPr id="43" name="Text Box 70"/>
            <p:cNvSpPr txBox="1"/>
            <p:nvPr/>
          </p:nvSpPr>
          <p:spPr>
            <a:xfrm>
              <a:off x="5381625" y="657225"/>
              <a:ext cx="1564005" cy="434042"/>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342900" marR="0" lvl="0" indent="-342900">
                <a:spcBef>
                  <a:spcPts val="0"/>
                </a:spcBef>
                <a:spcAft>
                  <a:spcPts val="0"/>
                </a:spcAft>
                <a:buFont typeface="Symbol" panose="05050102010706020507" pitchFamily="18" charset="2"/>
                <a:buChar char=""/>
                <a:tabLst>
                  <a:tab pos="2971800" algn="ctr"/>
                  <a:tab pos="5943600" algn="r"/>
                </a:tabLst>
              </a:pPr>
              <a:r>
                <a:rPr lang="en-US" sz="1400" dirty="0">
                  <a:solidFill>
                    <a:schemeClr val="tx1"/>
                  </a:solidFill>
                  <a:effectLst/>
                  <a:latin typeface="Lato" panose="020F0502020204030203" pitchFamily="34" charset="0"/>
                  <a:ea typeface="Calibri" panose="020F0502020204030204" pitchFamily="34" charset="0"/>
                  <a:cs typeface="Times New Roman" panose="02020603050405020304" pitchFamily="18" charset="0"/>
                </a:rPr>
                <a:t>Prototyping</a:t>
              </a:r>
              <a:endParaRPr lang="en-US" sz="1100" dirty="0">
                <a:solidFill>
                  <a:schemeClr val="tx1"/>
                </a:solidFill>
                <a:effectLst/>
                <a:ea typeface="Calibri" panose="020F0502020204030204" pitchFamily="34" charset="0"/>
                <a:cs typeface="Times New Roman" panose="02020603050405020304" pitchFamily="18" charset="0"/>
              </a:endParaRPr>
            </a:p>
          </p:txBody>
        </p:sp>
        <p:sp>
          <p:nvSpPr>
            <p:cNvPr id="44" name="Text Box 71"/>
            <p:cNvSpPr txBox="1"/>
            <p:nvPr/>
          </p:nvSpPr>
          <p:spPr>
            <a:xfrm>
              <a:off x="7067550" y="3267075"/>
              <a:ext cx="1962150" cy="77152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342900" marR="0" lvl="0" indent="-342900">
                <a:spcBef>
                  <a:spcPts val="0"/>
                </a:spcBef>
                <a:spcAft>
                  <a:spcPts val="0"/>
                </a:spcAft>
                <a:buFont typeface="Symbol" panose="05050102010706020507" pitchFamily="18" charset="2"/>
                <a:buChar char=""/>
                <a:tabLst>
                  <a:tab pos="2971800" algn="ctr"/>
                  <a:tab pos="5943600" algn="r"/>
                </a:tabLst>
              </a:pPr>
              <a:r>
                <a:rPr lang="en-US" sz="1400" dirty="0">
                  <a:solidFill>
                    <a:schemeClr val="tx1"/>
                  </a:solidFill>
                  <a:effectLst/>
                  <a:latin typeface="Lato" panose="020F0502020204030203" pitchFamily="34" charset="0"/>
                  <a:ea typeface="Calibri" panose="020F0502020204030204" pitchFamily="34" charset="0"/>
                  <a:cs typeface="Times New Roman" panose="02020603050405020304" pitchFamily="18" charset="0"/>
                </a:rPr>
                <a:t>Testing </a:t>
              </a:r>
              <a:endParaRPr lang="en-US" sz="1100" dirty="0">
                <a:solidFill>
                  <a:schemeClr val="tx1"/>
                </a:solidFill>
                <a:effectLs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2971800" algn="ctr"/>
                  <a:tab pos="5943600" algn="r"/>
                </a:tabLst>
              </a:pPr>
              <a:r>
                <a:rPr lang="en-US" sz="1400" dirty="0">
                  <a:solidFill>
                    <a:schemeClr val="tx1"/>
                  </a:solidFill>
                  <a:effectLst/>
                  <a:latin typeface="Lato" panose="020F0502020204030203" pitchFamily="34" charset="0"/>
                  <a:ea typeface="Calibri" panose="020F0502020204030204" pitchFamily="34" charset="0"/>
                  <a:cs typeface="Times New Roman" panose="02020603050405020304" pitchFamily="18" charset="0"/>
                </a:rPr>
                <a:t>Redesigning</a:t>
              </a:r>
              <a:endParaRPr lang="en-US" sz="1100" dirty="0">
                <a:solidFill>
                  <a:schemeClr val="tx1"/>
                </a:solidFill>
                <a:effectLst/>
                <a:ea typeface="Calibri" panose="020F0502020204030204" pitchFamily="34" charset="0"/>
                <a:cs typeface="Times New Roman" panose="02020603050405020304" pitchFamily="18" charset="0"/>
              </a:endParaRPr>
            </a:p>
          </p:txBody>
        </p:sp>
        <p:sp>
          <p:nvSpPr>
            <p:cNvPr id="45" name="Freeform 44"/>
            <p:cNvSpPr>
              <a:spLocks noEditPoints="1"/>
            </p:cNvSpPr>
            <p:nvPr/>
          </p:nvSpPr>
          <p:spPr bwMode="auto">
            <a:xfrm>
              <a:off x="739875" y="1083778"/>
              <a:ext cx="619125" cy="619125"/>
            </a:xfrm>
            <a:custGeom>
              <a:avLst/>
              <a:gdLst>
                <a:gd name="T0" fmla="*/ 1997 w 2048"/>
                <a:gd name="T1" fmla="*/ 390 h 2048"/>
                <a:gd name="T2" fmla="*/ 1960 w 2048"/>
                <a:gd name="T3" fmla="*/ 288 h 2048"/>
                <a:gd name="T4" fmla="*/ 1760 w 2048"/>
                <a:gd name="T5" fmla="*/ 88 h 2048"/>
                <a:gd name="T6" fmla="*/ 1658 w 2048"/>
                <a:gd name="T7" fmla="*/ 51 h 2048"/>
                <a:gd name="T8" fmla="*/ 1024 w 2048"/>
                <a:gd name="T9" fmla="*/ 0 h 2048"/>
                <a:gd name="T10" fmla="*/ 0 w 2048"/>
                <a:gd name="T11" fmla="*/ 1024 h 2048"/>
                <a:gd name="T12" fmla="*/ 1024 w 2048"/>
                <a:gd name="T13" fmla="*/ 2048 h 2048"/>
                <a:gd name="T14" fmla="*/ 2048 w 2048"/>
                <a:gd name="T15" fmla="*/ 1024 h 2048"/>
                <a:gd name="T16" fmla="*/ 1660 w 2048"/>
                <a:gd name="T17" fmla="*/ 333 h 2048"/>
                <a:gd name="T18" fmla="*/ 1821 w 2048"/>
                <a:gd name="T19" fmla="*/ 397 h 2048"/>
                <a:gd name="T20" fmla="*/ 1521 w 2048"/>
                <a:gd name="T21" fmla="*/ 527 h 2048"/>
                <a:gd name="T22" fmla="*/ 1651 w 2048"/>
                <a:gd name="T23" fmla="*/ 227 h 2048"/>
                <a:gd name="T24" fmla="*/ 1228 w 2048"/>
                <a:gd name="T25" fmla="*/ 1024 h 2048"/>
                <a:gd name="T26" fmla="*/ 820 w 2048"/>
                <a:gd name="T27" fmla="*/ 1024 h 2048"/>
                <a:gd name="T28" fmla="*/ 1119 w 2048"/>
                <a:gd name="T29" fmla="*/ 844 h 2048"/>
                <a:gd name="T30" fmla="*/ 982 w 2048"/>
                <a:gd name="T31" fmla="*/ 1066 h 2048"/>
                <a:gd name="T32" fmla="*/ 1066 w 2048"/>
                <a:gd name="T33" fmla="*/ 1066 h 2048"/>
                <a:gd name="T34" fmla="*/ 1228 w 2048"/>
                <a:gd name="T35" fmla="*/ 1024 h 2048"/>
                <a:gd name="T36" fmla="*/ 1024 w 2048"/>
                <a:gd name="T37" fmla="*/ 700 h 2048"/>
                <a:gd name="T38" fmla="*/ 1024 w 2048"/>
                <a:gd name="T39" fmla="*/ 1348 h 2048"/>
                <a:gd name="T40" fmla="*/ 1291 w 2048"/>
                <a:gd name="T41" fmla="*/ 841 h 2048"/>
                <a:gd name="T42" fmla="*/ 1588 w 2048"/>
                <a:gd name="T43" fmla="*/ 1024 h 2048"/>
                <a:gd name="T44" fmla="*/ 460 w 2048"/>
                <a:gd name="T45" fmla="*/ 1024 h 2048"/>
                <a:gd name="T46" fmla="*/ 1378 w 2048"/>
                <a:gd name="T47" fmla="*/ 585 h 2048"/>
                <a:gd name="T48" fmla="*/ 1663 w 2048"/>
                <a:gd name="T49" fmla="*/ 1663 h 2048"/>
                <a:gd name="T50" fmla="*/ 385 w 2048"/>
                <a:gd name="T51" fmla="*/ 1663 h 2048"/>
                <a:gd name="T52" fmla="*/ 385 w 2048"/>
                <a:gd name="T53" fmla="*/ 385 h 2048"/>
                <a:gd name="T54" fmla="*/ 1471 w 2048"/>
                <a:gd name="T55" fmla="*/ 238 h 2048"/>
                <a:gd name="T56" fmla="*/ 1385 w 2048"/>
                <a:gd name="T57" fmla="*/ 346 h 2048"/>
                <a:gd name="T58" fmla="*/ 1394 w 2048"/>
                <a:gd name="T59" fmla="*/ 449 h 2048"/>
                <a:gd name="T60" fmla="*/ 340 w 2048"/>
                <a:gd name="T61" fmla="*/ 1024 h 2048"/>
                <a:gd name="T62" fmla="*/ 1708 w 2048"/>
                <a:gd name="T63" fmla="*/ 1024 h 2048"/>
                <a:gd name="T64" fmla="*/ 1695 w 2048"/>
                <a:gd name="T65" fmla="*/ 662 h 2048"/>
                <a:gd name="T66" fmla="*/ 1701 w 2048"/>
                <a:gd name="T67" fmla="*/ 663 h 2048"/>
                <a:gd name="T68" fmla="*/ 1707 w 2048"/>
                <a:gd name="T69" fmla="*/ 662 h 2048"/>
                <a:gd name="T70" fmla="*/ 1713 w 2048"/>
                <a:gd name="T71" fmla="*/ 661 h 2048"/>
                <a:gd name="T72" fmla="*/ 1719 w 2048"/>
                <a:gd name="T73" fmla="*/ 659 h 2048"/>
                <a:gd name="T74" fmla="*/ 1725 w 2048"/>
                <a:gd name="T75" fmla="*/ 657 h 2048"/>
                <a:gd name="T76" fmla="*/ 1731 w 2048"/>
                <a:gd name="T77" fmla="*/ 654 h 2048"/>
                <a:gd name="T78" fmla="*/ 1736 w 2048"/>
                <a:gd name="T79" fmla="*/ 650 h 2048"/>
                <a:gd name="T80" fmla="*/ 1742 w 2048"/>
                <a:gd name="T81" fmla="*/ 645 h 2048"/>
                <a:gd name="T82" fmla="*/ 1928 w 2048"/>
                <a:gd name="T83" fmla="*/ 1024 h 2048"/>
                <a:gd name="T84" fmla="*/ 1663 w 2048"/>
                <a:gd name="T85" fmla="*/ 1663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48" h="2048">
                  <a:moveTo>
                    <a:pt x="1898" y="490"/>
                  </a:moveTo>
                  <a:cubicBezTo>
                    <a:pt x="1997" y="390"/>
                    <a:pt x="1997" y="390"/>
                    <a:pt x="1997" y="390"/>
                  </a:cubicBezTo>
                  <a:cubicBezTo>
                    <a:pt x="2013" y="374"/>
                    <a:pt x="2019" y="349"/>
                    <a:pt x="2011" y="327"/>
                  </a:cubicBezTo>
                  <a:cubicBezTo>
                    <a:pt x="2003" y="305"/>
                    <a:pt x="1983" y="290"/>
                    <a:pt x="1960" y="288"/>
                  </a:cubicBezTo>
                  <a:cubicBezTo>
                    <a:pt x="1775" y="273"/>
                    <a:pt x="1775" y="273"/>
                    <a:pt x="1775" y="273"/>
                  </a:cubicBezTo>
                  <a:cubicBezTo>
                    <a:pt x="1760" y="88"/>
                    <a:pt x="1760" y="88"/>
                    <a:pt x="1760" y="88"/>
                  </a:cubicBezTo>
                  <a:cubicBezTo>
                    <a:pt x="1758" y="65"/>
                    <a:pt x="1743" y="45"/>
                    <a:pt x="1721" y="37"/>
                  </a:cubicBezTo>
                  <a:cubicBezTo>
                    <a:pt x="1699" y="29"/>
                    <a:pt x="1674" y="35"/>
                    <a:pt x="1658" y="51"/>
                  </a:cubicBezTo>
                  <a:cubicBezTo>
                    <a:pt x="1558" y="150"/>
                    <a:pt x="1558" y="150"/>
                    <a:pt x="1558" y="150"/>
                  </a:cubicBezTo>
                  <a:cubicBezTo>
                    <a:pt x="1398" y="52"/>
                    <a:pt x="1214" y="0"/>
                    <a:pt x="1024" y="0"/>
                  </a:cubicBezTo>
                  <a:cubicBezTo>
                    <a:pt x="750" y="0"/>
                    <a:pt x="493" y="107"/>
                    <a:pt x="300" y="300"/>
                  </a:cubicBezTo>
                  <a:cubicBezTo>
                    <a:pt x="107" y="493"/>
                    <a:pt x="0" y="750"/>
                    <a:pt x="0" y="1024"/>
                  </a:cubicBezTo>
                  <a:cubicBezTo>
                    <a:pt x="0" y="1298"/>
                    <a:pt x="107" y="1555"/>
                    <a:pt x="300" y="1748"/>
                  </a:cubicBezTo>
                  <a:cubicBezTo>
                    <a:pt x="493" y="1941"/>
                    <a:pt x="750" y="2048"/>
                    <a:pt x="1024" y="2048"/>
                  </a:cubicBezTo>
                  <a:cubicBezTo>
                    <a:pt x="1298" y="2048"/>
                    <a:pt x="1555" y="1941"/>
                    <a:pt x="1748" y="1748"/>
                  </a:cubicBezTo>
                  <a:cubicBezTo>
                    <a:pt x="1941" y="1555"/>
                    <a:pt x="2048" y="1298"/>
                    <a:pt x="2048" y="1024"/>
                  </a:cubicBezTo>
                  <a:cubicBezTo>
                    <a:pt x="2048" y="834"/>
                    <a:pt x="1996" y="650"/>
                    <a:pt x="1898" y="490"/>
                  </a:cubicBezTo>
                  <a:close/>
                  <a:moveTo>
                    <a:pt x="1660" y="333"/>
                  </a:moveTo>
                  <a:cubicBezTo>
                    <a:pt x="1662" y="362"/>
                    <a:pt x="1686" y="386"/>
                    <a:pt x="1715" y="388"/>
                  </a:cubicBezTo>
                  <a:cubicBezTo>
                    <a:pt x="1821" y="397"/>
                    <a:pt x="1821" y="397"/>
                    <a:pt x="1821" y="397"/>
                  </a:cubicBezTo>
                  <a:cubicBezTo>
                    <a:pt x="1677" y="540"/>
                    <a:pt x="1677" y="540"/>
                    <a:pt x="1677" y="540"/>
                  </a:cubicBezTo>
                  <a:cubicBezTo>
                    <a:pt x="1521" y="527"/>
                    <a:pt x="1521" y="527"/>
                    <a:pt x="1521" y="527"/>
                  </a:cubicBezTo>
                  <a:cubicBezTo>
                    <a:pt x="1508" y="371"/>
                    <a:pt x="1508" y="371"/>
                    <a:pt x="1508" y="371"/>
                  </a:cubicBezTo>
                  <a:cubicBezTo>
                    <a:pt x="1651" y="227"/>
                    <a:pt x="1651" y="227"/>
                    <a:pt x="1651" y="227"/>
                  </a:cubicBezTo>
                  <a:lnTo>
                    <a:pt x="1660" y="333"/>
                  </a:lnTo>
                  <a:close/>
                  <a:moveTo>
                    <a:pt x="1228" y="1024"/>
                  </a:moveTo>
                  <a:cubicBezTo>
                    <a:pt x="1228" y="1136"/>
                    <a:pt x="1136" y="1228"/>
                    <a:pt x="1024" y="1228"/>
                  </a:cubicBezTo>
                  <a:cubicBezTo>
                    <a:pt x="912" y="1228"/>
                    <a:pt x="820" y="1136"/>
                    <a:pt x="820" y="1024"/>
                  </a:cubicBezTo>
                  <a:cubicBezTo>
                    <a:pt x="820" y="912"/>
                    <a:pt x="912" y="820"/>
                    <a:pt x="1024" y="820"/>
                  </a:cubicBezTo>
                  <a:cubicBezTo>
                    <a:pt x="1058" y="820"/>
                    <a:pt x="1091" y="829"/>
                    <a:pt x="1119" y="844"/>
                  </a:cubicBezTo>
                  <a:cubicBezTo>
                    <a:pt x="982" y="982"/>
                    <a:pt x="982" y="982"/>
                    <a:pt x="982" y="982"/>
                  </a:cubicBezTo>
                  <a:cubicBezTo>
                    <a:pt x="958" y="1005"/>
                    <a:pt x="958" y="1043"/>
                    <a:pt x="982" y="1066"/>
                  </a:cubicBezTo>
                  <a:cubicBezTo>
                    <a:pt x="993" y="1078"/>
                    <a:pt x="1009" y="1084"/>
                    <a:pt x="1024" y="1084"/>
                  </a:cubicBezTo>
                  <a:cubicBezTo>
                    <a:pt x="1039" y="1084"/>
                    <a:pt x="1055" y="1078"/>
                    <a:pt x="1066" y="1066"/>
                  </a:cubicBezTo>
                  <a:cubicBezTo>
                    <a:pt x="1204" y="929"/>
                    <a:pt x="1204" y="929"/>
                    <a:pt x="1204" y="929"/>
                  </a:cubicBezTo>
                  <a:cubicBezTo>
                    <a:pt x="1219" y="957"/>
                    <a:pt x="1228" y="990"/>
                    <a:pt x="1228" y="1024"/>
                  </a:cubicBezTo>
                  <a:close/>
                  <a:moveTo>
                    <a:pt x="1207" y="757"/>
                  </a:moveTo>
                  <a:cubicBezTo>
                    <a:pt x="1155" y="721"/>
                    <a:pt x="1092" y="700"/>
                    <a:pt x="1024" y="700"/>
                  </a:cubicBezTo>
                  <a:cubicBezTo>
                    <a:pt x="845" y="700"/>
                    <a:pt x="700" y="845"/>
                    <a:pt x="700" y="1024"/>
                  </a:cubicBezTo>
                  <a:cubicBezTo>
                    <a:pt x="700" y="1203"/>
                    <a:pt x="845" y="1348"/>
                    <a:pt x="1024" y="1348"/>
                  </a:cubicBezTo>
                  <a:cubicBezTo>
                    <a:pt x="1203" y="1348"/>
                    <a:pt x="1348" y="1203"/>
                    <a:pt x="1348" y="1024"/>
                  </a:cubicBezTo>
                  <a:cubicBezTo>
                    <a:pt x="1348" y="956"/>
                    <a:pt x="1327" y="893"/>
                    <a:pt x="1291" y="841"/>
                  </a:cubicBezTo>
                  <a:cubicBezTo>
                    <a:pt x="1463" y="670"/>
                    <a:pt x="1463" y="670"/>
                    <a:pt x="1463" y="670"/>
                  </a:cubicBezTo>
                  <a:cubicBezTo>
                    <a:pt x="1541" y="767"/>
                    <a:pt x="1588" y="890"/>
                    <a:pt x="1588" y="1024"/>
                  </a:cubicBezTo>
                  <a:cubicBezTo>
                    <a:pt x="1588" y="1335"/>
                    <a:pt x="1335" y="1588"/>
                    <a:pt x="1024" y="1588"/>
                  </a:cubicBezTo>
                  <a:cubicBezTo>
                    <a:pt x="713" y="1588"/>
                    <a:pt x="460" y="1335"/>
                    <a:pt x="460" y="1024"/>
                  </a:cubicBezTo>
                  <a:cubicBezTo>
                    <a:pt x="460" y="713"/>
                    <a:pt x="713" y="460"/>
                    <a:pt x="1024" y="460"/>
                  </a:cubicBezTo>
                  <a:cubicBezTo>
                    <a:pt x="1158" y="460"/>
                    <a:pt x="1281" y="507"/>
                    <a:pt x="1378" y="585"/>
                  </a:cubicBezTo>
                  <a:lnTo>
                    <a:pt x="1207" y="757"/>
                  </a:lnTo>
                  <a:close/>
                  <a:moveTo>
                    <a:pt x="1663" y="1663"/>
                  </a:moveTo>
                  <a:cubicBezTo>
                    <a:pt x="1492" y="1834"/>
                    <a:pt x="1265" y="1928"/>
                    <a:pt x="1024" y="1928"/>
                  </a:cubicBezTo>
                  <a:cubicBezTo>
                    <a:pt x="783" y="1928"/>
                    <a:pt x="556" y="1834"/>
                    <a:pt x="385" y="1663"/>
                  </a:cubicBezTo>
                  <a:cubicBezTo>
                    <a:pt x="214" y="1492"/>
                    <a:pt x="120" y="1265"/>
                    <a:pt x="120" y="1024"/>
                  </a:cubicBezTo>
                  <a:cubicBezTo>
                    <a:pt x="120" y="783"/>
                    <a:pt x="214" y="556"/>
                    <a:pt x="385" y="385"/>
                  </a:cubicBezTo>
                  <a:cubicBezTo>
                    <a:pt x="556" y="214"/>
                    <a:pt x="783" y="120"/>
                    <a:pt x="1024" y="120"/>
                  </a:cubicBezTo>
                  <a:cubicBezTo>
                    <a:pt x="1182" y="120"/>
                    <a:pt x="1335" y="161"/>
                    <a:pt x="1471" y="238"/>
                  </a:cubicBezTo>
                  <a:cubicBezTo>
                    <a:pt x="1403" y="306"/>
                    <a:pt x="1403" y="306"/>
                    <a:pt x="1403" y="306"/>
                  </a:cubicBezTo>
                  <a:cubicBezTo>
                    <a:pt x="1392" y="317"/>
                    <a:pt x="1386" y="331"/>
                    <a:pt x="1385" y="346"/>
                  </a:cubicBezTo>
                  <a:cubicBezTo>
                    <a:pt x="1385" y="349"/>
                    <a:pt x="1385" y="351"/>
                    <a:pt x="1386" y="353"/>
                  </a:cubicBezTo>
                  <a:cubicBezTo>
                    <a:pt x="1394" y="449"/>
                    <a:pt x="1394" y="449"/>
                    <a:pt x="1394" y="449"/>
                  </a:cubicBezTo>
                  <a:cubicBezTo>
                    <a:pt x="1287" y="380"/>
                    <a:pt x="1160" y="340"/>
                    <a:pt x="1024" y="340"/>
                  </a:cubicBezTo>
                  <a:cubicBezTo>
                    <a:pt x="647" y="340"/>
                    <a:pt x="340" y="647"/>
                    <a:pt x="340" y="1024"/>
                  </a:cubicBezTo>
                  <a:cubicBezTo>
                    <a:pt x="340" y="1401"/>
                    <a:pt x="647" y="1708"/>
                    <a:pt x="1024" y="1708"/>
                  </a:cubicBezTo>
                  <a:cubicBezTo>
                    <a:pt x="1401" y="1708"/>
                    <a:pt x="1708" y="1401"/>
                    <a:pt x="1708" y="1024"/>
                  </a:cubicBezTo>
                  <a:cubicBezTo>
                    <a:pt x="1708" y="888"/>
                    <a:pt x="1668" y="761"/>
                    <a:pt x="1599" y="654"/>
                  </a:cubicBezTo>
                  <a:cubicBezTo>
                    <a:pt x="1695" y="662"/>
                    <a:pt x="1695" y="662"/>
                    <a:pt x="1695" y="662"/>
                  </a:cubicBezTo>
                  <a:cubicBezTo>
                    <a:pt x="1697" y="662"/>
                    <a:pt x="1698" y="663"/>
                    <a:pt x="1700" y="663"/>
                  </a:cubicBezTo>
                  <a:cubicBezTo>
                    <a:pt x="1700" y="663"/>
                    <a:pt x="1701" y="663"/>
                    <a:pt x="1701" y="663"/>
                  </a:cubicBezTo>
                  <a:cubicBezTo>
                    <a:pt x="1702" y="663"/>
                    <a:pt x="1702" y="662"/>
                    <a:pt x="1703" y="662"/>
                  </a:cubicBezTo>
                  <a:cubicBezTo>
                    <a:pt x="1705" y="662"/>
                    <a:pt x="1706" y="662"/>
                    <a:pt x="1707" y="662"/>
                  </a:cubicBezTo>
                  <a:cubicBezTo>
                    <a:pt x="1708" y="662"/>
                    <a:pt x="1709" y="662"/>
                    <a:pt x="1710" y="662"/>
                  </a:cubicBezTo>
                  <a:cubicBezTo>
                    <a:pt x="1711" y="662"/>
                    <a:pt x="1712" y="661"/>
                    <a:pt x="1713" y="661"/>
                  </a:cubicBezTo>
                  <a:cubicBezTo>
                    <a:pt x="1714" y="661"/>
                    <a:pt x="1715" y="661"/>
                    <a:pt x="1716" y="660"/>
                  </a:cubicBezTo>
                  <a:cubicBezTo>
                    <a:pt x="1717" y="660"/>
                    <a:pt x="1718" y="660"/>
                    <a:pt x="1719" y="659"/>
                  </a:cubicBezTo>
                  <a:cubicBezTo>
                    <a:pt x="1720" y="659"/>
                    <a:pt x="1721" y="659"/>
                    <a:pt x="1722" y="658"/>
                  </a:cubicBezTo>
                  <a:cubicBezTo>
                    <a:pt x="1723" y="658"/>
                    <a:pt x="1724" y="658"/>
                    <a:pt x="1725" y="657"/>
                  </a:cubicBezTo>
                  <a:cubicBezTo>
                    <a:pt x="1726" y="657"/>
                    <a:pt x="1727" y="656"/>
                    <a:pt x="1727" y="656"/>
                  </a:cubicBezTo>
                  <a:cubicBezTo>
                    <a:pt x="1728" y="655"/>
                    <a:pt x="1730" y="655"/>
                    <a:pt x="1731" y="654"/>
                  </a:cubicBezTo>
                  <a:cubicBezTo>
                    <a:pt x="1731" y="654"/>
                    <a:pt x="1732" y="653"/>
                    <a:pt x="1733" y="653"/>
                  </a:cubicBezTo>
                  <a:cubicBezTo>
                    <a:pt x="1734" y="652"/>
                    <a:pt x="1735" y="651"/>
                    <a:pt x="1736" y="650"/>
                  </a:cubicBezTo>
                  <a:cubicBezTo>
                    <a:pt x="1737" y="650"/>
                    <a:pt x="1737" y="650"/>
                    <a:pt x="1738" y="649"/>
                  </a:cubicBezTo>
                  <a:cubicBezTo>
                    <a:pt x="1739" y="648"/>
                    <a:pt x="1741" y="646"/>
                    <a:pt x="1742" y="645"/>
                  </a:cubicBezTo>
                  <a:cubicBezTo>
                    <a:pt x="1810" y="577"/>
                    <a:pt x="1810" y="577"/>
                    <a:pt x="1810" y="577"/>
                  </a:cubicBezTo>
                  <a:cubicBezTo>
                    <a:pt x="1887" y="713"/>
                    <a:pt x="1928" y="866"/>
                    <a:pt x="1928" y="1024"/>
                  </a:cubicBezTo>
                  <a:cubicBezTo>
                    <a:pt x="1928" y="1265"/>
                    <a:pt x="1834" y="1492"/>
                    <a:pt x="1663" y="1663"/>
                  </a:cubicBezTo>
                  <a:close/>
                  <a:moveTo>
                    <a:pt x="1663" y="1663"/>
                  </a:moveTo>
                  <a:cubicBezTo>
                    <a:pt x="1663" y="1663"/>
                    <a:pt x="1663" y="1663"/>
                    <a:pt x="1663" y="1663"/>
                  </a:cubicBezTo>
                </a:path>
              </a:pathLst>
            </a:custGeom>
            <a:solidFill>
              <a:srgbClr val="111111"/>
            </a:solidFill>
            <a:ln>
              <a:noFill/>
            </a:ln>
          </p:spPr>
          <p:txBody>
            <a:bodyPr rot="0" vert="horz" wrap="square" lIns="91440" tIns="45720" rIns="91440" bIns="45720" anchor="t" anchorCtr="0" upright="1">
              <a:noAutofit/>
            </a:bodyPr>
            <a:lstStyle/>
            <a:p>
              <a:endParaRPr lang="en-US"/>
            </a:p>
          </p:txBody>
        </p:sp>
        <p:grpSp>
          <p:nvGrpSpPr>
            <p:cNvPr id="46" name="Group 45"/>
            <p:cNvGrpSpPr/>
            <p:nvPr/>
          </p:nvGrpSpPr>
          <p:grpSpPr>
            <a:xfrm>
              <a:off x="2447925" y="2466975"/>
              <a:ext cx="698637" cy="703574"/>
              <a:chOff x="0" y="-3810"/>
              <a:chExt cx="5581650" cy="5621020"/>
            </a:xfrm>
            <a:solidFill>
              <a:srgbClr val="111111"/>
            </a:solidFill>
          </p:grpSpPr>
          <p:sp>
            <p:nvSpPr>
              <p:cNvPr id="100" name="Freeform 99"/>
              <p:cNvSpPr>
                <a:spLocks noEditPoints="1"/>
              </p:cNvSpPr>
              <p:nvPr/>
            </p:nvSpPr>
            <p:spPr bwMode="auto">
              <a:xfrm>
                <a:off x="1680210" y="3857625"/>
                <a:ext cx="229235" cy="217805"/>
              </a:xfrm>
              <a:custGeom>
                <a:avLst/>
                <a:gdLst>
                  <a:gd name="T0" fmla="*/ 45 w 61"/>
                  <a:gd name="T1" fmla="*/ 0 h 58"/>
                  <a:gd name="T2" fmla="*/ 0 w 61"/>
                  <a:gd name="T3" fmla="*/ 15 h 58"/>
                  <a:gd name="T4" fmla="*/ 18 w 61"/>
                  <a:gd name="T5" fmla="*/ 58 h 58"/>
                  <a:gd name="T6" fmla="*/ 61 w 61"/>
                  <a:gd name="T7" fmla="*/ 37 h 58"/>
                  <a:gd name="T8" fmla="*/ 45 w 61"/>
                  <a:gd name="T9" fmla="*/ 0 h 58"/>
                  <a:gd name="T10" fmla="*/ 45 w 61"/>
                  <a:gd name="T11" fmla="*/ 0 h 58"/>
                  <a:gd name="T12" fmla="*/ 45 w 61"/>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61" h="58">
                    <a:moveTo>
                      <a:pt x="45" y="0"/>
                    </a:moveTo>
                    <a:cubicBezTo>
                      <a:pt x="0" y="15"/>
                      <a:pt x="0" y="15"/>
                      <a:pt x="0" y="15"/>
                    </a:cubicBezTo>
                    <a:cubicBezTo>
                      <a:pt x="5" y="30"/>
                      <a:pt x="11" y="45"/>
                      <a:pt x="18" y="58"/>
                    </a:cubicBezTo>
                    <a:cubicBezTo>
                      <a:pt x="61" y="37"/>
                      <a:pt x="61" y="37"/>
                      <a:pt x="61" y="37"/>
                    </a:cubicBezTo>
                    <a:cubicBezTo>
                      <a:pt x="55" y="25"/>
                      <a:pt x="50" y="13"/>
                      <a:pt x="45" y="0"/>
                    </a:cubicBezTo>
                    <a:close/>
                    <a:moveTo>
                      <a:pt x="45" y="0"/>
                    </a:moveTo>
                    <a:cubicBezTo>
                      <a:pt x="45" y="0"/>
                      <a:pt x="45" y="0"/>
                      <a:pt x="4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01" name="Freeform 100"/>
              <p:cNvSpPr>
                <a:spLocks noEditPoints="1"/>
              </p:cNvSpPr>
              <p:nvPr/>
            </p:nvSpPr>
            <p:spPr bwMode="auto">
              <a:xfrm>
                <a:off x="1841500" y="2896870"/>
                <a:ext cx="2119630" cy="1819910"/>
              </a:xfrm>
              <a:custGeom>
                <a:avLst/>
                <a:gdLst>
                  <a:gd name="T0" fmla="*/ 473 w 565"/>
                  <a:gd name="T1" fmla="*/ 27 h 485"/>
                  <a:gd name="T2" fmla="*/ 517 w 565"/>
                  <a:gd name="T3" fmla="*/ 173 h 485"/>
                  <a:gd name="T4" fmla="*/ 253 w 565"/>
                  <a:gd name="T5" fmla="*/ 437 h 485"/>
                  <a:gd name="T6" fmla="*/ 39 w 565"/>
                  <a:gd name="T7" fmla="*/ 327 h 485"/>
                  <a:gd name="T8" fmla="*/ 0 w 565"/>
                  <a:gd name="T9" fmla="*/ 355 h 485"/>
                  <a:gd name="T10" fmla="*/ 253 w 565"/>
                  <a:gd name="T11" fmla="*/ 485 h 485"/>
                  <a:gd name="T12" fmla="*/ 565 w 565"/>
                  <a:gd name="T13" fmla="*/ 173 h 485"/>
                  <a:gd name="T14" fmla="*/ 513 w 565"/>
                  <a:gd name="T15" fmla="*/ 0 h 485"/>
                  <a:gd name="T16" fmla="*/ 473 w 565"/>
                  <a:gd name="T17" fmla="*/ 27 h 485"/>
                  <a:gd name="T18" fmla="*/ 473 w 565"/>
                  <a:gd name="T19" fmla="*/ 27 h 485"/>
                  <a:gd name="T20" fmla="*/ 473 w 565"/>
                  <a:gd name="T21" fmla="*/ 27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5" h="485">
                    <a:moveTo>
                      <a:pt x="473" y="27"/>
                    </a:moveTo>
                    <a:cubicBezTo>
                      <a:pt x="502" y="70"/>
                      <a:pt x="517" y="121"/>
                      <a:pt x="517" y="173"/>
                    </a:cubicBezTo>
                    <a:cubicBezTo>
                      <a:pt x="517" y="318"/>
                      <a:pt x="399" y="437"/>
                      <a:pt x="253" y="437"/>
                    </a:cubicBezTo>
                    <a:cubicBezTo>
                      <a:pt x="168" y="437"/>
                      <a:pt x="88" y="396"/>
                      <a:pt x="39" y="327"/>
                    </a:cubicBezTo>
                    <a:cubicBezTo>
                      <a:pt x="0" y="355"/>
                      <a:pt x="0" y="355"/>
                      <a:pt x="0" y="355"/>
                    </a:cubicBezTo>
                    <a:cubicBezTo>
                      <a:pt x="58" y="436"/>
                      <a:pt x="153" y="485"/>
                      <a:pt x="253" y="485"/>
                    </a:cubicBezTo>
                    <a:cubicBezTo>
                      <a:pt x="425" y="485"/>
                      <a:pt x="565" y="345"/>
                      <a:pt x="565" y="173"/>
                    </a:cubicBezTo>
                    <a:cubicBezTo>
                      <a:pt x="565" y="111"/>
                      <a:pt x="547" y="52"/>
                      <a:pt x="513" y="0"/>
                    </a:cubicBezTo>
                    <a:lnTo>
                      <a:pt x="473" y="27"/>
                    </a:lnTo>
                    <a:close/>
                    <a:moveTo>
                      <a:pt x="473" y="27"/>
                    </a:moveTo>
                    <a:cubicBezTo>
                      <a:pt x="473" y="27"/>
                      <a:pt x="473" y="27"/>
                      <a:pt x="473" y="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02" name="Freeform 101"/>
              <p:cNvSpPr>
                <a:spLocks noEditPoints="1"/>
              </p:cNvSpPr>
              <p:nvPr/>
            </p:nvSpPr>
            <p:spPr bwMode="auto">
              <a:xfrm>
                <a:off x="0" y="1294765"/>
                <a:ext cx="5581650" cy="4322445"/>
              </a:xfrm>
              <a:custGeom>
                <a:avLst/>
                <a:gdLst>
                  <a:gd name="T0" fmla="*/ 1355 w 1488"/>
                  <a:gd name="T1" fmla="*/ 109 h 1152"/>
                  <a:gd name="T2" fmla="*/ 1190 w 1488"/>
                  <a:gd name="T3" fmla="*/ 265 h 1152"/>
                  <a:gd name="T4" fmla="*/ 888 w 1488"/>
                  <a:gd name="T5" fmla="*/ 216 h 1152"/>
                  <a:gd name="T6" fmla="*/ 861 w 1488"/>
                  <a:gd name="T7" fmla="*/ 48 h 1152"/>
                  <a:gd name="T8" fmla="*/ 570 w 1488"/>
                  <a:gd name="T9" fmla="*/ 231 h 1152"/>
                  <a:gd name="T10" fmla="*/ 375 w 1488"/>
                  <a:gd name="T11" fmla="*/ 426 h 1152"/>
                  <a:gd name="T12" fmla="*/ 144 w 1488"/>
                  <a:gd name="T13" fmla="*/ 336 h 1152"/>
                  <a:gd name="T14" fmla="*/ 72 w 1488"/>
                  <a:gd name="T15" fmla="*/ 408 h 1152"/>
                  <a:gd name="T16" fmla="*/ 192 w 1488"/>
                  <a:gd name="T17" fmla="*/ 483 h 1152"/>
                  <a:gd name="T18" fmla="*/ 375 w 1488"/>
                  <a:gd name="T19" fmla="*/ 773 h 1152"/>
                  <a:gd name="T20" fmla="*/ 570 w 1488"/>
                  <a:gd name="T21" fmla="*/ 969 h 1152"/>
                  <a:gd name="T22" fmla="*/ 861 w 1488"/>
                  <a:gd name="T23" fmla="*/ 1152 h 1152"/>
                  <a:gd name="T24" fmla="*/ 1051 w 1488"/>
                  <a:gd name="T25" fmla="*/ 1073 h 1152"/>
                  <a:gd name="T26" fmla="*/ 1128 w 1488"/>
                  <a:gd name="T27" fmla="*/ 738 h 1152"/>
                  <a:gd name="T28" fmla="*/ 1128 w 1488"/>
                  <a:gd name="T29" fmla="*/ 462 h 1152"/>
                  <a:gd name="T30" fmla="*/ 1200 w 1488"/>
                  <a:gd name="T31" fmla="*/ 408 h 1152"/>
                  <a:gd name="T32" fmla="*/ 1392 w 1488"/>
                  <a:gd name="T33" fmla="*/ 139 h 1152"/>
                  <a:gd name="T34" fmla="*/ 1416 w 1488"/>
                  <a:gd name="T35" fmla="*/ 0 h 1152"/>
                  <a:gd name="T36" fmla="*/ 72 w 1488"/>
                  <a:gd name="T37" fmla="*/ 312 h 1152"/>
                  <a:gd name="T38" fmla="*/ 1146 w 1488"/>
                  <a:gd name="T39" fmla="*/ 289 h 1152"/>
                  <a:gd name="T40" fmla="*/ 955 w 1488"/>
                  <a:gd name="T41" fmla="*/ 262 h 1152"/>
                  <a:gd name="T42" fmla="*/ 912 w 1488"/>
                  <a:gd name="T43" fmla="*/ 288 h 1152"/>
                  <a:gd name="T44" fmla="*/ 888 w 1488"/>
                  <a:gd name="T45" fmla="*/ 264 h 1152"/>
                  <a:gd name="T46" fmla="*/ 441 w 1488"/>
                  <a:gd name="T47" fmla="*/ 191 h 1152"/>
                  <a:gd name="T48" fmla="*/ 635 w 1488"/>
                  <a:gd name="T49" fmla="*/ 257 h 1152"/>
                  <a:gd name="T50" fmla="*/ 819 w 1488"/>
                  <a:gd name="T51" fmla="*/ 96 h 1152"/>
                  <a:gd name="T52" fmla="*/ 838 w 1488"/>
                  <a:gd name="T53" fmla="*/ 339 h 1152"/>
                  <a:gd name="T54" fmla="*/ 552 w 1488"/>
                  <a:gd name="T55" fmla="*/ 501 h 1152"/>
                  <a:gd name="T56" fmla="*/ 432 w 1488"/>
                  <a:gd name="T57" fmla="*/ 408 h 1152"/>
                  <a:gd name="T58" fmla="*/ 580 w 1488"/>
                  <a:gd name="T59" fmla="*/ 563 h 1152"/>
                  <a:gd name="T60" fmla="*/ 744 w 1488"/>
                  <a:gd name="T61" fmla="*/ 672 h 1152"/>
                  <a:gd name="T62" fmla="*/ 835 w 1488"/>
                  <a:gd name="T63" fmla="*/ 459 h 1152"/>
                  <a:gd name="T64" fmla="*/ 576 w 1488"/>
                  <a:gd name="T65" fmla="*/ 600 h 1152"/>
                  <a:gd name="T66" fmla="*/ 768 w 1488"/>
                  <a:gd name="T67" fmla="*/ 600 h 1152"/>
                  <a:gd name="T68" fmla="*/ 744 w 1488"/>
                  <a:gd name="T69" fmla="*/ 576 h 1152"/>
                  <a:gd name="T70" fmla="*/ 690 w 1488"/>
                  <a:gd name="T71" fmla="*/ 553 h 1152"/>
                  <a:gd name="T72" fmla="*/ 792 w 1488"/>
                  <a:gd name="T73" fmla="*/ 439 h 1152"/>
                  <a:gd name="T74" fmla="*/ 456 w 1488"/>
                  <a:gd name="T75" fmla="*/ 480 h 1152"/>
                  <a:gd name="T76" fmla="*/ 432 w 1488"/>
                  <a:gd name="T77" fmla="*/ 456 h 1152"/>
                  <a:gd name="T78" fmla="*/ 1092 w 1488"/>
                  <a:gd name="T79" fmla="*/ 506 h 1152"/>
                  <a:gd name="T80" fmla="*/ 1092 w 1488"/>
                  <a:gd name="T81" fmla="*/ 694 h 1152"/>
                  <a:gd name="T82" fmla="*/ 1056 w 1488"/>
                  <a:gd name="T83" fmla="*/ 779 h 1152"/>
                  <a:gd name="T84" fmla="*/ 923 w 1488"/>
                  <a:gd name="T85" fmla="*/ 912 h 1152"/>
                  <a:gd name="T86" fmla="*/ 838 w 1488"/>
                  <a:gd name="T87" fmla="*/ 948 h 1152"/>
                  <a:gd name="T88" fmla="*/ 650 w 1488"/>
                  <a:gd name="T89" fmla="*/ 948 h 1152"/>
                  <a:gd name="T90" fmla="*/ 565 w 1488"/>
                  <a:gd name="T91" fmla="*/ 912 h 1152"/>
                  <a:gd name="T92" fmla="*/ 432 w 1488"/>
                  <a:gd name="T93" fmla="*/ 779 h 1152"/>
                  <a:gd name="T94" fmla="*/ 396 w 1488"/>
                  <a:gd name="T95" fmla="*/ 694 h 1152"/>
                  <a:gd name="T96" fmla="*/ 366 w 1488"/>
                  <a:gd name="T97" fmla="*/ 509 h 1152"/>
                  <a:gd name="T98" fmla="*/ 535 w 1488"/>
                  <a:gd name="T99" fmla="*/ 545 h 1152"/>
                  <a:gd name="T100" fmla="*/ 960 w 1488"/>
                  <a:gd name="T101" fmla="*/ 600 h 1152"/>
                  <a:gd name="T102" fmla="*/ 888 w 1488"/>
                  <a:gd name="T103" fmla="*/ 360 h 1152"/>
                  <a:gd name="T104" fmla="*/ 1056 w 1488"/>
                  <a:gd name="T105" fmla="*/ 421 h 1152"/>
                  <a:gd name="T106" fmla="*/ 1176 w 1488"/>
                  <a:gd name="T107" fmla="*/ 336 h 1152"/>
                  <a:gd name="T108" fmla="*/ 1200 w 1488"/>
                  <a:gd name="T109" fmla="*/ 360 h 1152"/>
                  <a:gd name="T110" fmla="*/ 1416 w 1488"/>
                  <a:gd name="T111" fmla="*/ 48 h 1152"/>
                  <a:gd name="T112" fmla="*/ 1416 w 1488"/>
                  <a:gd name="T113" fmla="*/ 96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88" h="1152">
                    <a:moveTo>
                      <a:pt x="1416" y="0"/>
                    </a:moveTo>
                    <a:cubicBezTo>
                      <a:pt x="1376" y="0"/>
                      <a:pt x="1344" y="32"/>
                      <a:pt x="1344" y="72"/>
                    </a:cubicBezTo>
                    <a:cubicBezTo>
                      <a:pt x="1344" y="86"/>
                      <a:pt x="1348" y="98"/>
                      <a:pt x="1355" y="109"/>
                    </a:cubicBezTo>
                    <a:cubicBezTo>
                      <a:pt x="1224" y="268"/>
                      <a:pt x="1224" y="268"/>
                      <a:pt x="1224" y="268"/>
                    </a:cubicBezTo>
                    <a:cubicBezTo>
                      <a:pt x="1217" y="266"/>
                      <a:pt x="1209" y="264"/>
                      <a:pt x="1200" y="264"/>
                    </a:cubicBezTo>
                    <a:cubicBezTo>
                      <a:pt x="1196" y="264"/>
                      <a:pt x="1193" y="264"/>
                      <a:pt x="1190" y="265"/>
                    </a:cubicBezTo>
                    <a:cubicBezTo>
                      <a:pt x="1051" y="127"/>
                      <a:pt x="1051" y="127"/>
                      <a:pt x="1051" y="127"/>
                    </a:cubicBezTo>
                    <a:cubicBezTo>
                      <a:pt x="924" y="226"/>
                      <a:pt x="924" y="226"/>
                      <a:pt x="924" y="226"/>
                    </a:cubicBezTo>
                    <a:cubicBezTo>
                      <a:pt x="913" y="220"/>
                      <a:pt x="901" y="216"/>
                      <a:pt x="888" y="216"/>
                    </a:cubicBezTo>
                    <a:cubicBezTo>
                      <a:pt x="886" y="216"/>
                      <a:pt x="884" y="216"/>
                      <a:pt x="883" y="216"/>
                    </a:cubicBezTo>
                    <a:cubicBezTo>
                      <a:pt x="882" y="216"/>
                      <a:pt x="882" y="216"/>
                      <a:pt x="882" y="216"/>
                    </a:cubicBezTo>
                    <a:cubicBezTo>
                      <a:pt x="861" y="48"/>
                      <a:pt x="861" y="48"/>
                      <a:pt x="861" y="48"/>
                    </a:cubicBezTo>
                    <a:cubicBezTo>
                      <a:pt x="627" y="48"/>
                      <a:pt x="627" y="48"/>
                      <a:pt x="627" y="48"/>
                    </a:cubicBezTo>
                    <a:cubicBezTo>
                      <a:pt x="606" y="216"/>
                      <a:pt x="606" y="216"/>
                      <a:pt x="606" y="216"/>
                    </a:cubicBezTo>
                    <a:cubicBezTo>
                      <a:pt x="594" y="220"/>
                      <a:pt x="582" y="225"/>
                      <a:pt x="570" y="231"/>
                    </a:cubicBezTo>
                    <a:cubicBezTo>
                      <a:pt x="437" y="127"/>
                      <a:pt x="437" y="127"/>
                      <a:pt x="437" y="127"/>
                    </a:cubicBezTo>
                    <a:cubicBezTo>
                      <a:pt x="271" y="292"/>
                      <a:pt x="271" y="292"/>
                      <a:pt x="271" y="292"/>
                    </a:cubicBezTo>
                    <a:cubicBezTo>
                      <a:pt x="375" y="426"/>
                      <a:pt x="375" y="426"/>
                      <a:pt x="375" y="426"/>
                    </a:cubicBezTo>
                    <a:cubicBezTo>
                      <a:pt x="374" y="428"/>
                      <a:pt x="374" y="429"/>
                      <a:pt x="373" y="431"/>
                    </a:cubicBezTo>
                    <a:cubicBezTo>
                      <a:pt x="144" y="339"/>
                      <a:pt x="144" y="339"/>
                      <a:pt x="144" y="339"/>
                    </a:cubicBezTo>
                    <a:cubicBezTo>
                      <a:pt x="144" y="338"/>
                      <a:pt x="144" y="337"/>
                      <a:pt x="144" y="336"/>
                    </a:cubicBezTo>
                    <a:cubicBezTo>
                      <a:pt x="144" y="296"/>
                      <a:pt x="112" y="264"/>
                      <a:pt x="72" y="264"/>
                    </a:cubicBezTo>
                    <a:cubicBezTo>
                      <a:pt x="32" y="264"/>
                      <a:pt x="0" y="296"/>
                      <a:pt x="0" y="336"/>
                    </a:cubicBezTo>
                    <a:cubicBezTo>
                      <a:pt x="0" y="376"/>
                      <a:pt x="32" y="408"/>
                      <a:pt x="72" y="408"/>
                    </a:cubicBezTo>
                    <a:cubicBezTo>
                      <a:pt x="93" y="408"/>
                      <a:pt x="113" y="398"/>
                      <a:pt x="126" y="383"/>
                    </a:cubicBezTo>
                    <a:cubicBezTo>
                      <a:pt x="331" y="465"/>
                      <a:pt x="331" y="465"/>
                      <a:pt x="331" y="465"/>
                    </a:cubicBezTo>
                    <a:cubicBezTo>
                      <a:pt x="192" y="483"/>
                      <a:pt x="192" y="483"/>
                      <a:pt x="192" y="483"/>
                    </a:cubicBezTo>
                    <a:cubicBezTo>
                      <a:pt x="192" y="717"/>
                      <a:pt x="192" y="717"/>
                      <a:pt x="192" y="717"/>
                    </a:cubicBezTo>
                    <a:cubicBezTo>
                      <a:pt x="360" y="738"/>
                      <a:pt x="360" y="738"/>
                      <a:pt x="360" y="738"/>
                    </a:cubicBezTo>
                    <a:cubicBezTo>
                      <a:pt x="364" y="750"/>
                      <a:pt x="369" y="762"/>
                      <a:pt x="375" y="773"/>
                    </a:cubicBezTo>
                    <a:cubicBezTo>
                      <a:pt x="271" y="907"/>
                      <a:pt x="271" y="907"/>
                      <a:pt x="271" y="907"/>
                    </a:cubicBezTo>
                    <a:cubicBezTo>
                      <a:pt x="437" y="1073"/>
                      <a:pt x="437" y="1073"/>
                      <a:pt x="437" y="1073"/>
                    </a:cubicBezTo>
                    <a:cubicBezTo>
                      <a:pt x="570" y="969"/>
                      <a:pt x="570" y="969"/>
                      <a:pt x="570" y="969"/>
                    </a:cubicBezTo>
                    <a:cubicBezTo>
                      <a:pt x="582" y="975"/>
                      <a:pt x="594" y="979"/>
                      <a:pt x="606" y="984"/>
                    </a:cubicBezTo>
                    <a:cubicBezTo>
                      <a:pt x="627" y="1152"/>
                      <a:pt x="627" y="1152"/>
                      <a:pt x="627" y="1152"/>
                    </a:cubicBezTo>
                    <a:cubicBezTo>
                      <a:pt x="861" y="1152"/>
                      <a:pt x="861" y="1152"/>
                      <a:pt x="861" y="1152"/>
                    </a:cubicBezTo>
                    <a:cubicBezTo>
                      <a:pt x="882" y="984"/>
                      <a:pt x="882" y="984"/>
                      <a:pt x="882" y="984"/>
                    </a:cubicBezTo>
                    <a:cubicBezTo>
                      <a:pt x="894" y="979"/>
                      <a:pt x="906" y="975"/>
                      <a:pt x="918" y="969"/>
                    </a:cubicBezTo>
                    <a:cubicBezTo>
                      <a:pt x="1051" y="1073"/>
                      <a:pt x="1051" y="1073"/>
                      <a:pt x="1051" y="1073"/>
                    </a:cubicBezTo>
                    <a:cubicBezTo>
                      <a:pt x="1217" y="907"/>
                      <a:pt x="1217" y="907"/>
                      <a:pt x="1217" y="907"/>
                    </a:cubicBezTo>
                    <a:cubicBezTo>
                      <a:pt x="1113" y="773"/>
                      <a:pt x="1113" y="773"/>
                      <a:pt x="1113" y="773"/>
                    </a:cubicBezTo>
                    <a:cubicBezTo>
                      <a:pt x="1119" y="762"/>
                      <a:pt x="1124" y="750"/>
                      <a:pt x="1128" y="738"/>
                    </a:cubicBezTo>
                    <a:cubicBezTo>
                      <a:pt x="1296" y="717"/>
                      <a:pt x="1296" y="717"/>
                      <a:pt x="1296" y="717"/>
                    </a:cubicBezTo>
                    <a:cubicBezTo>
                      <a:pt x="1296" y="483"/>
                      <a:pt x="1296" y="483"/>
                      <a:pt x="1296" y="483"/>
                    </a:cubicBezTo>
                    <a:cubicBezTo>
                      <a:pt x="1128" y="462"/>
                      <a:pt x="1128" y="462"/>
                      <a:pt x="1128" y="462"/>
                    </a:cubicBezTo>
                    <a:cubicBezTo>
                      <a:pt x="1124" y="450"/>
                      <a:pt x="1119" y="438"/>
                      <a:pt x="1113" y="426"/>
                    </a:cubicBezTo>
                    <a:cubicBezTo>
                      <a:pt x="1146" y="383"/>
                      <a:pt x="1146" y="383"/>
                      <a:pt x="1146" y="383"/>
                    </a:cubicBezTo>
                    <a:cubicBezTo>
                      <a:pt x="1160" y="398"/>
                      <a:pt x="1179" y="408"/>
                      <a:pt x="1200" y="408"/>
                    </a:cubicBezTo>
                    <a:cubicBezTo>
                      <a:pt x="1240" y="408"/>
                      <a:pt x="1272" y="376"/>
                      <a:pt x="1272" y="336"/>
                    </a:cubicBezTo>
                    <a:cubicBezTo>
                      <a:pt x="1272" y="322"/>
                      <a:pt x="1268" y="310"/>
                      <a:pt x="1261" y="299"/>
                    </a:cubicBezTo>
                    <a:cubicBezTo>
                      <a:pt x="1392" y="139"/>
                      <a:pt x="1392" y="139"/>
                      <a:pt x="1392" y="139"/>
                    </a:cubicBezTo>
                    <a:cubicBezTo>
                      <a:pt x="1399" y="142"/>
                      <a:pt x="1407" y="144"/>
                      <a:pt x="1416" y="144"/>
                    </a:cubicBezTo>
                    <a:cubicBezTo>
                      <a:pt x="1456" y="144"/>
                      <a:pt x="1488" y="112"/>
                      <a:pt x="1488" y="72"/>
                    </a:cubicBezTo>
                    <a:cubicBezTo>
                      <a:pt x="1488" y="32"/>
                      <a:pt x="1456" y="0"/>
                      <a:pt x="1416" y="0"/>
                    </a:cubicBezTo>
                    <a:close/>
                    <a:moveTo>
                      <a:pt x="72" y="360"/>
                    </a:moveTo>
                    <a:cubicBezTo>
                      <a:pt x="59" y="360"/>
                      <a:pt x="48" y="349"/>
                      <a:pt x="48" y="336"/>
                    </a:cubicBezTo>
                    <a:cubicBezTo>
                      <a:pt x="48" y="323"/>
                      <a:pt x="59" y="312"/>
                      <a:pt x="72" y="312"/>
                    </a:cubicBezTo>
                    <a:cubicBezTo>
                      <a:pt x="85" y="312"/>
                      <a:pt x="96" y="323"/>
                      <a:pt x="96" y="336"/>
                    </a:cubicBezTo>
                    <a:cubicBezTo>
                      <a:pt x="96" y="349"/>
                      <a:pt x="85" y="360"/>
                      <a:pt x="72" y="360"/>
                    </a:cubicBezTo>
                    <a:close/>
                    <a:moveTo>
                      <a:pt x="1146" y="289"/>
                    </a:moveTo>
                    <a:cubicBezTo>
                      <a:pt x="1142" y="293"/>
                      <a:pt x="1139" y="297"/>
                      <a:pt x="1137" y="302"/>
                    </a:cubicBezTo>
                    <a:cubicBezTo>
                      <a:pt x="959" y="275"/>
                      <a:pt x="959" y="275"/>
                      <a:pt x="959" y="275"/>
                    </a:cubicBezTo>
                    <a:cubicBezTo>
                      <a:pt x="958" y="270"/>
                      <a:pt x="957" y="266"/>
                      <a:pt x="955" y="262"/>
                    </a:cubicBezTo>
                    <a:cubicBezTo>
                      <a:pt x="1047" y="191"/>
                      <a:pt x="1047" y="191"/>
                      <a:pt x="1047" y="191"/>
                    </a:cubicBezTo>
                    <a:lnTo>
                      <a:pt x="1146" y="289"/>
                    </a:lnTo>
                    <a:close/>
                    <a:moveTo>
                      <a:pt x="912" y="288"/>
                    </a:moveTo>
                    <a:cubicBezTo>
                      <a:pt x="912" y="301"/>
                      <a:pt x="901" y="312"/>
                      <a:pt x="888" y="312"/>
                    </a:cubicBezTo>
                    <a:cubicBezTo>
                      <a:pt x="875" y="312"/>
                      <a:pt x="864" y="301"/>
                      <a:pt x="864" y="288"/>
                    </a:cubicBezTo>
                    <a:cubicBezTo>
                      <a:pt x="864" y="275"/>
                      <a:pt x="875" y="264"/>
                      <a:pt x="888" y="264"/>
                    </a:cubicBezTo>
                    <a:cubicBezTo>
                      <a:pt x="901" y="264"/>
                      <a:pt x="912" y="275"/>
                      <a:pt x="912" y="288"/>
                    </a:cubicBezTo>
                    <a:close/>
                    <a:moveTo>
                      <a:pt x="335" y="296"/>
                    </a:moveTo>
                    <a:cubicBezTo>
                      <a:pt x="441" y="191"/>
                      <a:pt x="441" y="191"/>
                      <a:pt x="441" y="191"/>
                    </a:cubicBezTo>
                    <a:cubicBezTo>
                      <a:pt x="565" y="287"/>
                      <a:pt x="565" y="287"/>
                      <a:pt x="565" y="287"/>
                    </a:cubicBezTo>
                    <a:cubicBezTo>
                      <a:pt x="579" y="280"/>
                      <a:pt x="579" y="280"/>
                      <a:pt x="579" y="280"/>
                    </a:cubicBezTo>
                    <a:cubicBezTo>
                      <a:pt x="597" y="271"/>
                      <a:pt x="616" y="263"/>
                      <a:pt x="635" y="257"/>
                    </a:cubicBezTo>
                    <a:cubicBezTo>
                      <a:pt x="650" y="252"/>
                      <a:pt x="650" y="252"/>
                      <a:pt x="650" y="252"/>
                    </a:cubicBezTo>
                    <a:cubicBezTo>
                      <a:pt x="669" y="96"/>
                      <a:pt x="669" y="96"/>
                      <a:pt x="669" y="96"/>
                    </a:cubicBezTo>
                    <a:cubicBezTo>
                      <a:pt x="819" y="96"/>
                      <a:pt x="819" y="96"/>
                      <a:pt x="819" y="96"/>
                    </a:cubicBezTo>
                    <a:cubicBezTo>
                      <a:pt x="837" y="238"/>
                      <a:pt x="837" y="238"/>
                      <a:pt x="837" y="238"/>
                    </a:cubicBezTo>
                    <a:cubicBezTo>
                      <a:pt x="824" y="251"/>
                      <a:pt x="816" y="268"/>
                      <a:pt x="816" y="288"/>
                    </a:cubicBezTo>
                    <a:cubicBezTo>
                      <a:pt x="816" y="308"/>
                      <a:pt x="824" y="326"/>
                      <a:pt x="838" y="339"/>
                    </a:cubicBezTo>
                    <a:cubicBezTo>
                      <a:pt x="812" y="395"/>
                      <a:pt x="812" y="395"/>
                      <a:pt x="812" y="395"/>
                    </a:cubicBezTo>
                    <a:cubicBezTo>
                      <a:pt x="791" y="388"/>
                      <a:pt x="768" y="384"/>
                      <a:pt x="744" y="384"/>
                    </a:cubicBezTo>
                    <a:cubicBezTo>
                      <a:pt x="661" y="384"/>
                      <a:pt x="588" y="431"/>
                      <a:pt x="552" y="501"/>
                    </a:cubicBezTo>
                    <a:cubicBezTo>
                      <a:pt x="504" y="482"/>
                      <a:pt x="504" y="482"/>
                      <a:pt x="504" y="482"/>
                    </a:cubicBezTo>
                    <a:cubicBezTo>
                      <a:pt x="504" y="481"/>
                      <a:pt x="504" y="481"/>
                      <a:pt x="504" y="480"/>
                    </a:cubicBezTo>
                    <a:cubicBezTo>
                      <a:pt x="504" y="440"/>
                      <a:pt x="472" y="408"/>
                      <a:pt x="432" y="408"/>
                    </a:cubicBezTo>
                    <a:cubicBezTo>
                      <a:pt x="429" y="408"/>
                      <a:pt x="425" y="408"/>
                      <a:pt x="422" y="409"/>
                    </a:cubicBezTo>
                    <a:lnTo>
                      <a:pt x="335" y="296"/>
                    </a:lnTo>
                    <a:close/>
                    <a:moveTo>
                      <a:pt x="580" y="563"/>
                    </a:moveTo>
                    <a:cubicBezTo>
                      <a:pt x="672" y="598"/>
                      <a:pt x="672" y="598"/>
                      <a:pt x="672" y="598"/>
                    </a:cubicBezTo>
                    <a:cubicBezTo>
                      <a:pt x="672" y="599"/>
                      <a:pt x="672" y="599"/>
                      <a:pt x="672" y="600"/>
                    </a:cubicBezTo>
                    <a:cubicBezTo>
                      <a:pt x="672" y="640"/>
                      <a:pt x="704" y="672"/>
                      <a:pt x="744" y="672"/>
                    </a:cubicBezTo>
                    <a:cubicBezTo>
                      <a:pt x="784" y="672"/>
                      <a:pt x="816" y="640"/>
                      <a:pt x="816" y="600"/>
                    </a:cubicBezTo>
                    <a:cubicBezTo>
                      <a:pt x="816" y="580"/>
                      <a:pt x="808" y="562"/>
                      <a:pt x="794" y="548"/>
                    </a:cubicBezTo>
                    <a:cubicBezTo>
                      <a:pt x="835" y="459"/>
                      <a:pt x="835" y="459"/>
                      <a:pt x="835" y="459"/>
                    </a:cubicBezTo>
                    <a:cubicBezTo>
                      <a:pt x="881" y="489"/>
                      <a:pt x="912" y="541"/>
                      <a:pt x="912" y="600"/>
                    </a:cubicBezTo>
                    <a:cubicBezTo>
                      <a:pt x="912" y="693"/>
                      <a:pt x="837" y="768"/>
                      <a:pt x="744" y="768"/>
                    </a:cubicBezTo>
                    <a:cubicBezTo>
                      <a:pt x="651" y="768"/>
                      <a:pt x="576" y="693"/>
                      <a:pt x="576" y="600"/>
                    </a:cubicBezTo>
                    <a:cubicBezTo>
                      <a:pt x="576" y="587"/>
                      <a:pt x="578" y="575"/>
                      <a:pt x="580" y="563"/>
                    </a:cubicBezTo>
                    <a:close/>
                    <a:moveTo>
                      <a:pt x="744" y="576"/>
                    </a:moveTo>
                    <a:cubicBezTo>
                      <a:pt x="757" y="576"/>
                      <a:pt x="768" y="587"/>
                      <a:pt x="768" y="600"/>
                    </a:cubicBezTo>
                    <a:cubicBezTo>
                      <a:pt x="768" y="613"/>
                      <a:pt x="757" y="624"/>
                      <a:pt x="744" y="624"/>
                    </a:cubicBezTo>
                    <a:cubicBezTo>
                      <a:pt x="731" y="624"/>
                      <a:pt x="720" y="613"/>
                      <a:pt x="720" y="600"/>
                    </a:cubicBezTo>
                    <a:cubicBezTo>
                      <a:pt x="720" y="587"/>
                      <a:pt x="731" y="576"/>
                      <a:pt x="744" y="576"/>
                    </a:cubicBezTo>
                    <a:close/>
                    <a:moveTo>
                      <a:pt x="751" y="529"/>
                    </a:moveTo>
                    <a:cubicBezTo>
                      <a:pt x="748" y="528"/>
                      <a:pt x="746" y="528"/>
                      <a:pt x="744" y="528"/>
                    </a:cubicBezTo>
                    <a:cubicBezTo>
                      <a:pt x="722" y="528"/>
                      <a:pt x="703" y="538"/>
                      <a:pt x="690" y="553"/>
                    </a:cubicBezTo>
                    <a:cubicBezTo>
                      <a:pt x="598" y="518"/>
                      <a:pt x="598" y="518"/>
                      <a:pt x="598" y="518"/>
                    </a:cubicBezTo>
                    <a:cubicBezTo>
                      <a:pt x="626" y="467"/>
                      <a:pt x="681" y="432"/>
                      <a:pt x="744" y="432"/>
                    </a:cubicBezTo>
                    <a:cubicBezTo>
                      <a:pt x="761" y="432"/>
                      <a:pt x="777" y="434"/>
                      <a:pt x="792" y="439"/>
                    </a:cubicBezTo>
                    <a:lnTo>
                      <a:pt x="751" y="529"/>
                    </a:lnTo>
                    <a:close/>
                    <a:moveTo>
                      <a:pt x="432" y="456"/>
                    </a:moveTo>
                    <a:cubicBezTo>
                      <a:pt x="445" y="456"/>
                      <a:pt x="456" y="467"/>
                      <a:pt x="456" y="480"/>
                    </a:cubicBezTo>
                    <a:cubicBezTo>
                      <a:pt x="456" y="493"/>
                      <a:pt x="445" y="504"/>
                      <a:pt x="432" y="504"/>
                    </a:cubicBezTo>
                    <a:cubicBezTo>
                      <a:pt x="419" y="504"/>
                      <a:pt x="408" y="493"/>
                      <a:pt x="408" y="480"/>
                    </a:cubicBezTo>
                    <a:cubicBezTo>
                      <a:pt x="408" y="467"/>
                      <a:pt x="419" y="456"/>
                      <a:pt x="432" y="456"/>
                    </a:cubicBezTo>
                    <a:close/>
                    <a:moveTo>
                      <a:pt x="1064" y="435"/>
                    </a:moveTo>
                    <a:cubicBezTo>
                      <a:pt x="1073" y="453"/>
                      <a:pt x="1081" y="472"/>
                      <a:pt x="1087" y="491"/>
                    </a:cubicBezTo>
                    <a:cubicBezTo>
                      <a:pt x="1092" y="506"/>
                      <a:pt x="1092" y="506"/>
                      <a:pt x="1092" y="506"/>
                    </a:cubicBezTo>
                    <a:cubicBezTo>
                      <a:pt x="1248" y="525"/>
                      <a:pt x="1248" y="525"/>
                      <a:pt x="1248" y="525"/>
                    </a:cubicBezTo>
                    <a:cubicBezTo>
                      <a:pt x="1248" y="675"/>
                      <a:pt x="1248" y="675"/>
                      <a:pt x="1248" y="675"/>
                    </a:cubicBezTo>
                    <a:cubicBezTo>
                      <a:pt x="1092" y="694"/>
                      <a:pt x="1092" y="694"/>
                      <a:pt x="1092" y="694"/>
                    </a:cubicBezTo>
                    <a:cubicBezTo>
                      <a:pt x="1087" y="709"/>
                      <a:pt x="1087" y="709"/>
                      <a:pt x="1087" y="709"/>
                    </a:cubicBezTo>
                    <a:cubicBezTo>
                      <a:pt x="1081" y="728"/>
                      <a:pt x="1073" y="747"/>
                      <a:pt x="1064" y="765"/>
                    </a:cubicBezTo>
                    <a:cubicBezTo>
                      <a:pt x="1056" y="779"/>
                      <a:pt x="1056" y="779"/>
                      <a:pt x="1056" y="779"/>
                    </a:cubicBezTo>
                    <a:cubicBezTo>
                      <a:pt x="1153" y="903"/>
                      <a:pt x="1153" y="903"/>
                      <a:pt x="1153" y="903"/>
                    </a:cubicBezTo>
                    <a:cubicBezTo>
                      <a:pt x="1047" y="1009"/>
                      <a:pt x="1047" y="1009"/>
                      <a:pt x="1047" y="1009"/>
                    </a:cubicBezTo>
                    <a:cubicBezTo>
                      <a:pt x="923" y="912"/>
                      <a:pt x="923" y="912"/>
                      <a:pt x="923" y="912"/>
                    </a:cubicBezTo>
                    <a:cubicBezTo>
                      <a:pt x="909" y="919"/>
                      <a:pt x="909" y="919"/>
                      <a:pt x="909" y="919"/>
                    </a:cubicBezTo>
                    <a:cubicBezTo>
                      <a:pt x="891" y="929"/>
                      <a:pt x="872" y="937"/>
                      <a:pt x="853" y="943"/>
                    </a:cubicBezTo>
                    <a:cubicBezTo>
                      <a:pt x="838" y="948"/>
                      <a:pt x="838" y="948"/>
                      <a:pt x="838" y="948"/>
                    </a:cubicBezTo>
                    <a:cubicBezTo>
                      <a:pt x="819" y="1104"/>
                      <a:pt x="819" y="1104"/>
                      <a:pt x="819" y="1104"/>
                    </a:cubicBezTo>
                    <a:cubicBezTo>
                      <a:pt x="669" y="1104"/>
                      <a:pt x="669" y="1104"/>
                      <a:pt x="669" y="1104"/>
                    </a:cubicBezTo>
                    <a:cubicBezTo>
                      <a:pt x="650" y="948"/>
                      <a:pt x="650" y="948"/>
                      <a:pt x="650" y="948"/>
                    </a:cubicBezTo>
                    <a:cubicBezTo>
                      <a:pt x="635" y="943"/>
                      <a:pt x="635" y="943"/>
                      <a:pt x="635" y="943"/>
                    </a:cubicBezTo>
                    <a:cubicBezTo>
                      <a:pt x="616" y="937"/>
                      <a:pt x="597" y="929"/>
                      <a:pt x="579" y="919"/>
                    </a:cubicBezTo>
                    <a:cubicBezTo>
                      <a:pt x="565" y="912"/>
                      <a:pt x="565" y="912"/>
                      <a:pt x="565" y="912"/>
                    </a:cubicBezTo>
                    <a:cubicBezTo>
                      <a:pt x="441" y="1009"/>
                      <a:pt x="441" y="1009"/>
                      <a:pt x="441" y="1009"/>
                    </a:cubicBezTo>
                    <a:cubicBezTo>
                      <a:pt x="335" y="903"/>
                      <a:pt x="335" y="903"/>
                      <a:pt x="335" y="903"/>
                    </a:cubicBezTo>
                    <a:cubicBezTo>
                      <a:pt x="432" y="779"/>
                      <a:pt x="432" y="779"/>
                      <a:pt x="432" y="779"/>
                    </a:cubicBezTo>
                    <a:cubicBezTo>
                      <a:pt x="424" y="765"/>
                      <a:pt x="424" y="765"/>
                      <a:pt x="424" y="765"/>
                    </a:cubicBezTo>
                    <a:cubicBezTo>
                      <a:pt x="415" y="747"/>
                      <a:pt x="407" y="728"/>
                      <a:pt x="401" y="709"/>
                    </a:cubicBezTo>
                    <a:cubicBezTo>
                      <a:pt x="396" y="694"/>
                      <a:pt x="396" y="694"/>
                      <a:pt x="396" y="694"/>
                    </a:cubicBezTo>
                    <a:cubicBezTo>
                      <a:pt x="240" y="675"/>
                      <a:pt x="240" y="675"/>
                      <a:pt x="240" y="675"/>
                    </a:cubicBezTo>
                    <a:cubicBezTo>
                      <a:pt x="240" y="525"/>
                      <a:pt x="240" y="525"/>
                      <a:pt x="240" y="525"/>
                    </a:cubicBezTo>
                    <a:cubicBezTo>
                      <a:pt x="366" y="509"/>
                      <a:pt x="366" y="509"/>
                      <a:pt x="366" y="509"/>
                    </a:cubicBezTo>
                    <a:cubicBezTo>
                      <a:pt x="378" y="534"/>
                      <a:pt x="403" y="552"/>
                      <a:pt x="432" y="552"/>
                    </a:cubicBezTo>
                    <a:cubicBezTo>
                      <a:pt x="454" y="552"/>
                      <a:pt x="473" y="542"/>
                      <a:pt x="486" y="527"/>
                    </a:cubicBezTo>
                    <a:cubicBezTo>
                      <a:pt x="535" y="545"/>
                      <a:pt x="535" y="545"/>
                      <a:pt x="535" y="545"/>
                    </a:cubicBezTo>
                    <a:cubicBezTo>
                      <a:pt x="531" y="563"/>
                      <a:pt x="528" y="581"/>
                      <a:pt x="528" y="600"/>
                    </a:cubicBezTo>
                    <a:cubicBezTo>
                      <a:pt x="528" y="719"/>
                      <a:pt x="625" y="816"/>
                      <a:pt x="744" y="816"/>
                    </a:cubicBezTo>
                    <a:cubicBezTo>
                      <a:pt x="863" y="816"/>
                      <a:pt x="960" y="719"/>
                      <a:pt x="960" y="600"/>
                    </a:cubicBezTo>
                    <a:cubicBezTo>
                      <a:pt x="960" y="522"/>
                      <a:pt x="918" y="453"/>
                      <a:pt x="856" y="415"/>
                    </a:cubicBezTo>
                    <a:cubicBezTo>
                      <a:pt x="882" y="359"/>
                      <a:pt x="882" y="359"/>
                      <a:pt x="882" y="359"/>
                    </a:cubicBezTo>
                    <a:cubicBezTo>
                      <a:pt x="884" y="359"/>
                      <a:pt x="886" y="360"/>
                      <a:pt x="888" y="360"/>
                    </a:cubicBezTo>
                    <a:cubicBezTo>
                      <a:pt x="915" y="360"/>
                      <a:pt x="939" y="344"/>
                      <a:pt x="951" y="322"/>
                    </a:cubicBezTo>
                    <a:cubicBezTo>
                      <a:pt x="1114" y="347"/>
                      <a:pt x="1114" y="347"/>
                      <a:pt x="1114" y="347"/>
                    </a:cubicBezTo>
                    <a:cubicBezTo>
                      <a:pt x="1056" y="421"/>
                      <a:pt x="1056" y="421"/>
                      <a:pt x="1056" y="421"/>
                    </a:cubicBezTo>
                    <a:lnTo>
                      <a:pt x="1064" y="435"/>
                    </a:lnTo>
                    <a:close/>
                    <a:moveTo>
                      <a:pt x="1200" y="360"/>
                    </a:moveTo>
                    <a:cubicBezTo>
                      <a:pt x="1187" y="360"/>
                      <a:pt x="1176" y="349"/>
                      <a:pt x="1176" y="336"/>
                    </a:cubicBezTo>
                    <a:cubicBezTo>
                      <a:pt x="1176" y="323"/>
                      <a:pt x="1187" y="312"/>
                      <a:pt x="1200" y="312"/>
                    </a:cubicBezTo>
                    <a:cubicBezTo>
                      <a:pt x="1213" y="312"/>
                      <a:pt x="1224" y="323"/>
                      <a:pt x="1224" y="336"/>
                    </a:cubicBezTo>
                    <a:cubicBezTo>
                      <a:pt x="1224" y="349"/>
                      <a:pt x="1213" y="360"/>
                      <a:pt x="1200" y="360"/>
                    </a:cubicBezTo>
                    <a:close/>
                    <a:moveTo>
                      <a:pt x="1416" y="96"/>
                    </a:moveTo>
                    <a:cubicBezTo>
                      <a:pt x="1403" y="96"/>
                      <a:pt x="1392" y="85"/>
                      <a:pt x="1392" y="72"/>
                    </a:cubicBezTo>
                    <a:cubicBezTo>
                      <a:pt x="1392" y="59"/>
                      <a:pt x="1403" y="48"/>
                      <a:pt x="1416" y="48"/>
                    </a:cubicBezTo>
                    <a:cubicBezTo>
                      <a:pt x="1429" y="48"/>
                      <a:pt x="1440" y="59"/>
                      <a:pt x="1440" y="72"/>
                    </a:cubicBezTo>
                    <a:cubicBezTo>
                      <a:pt x="1440" y="85"/>
                      <a:pt x="1429" y="96"/>
                      <a:pt x="1416" y="96"/>
                    </a:cubicBezTo>
                    <a:close/>
                    <a:moveTo>
                      <a:pt x="1416" y="96"/>
                    </a:moveTo>
                    <a:cubicBezTo>
                      <a:pt x="1416" y="96"/>
                      <a:pt x="1416" y="96"/>
                      <a:pt x="1416" y="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03" name="Freeform 102"/>
              <p:cNvSpPr>
                <a:spLocks noEditPoints="1"/>
              </p:cNvSpPr>
              <p:nvPr/>
            </p:nvSpPr>
            <p:spPr bwMode="auto">
              <a:xfrm>
                <a:off x="322580" y="33655"/>
                <a:ext cx="1875790" cy="1838960"/>
              </a:xfrm>
              <a:custGeom>
                <a:avLst/>
                <a:gdLst>
                  <a:gd name="T0" fmla="*/ 2954 w 2954"/>
                  <a:gd name="T1" fmla="*/ 1418 h 2896"/>
                  <a:gd name="T2" fmla="*/ 2327 w 2954"/>
                  <a:gd name="T3" fmla="*/ 1418 h 2896"/>
                  <a:gd name="T4" fmla="*/ 2327 w 2954"/>
                  <a:gd name="T5" fmla="*/ 0 h 2896"/>
                  <a:gd name="T6" fmla="*/ 2044 w 2954"/>
                  <a:gd name="T7" fmla="*/ 0 h 2896"/>
                  <a:gd name="T8" fmla="*/ 2044 w 2954"/>
                  <a:gd name="T9" fmla="*/ 1702 h 2896"/>
                  <a:gd name="T10" fmla="*/ 2268 w 2954"/>
                  <a:gd name="T11" fmla="*/ 1702 h 2896"/>
                  <a:gd name="T12" fmla="*/ 1477 w 2954"/>
                  <a:gd name="T13" fmla="*/ 2494 h 2896"/>
                  <a:gd name="T14" fmla="*/ 685 w 2954"/>
                  <a:gd name="T15" fmla="*/ 1702 h 2896"/>
                  <a:gd name="T16" fmla="*/ 910 w 2954"/>
                  <a:gd name="T17" fmla="*/ 1702 h 2896"/>
                  <a:gd name="T18" fmla="*/ 910 w 2954"/>
                  <a:gd name="T19" fmla="*/ 567 h 2896"/>
                  <a:gd name="T20" fmla="*/ 626 w 2954"/>
                  <a:gd name="T21" fmla="*/ 567 h 2896"/>
                  <a:gd name="T22" fmla="*/ 626 w 2954"/>
                  <a:gd name="T23" fmla="*/ 1418 h 2896"/>
                  <a:gd name="T24" fmla="*/ 0 w 2954"/>
                  <a:gd name="T25" fmla="*/ 1418 h 2896"/>
                  <a:gd name="T26" fmla="*/ 1477 w 2954"/>
                  <a:gd name="T27" fmla="*/ 2896 h 2896"/>
                  <a:gd name="T28" fmla="*/ 2954 w 2954"/>
                  <a:gd name="T29" fmla="*/ 1418 h 2896"/>
                  <a:gd name="T30" fmla="*/ 2954 w 2954"/>
                  <a:gd name="T31" fmla="*/ 1418 h 2896"/>
                  <a:gd name="T32" fmla="*/ 2954 w 2954"/>
                  <a:gd name="T33" fmla="*/ 1418 h 2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54" h="2896">
                    <a:moveTo>
                      <a:pt x="2954" y="1418"/>
                    </a:moveTo>
                    <a:lnTo>
                      <a:pt x="2327" y="1418"/>
                    </a:lnTo>
                    <a:lnTo>
                      <a:pt x="2327" y="0"/>
                    </a:lnTo>
                    <a:lnTo>
                      <a:pt x="2044" y="0"/>
                    </a:lnTo>
                    <a:lnTo>
                      <a:pt x="2044" y="1702"/>
                    </a:lnTo>
                    <a:lnTo>
                      <a:pt x="2268" y="1702"/>
                    </a:lnTo>
                    <a:lnTo>
                      <a:pt x="1477" y="2494"/>
                    </a:lnTo>
                    <a:lnTo>
                      <a:pt x="685" y="1702"/>
                    </a:lnTo>
                    <a:lnTo>
                      <a:pt x="910" y="1702"/>
                    </a:lnTo>
                    <a:lnTo>
                      <a:pt x="910" y="567"/>
                    </a:lnTo>
                    <a:lnTo>
                      <a:pt x="626" y="567"/>
                    </a:lnTo>
                    <a:lnTo>
                      <a:pt x="626" y="1418"/>
                    </a:lnTo>
                    <a:lnTo>
                      <a:pt x="0" y="1418"/>
                    </a:lnTo>
                    <a:lnTo>
                      <a:pt x="1477" y="2896"/>
                    </a:lnTo>
                    <a:lnTo>
                      <a:pt x="2954" y="1418"/>
                    </a:lnTo>
                    <a:close/>
                    <a:moveTo>
                      <a:pt x="2954" y="1418"/>
                    </a:moveTo>
                    <a:lnTo>
                      <a:pt x="2954" y="14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04" name="Freeform 103"/>
              <p:cNvSpPr>
                <a:spLocks noEditPoints="1"/>
              </p:cNvSpPr>
              <p:nvPr/>
            </p:nvSpPr>
            <p:spPr bwMode="auto">
              <a:xfrm>
                <a:off x="322580" y="33655"/>
                <a:ext cx="1875790" cy="1838960"/>
              </a:xfrm>
              <a:custGeom>
                <a:avLst/>
                <a:gdLst>
                  <a:gd name="T0" fmla="*/ 2954 w 2954"/>
                  <a:gd name="T1" fmla="*/ 1418 h 2896"/>
                  <a:gd name="T2" fmla="*/ 2327 w 2954"/>
                  <a:gd name="T3" fmla="*/ 1418 h 2896"/>
                  <a:gd name="T4" fmla="*/ 2327 w 2954"/>
                  <a:gd name="T5" fmla="*/ 0 h 2896"/>
                  <a:gd name="T6" fmla="*/ 2044 w 2954"/>
                  <a:gd name="T7" fmla="*/ 0 h 2896"/>
                  <a:gd name="T8" fmla="*/ 2044 w 2954"/>
                  <a:gd name="T9" fmla="*/ 1702 h 2896"/>
                  <a:gd name="T10" fmla="*/ 2268 w 2954"/>
                  <a:gd name="T11" fmla="*/ 1702 h 2896"/>
                  <a:gd name="T12" fmla="*/ 1477 w 2954"/>
                  <a:gd name="T13" fmla="*/ 2494 h 2896"/>
                  <a:gd name="T14" fmla="*/ 685 w 2954"/>
                  <a:gd name="T15" fmla="*/ 1702 h 2896"/>
                  <a:gd name="T16" fmla="*/ 910 w 2954"/>
                  <a:gd name="T17" fmla="*/ 1702 h 2896"/>
                  <a:gd name="T18" fmla="*/ 910 w 2954"/>
                  <a:gd name="T19" fmla="*/ 567 h 2896"/>
                  <a:gd name="T20" fmla="*/ 626 w 2954"/>
                  <a:gd name="T21" fmla="*/ 567 h 2896"/>
                  <a:gd name="T22" fmla="*/ 626 w 2954"/>
                  <a:gd name="T23" fmla="*/ 1418 h 2896"/>
                  <a:gd name="T24" fmla="*/ 0 w 2954"/>
                  <a:gd name="T25" fmla="*/ 1418 h 2896"/>
                  <a:gd name="T26" fmla="*/ 1477 w 2954"/>
                  <a:gd name="T27" fmla="*/ 2896 h 2896"/>
                  <a:gd name="T28" fmla="*/ 2954 w 2954"/>
                  <a:gd name="T29" fmla="*/ 1418 h 2896"/>
                  <a:gd name="T30" fmla="*/ 2954 w 2954"/>
                  <a:gd name="T31" fmla="*/ 1418 h 2896"/>
                  <a:gd name="T32" fmla="*/ 2954 w 2954"/>
                  <a:gd name="T33" fmla="*/ 1418 h 2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54" h="2896">
                    <a:moveTo>
                      <a:pt x="2954" y="1418"/>
                    </a:moveTo>
                    <a:lnTo>
                      <a:pt x="2327" y="1418"/>
                    </a:lnTo>
                    <a:lnTo>
                      <a:pt x="2327" y="0"/>
                    </a:lnTo>
                    <a:lnTo>
                      <a:pt x="2044" y="0"/>
                    </a:lnTo>
                    <a:lnTo>
                      <a:pt x="2044" y="1702"/>
                    </a:lnTo>
                    <a:lnTo>
                      <a:pt x="2268" y="1702"/>
                    </a:lnTo>
                    <a:lnTo>
                      <a:pt x="1477" y="2494"/>
                    </a:lnTo>
                    <a:lnTo>
                      <a:pt x="685" y="1702"/>
                    </a:lnTo>
                    <a:lnTo>
                      <a:pt x="910" y="1702"/>
                    </a:lnTo>
                    <a:lnTo>
                      <a:pt x="910" y="567"/>
                    </a:lnTo>
                    <a:lnTo>
                      <a:pt x="626" y="567"/>
                    </a:lnTo>
                    <a:lnTo>
                      <a:pt x="626" y="1418"/>
                    </a:lnTo>
                    <a:lnTo>
                      <a:pt x="0" y="1418"/>
                    </a:lnTo>
                    <a:lnTo>
                      <a:pt x="1477" y="2896"/>
                    </a:lnTo>
                    <a:lnTo>
                      <a:pt x="2954" y="1418"/>
                    </a:lnTo>
                    <a:moveTo>
                      <a:pt x="2954" y="1418"/>
                    </a:moveTo>
                    <a:lnTo>
                      <a:pt x="2954" y="141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05" name="Rectangle 104"/>
              <p:cNvSpPr>
                <a:spLocks noChangeArrowheads="1"/>
              </p:cNvSpPr>
              <p:nvPr/>
            </p:nvSpPr>
            <p:spPr bwMode="auto">
              <a:xfrm>
                <a:off x="720090" y="33655"/>
                <a:ext cx="180340" cy="1803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endParaRPr lang="en-US"/>
              </a:p>
            </p:txBody>
          </p:sp>
          <p:sp>
            <p:nvSpPr>
              <p:cNvPr id="106" name="Freeform 105"/>
              <p:cNvSpPr>
                <a:spLocks noEditPoints="1"/>
              </p:cNvSpPr>
              <p:nvPr/>
            </p:nvSpPr>
            <p:spPr bwMode="auto">
              <a:xfrm>
                <a:off x="3383280" y="-3810"/>
                <a:ext cx="1875790" cy="1658620"/>
              </a:xfrm>
              <a:custGeom>
                <a:avLst/>
                <a:gdLst>
                  <a:gd name="T0" fmla="*/ 627 w 2954"/>
                  <a:gd name="T1" fmla="*/ 2612 h 2612"/>
                  <a:gd name="T2" fmla="*/ 910 w 2954"/>
                  <a:gd name="T3" fmla="*/ 2612 h 2612"/>
                  <a:gd name="T4" fmla="*/ 910 w 2954"/>
                  <a:gd name="T5" fmla="*/ 1194 h 2612"/>
                  <a:gd name="T6" fmla="*/ 686 w 2954"/>
                  <a:gd name="T7" fmla="*/ 1194 h 2612"/>
                  <a:gd name="T8" fmla="*/ 1477 w 2954"/>
                  <a:gd name="T9" fmla="*/ 402 h 2612"/>
                  <a:gd name="T10" fmla="*/ 2269 w 2954"/>
                  <a:gd name="T11" fmla="*/ 1194 h 2612"/>
                  <a:gd name="T12" fmla="*/ 2044 w 2954"/>
                  <a:gd name="T13" fmla="*/ 1194 h 2612"/>
                  <a:gd name="T14" fmla="*/ 2044 w 2954"/>
                  <a:gd name="T15" fmla="*/ 2045 h 2612"/>
                  <a:gd name="T16" fmla="*/ 2328 w 2954"/>
                  <a:gd name="T17" fmla="*/ 2045 h 2612"/>
                  <a:gd name="T18" fmla="*/ 2328 w 2954"/>
                  <a:gd name="T19" fmla="*/ 1477 h 2612"/>
                  <a:gd name="T20" fmla="*/ 2954 w 2954"/>
                  <a:gd name="T21" fmla="*/ 1477 h 2612"/>
                  <a:gd name="T22" fmla="*/ 1477 w 2954"/>
                  <a:gd name="T23" fmla="*/ 0 h 2612"/>
                  <a:gd name="T24" fmla="*/ 0 w 2954"/>
                  <a:gd name="T25" fmla="*/ 1477 h 2612"/>
                  <a:gd name="T26" fmla="*/ 627 w 2954"/>
                  <a:gd name="T27" fmla="*/ 1477 h 2612"/>
                  <a:gd name="T28" fmla="*/ 627 w 2954"/>
                  <a:gd name="T29" fmla="*/ 2612 h 2612"/>
                  <a:gd name="T30" fmla="*/ 627 w 2954"/>
                  <a:gd name="T31" fmla="*/ 2612 h 2612"/>
                  <a:gd name="T32" fmla="*/ 627 w 2954"/>
                  <a:gd name="T33" fmla="*/ 2612 h 2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54" h="2612">
                    <a:moveTo>
                      <a:pt x="627" y="2612"/>
                    </a:moveTo>
                    <a:lnTo>
                      <a:pt x="910" y="2612"/>
                    </a:lnTo>
                    <a:lnTo>
                      <a:pt x="910" y="1194"/>
                    </a:lnTo>
                    <a:lnTo>
                      <a:pt x="686" y="1194"/>
                    </a:lnTo>
                    <a:lnTo>
                      <a:pt x="1477" y="402"/>
                    </a:lnTo>
                    <a:lnTo>
                      <a:pt x="2269" y="1194"/>
                    </a:lnTo>
                    <a:lnTo>
                      <a:pt x="2044" y="1194"/>
                    </a:lnTo>
                    <a:lnTo>
                      <a:pt x="2044" y="2045"/>
                    </a:lnTo>
                    <a:lnTo>
                      <a:pt x="2328" y="2045"/>
                    </a:lnTo>
                    <a:lnTo>
                      <a:pt x="2328" y="1477"/>
                    </a:lnTo>
                    <a:lnTo>
                      <a:pt x="2954" y="1477"/>
                    </a:lnTo>
                    <a:lnTo>
                      <a:pt x="1477" y="0"/>
                    </a:lnTo>
                    <a:lnTo>
                      <a:pt x="0" y="1477"/>
                    </a:lnTo>
                    <a:lnTo>
                      <a:pt x="627" y="1477"/>
                    </a:lnTo>
                    <a:lnTo>
                      <a:pt x="627" y="2612"/>
                    </a:lnTo>
                    <a:close/>
                    <a:moveTo>
                      <a:pt x="627" y="2612"/>
                    </a:moveTo>
                    <a:lnTo>
                      <a:pt x="627" y="26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07" name="Freeform 106"/>
              <p:cNvSpPr>
                <a:spLocks noEditPoints="1"/>
              </p:cNvSpPr>
              <p:nvPr/>
            </p:nvSpPr>
            <p:spPr bwMode="auto">
              <a:xfrm>
                <a:off x="3383280" y="-3810"/>
                <a:ext cx="1875790" cy="1658620"/>
              </a:xfrm>
              <a:custGeom>
                <a:avLst/>
                <a:gdLst>
                  <a:gd name="T0" fmla="*/ 627 w 2954"/>
                  <a:gd name="T1" fmla="*/ 2612 h 2612"/>
                  <a:gd name="T2" fmla="*/ 910 w 2954"/>
                  <a:gd name="T3" fmla="*/ 2612 h 2612"/>
                  <a:gd name="T4" fmla="*/ 910 w 2954"/>
                  <a:gd name="T5" fmla="*/ 1194 h 2612"/>
                  <a:gd name="T6" fmla="*/ 686 w 2954"/>
                  <a:gd name="T7" fmla="*/ 1194 h 2612"/>
                  <a:gd name="T8" fmla="*/ 1477 w 2954"/>
                  <a:gd name="T9" fmla="*/ 402 h 2612"/>
                  <a:gd name="T10" fmla="*/ 2269 w 2954"/>
                  <a:gd name="T11" fmla="*/ 1194 h 2612"/>
                  <a:gd name="T12" fmla="*/ 2044 w 2954"/>
                  <a:gd name="T13" fmla="*/ 1194 h 2612"/>
                  <a:gd name="T14" fmla="*/ 2044 w 2954"/>
                  <a:gd name="T15" fmla="*/ 2045 h 2612"/>
                  <a:gd name="T16" fmla="*/ 2328 w 2954"/>
                  <a:gd name="T17" fmla="*/ 2045 h 2612"/>
                  <a:gd name="T18" fmla="*/ 2328 w 2954"/>
                  <a:gd name="T19" fmla="*/ 1477 h 2612"/>
                  <a:gd name="T20" fmla="*/ 2954 w 2954"/>
                  <a:gd name="T21" fmla="*/ 1477 h 2612"/>
                  <a:gd name="T22" fmla="*/ 1477 w 2954"/>
                  <a:gd name="T23" fmla="*/ 0 h 2612"/>
                  <a:gd name="T24" fmla="*/ 0 w 2954"/>
                  <a:gd name="T25" fmla="*/ 1477 h 2612"/>
                  <a:gd name="T26" fmla="*/ 627 w 2954"/>
                  <a:gd name="T27" fmla="*/ 1477 h 2612"/>
                  <a:gd name="T28" fmla="*/ 627 w 2954"/>
                  <a:gd name="T29" fmla="*/ 2612 h 2612"/>
                  <a:gd name="T30" fmla="*/ 627 w 2954"/>
                  <a:gd name="T31" fmla="*/ 2612 h 2612"/>
                  <a:gd name="T32" fmla="*/ 627 w 2954"/>
                  <a:gd name="T33" fmla="*/ 2612 h 2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54" h="2612">
                    <a:moveTo>
                      <a:pt x="627" y="2612"/>
                    </a:moveTo>
                    <a:lnTo>
                      <a:pt x="910" y="2612"/>
                    </a:lnTo>
                    <a:lnTo>
                      <a:pt x="910" y="1194"/>
                    </a:lnTo>
                    <a:lnTo>
                      <a:pt x="686" y="1194"/>
                    </a:lnTo>
                    <a:lnTo>
                      <a:pt x="1477" y="402"/>
                    </a:lnTo>
                    <a:lnTo>
                      <a:pt x="2269" y="1194"/>
                    </a:lnTo>
                    <a:lnTo>
                      <a:pt x="2044" y="1194"/>
                    </a:lnTo>
                    <a:lnTo>
                      <a:pt x="2044" y="2045"/>
                    </a:lnTo>
                    <a:lnTo>
                      <a:pt x="2328" y="2045"/>
                    </a:lnTo>
                    <a:lnTo>
                      <a:pt x="2328" y="1477"/>
                    </a:lnTo>
                    <a:lnTo>
                      <a:pt x="2954" y="1477"/>
                    </a:lnTo>
                    <a:lnTo>
                      <a:pt x="1477" y="0"/>
                    </a:lnTo>
                    <a:lnTo>
                      <a:pt x="0" y="1477"/>
                    </a:lnTo>
                    <a:lnTo>
                      <a:pt x="627" y="1477"/>
                    </a:lnTo>
                    <a:lnTo>
                      <a:pt x="627" y="2612"/>
                    </a:lnTo>
                    <a:moveTo>
                      <a:pt x="627" y="2612"/>
                    </a:moveTo>
                    <a:lnTo>
                      <a:pt x="627" y="261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08" name="Rectangle 107"/>
              <p:cNvSpPr>
                <a:spLocks noChangeArrowheads="1"/>
              </p:cNvSpPr>
              <p:nvPr/>
            </p:nvSpPr>
            <p:spPr bwMode="auto">
              <a:xfrm>
                <a:off x="4681220" y="1474470"/>
                <a:ext cx="180340" cy="1803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endParaRPr lang="en-US"/>
              </a:p>
            </p:txBody>
          </p:sp>
        </p:grpSp>
        <p:grpSp>
          <p:nvGrpSpPr>
            <p:cNvPr id="47" name="Group 46"/>
            <p:cNvGrpSpPr/>
            <p:nvPr/>
          </p:nvGrpSpPr>
          <p:grpSpPr>
            <a:xfrm>
              <a:off x="4114800" y="1095375"/>
              <a:ext cx="681768" cy="681768"/>
              <a:chOff x="-41275" y="-41275"/>
              <a:chExt cx="5471795" cy="5471795"/>
            </a:xfrm>
            <a:solidFill>
              <a:srgbClr val="111111"/>
            </a:solidFill>
          </p:grpSpPr>
          <p:sp>
            <p:nvSpPr>
              <p:cNvPr id="87" name="Rectangle 86"/>
              <p:cNvSpPr>
                <a:spLocks noChangeArrowheads="1"/>
              </p:cNvSpPr>
              <p:nvPr/>
            </p:nvSpPr>
            <p:spPr bwMode="auto">
              <a:xfrm>
                <a:off x="2638425" y="4890135"/>
                <a:ext cx="179705" cy="1803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endParaRPr lang="en-US"/>
              </a:p>
            </p:txBody>
          </p:sp>
          <p:sp>
            <p:nvSpPr>
              <p:cNvPr id="88" name="Freeform 87"/>
              <p:cNvSpPr>
                <a:spLocks noEditPoints="1"/>
              </p:cNvSpPr>
              <p:nvPr/>
            </p:nvSpPr>
            <p:spPr bwMode="auto">
              <a:xfrm>
                <a:off x="4192270" y="4192270"/>
                <a:ext cx="255270" cy="255270"/>
              </a:xfrm>
              <a:custGeom>
                <a:avLst/>
                <a:gdLst>
                  <a:gd name="T0" fmla="*/ 0 w 402"/>
                  <a:gd name="T1" fmla="*/ 201 h 402"/>
                  <a:gd name="T2" fmla="*/ 201 w 402"/>
                  <a:gd name="T3" fmla="*/ 0 h 402"/>
                  <a:gd name="T4" fmla="*/ 402 w 402"/>
                  <a:gd name="T5" fmla="*/ 201 h 402"/>
                  <a:gd name="T6" fmla="*/ 201 w 402"/>
                  <a:gd name="T7" fmla="*/ 402 h 402"/>
                  <a:gd name="T8" fmla="*/ 0 w 402"/>
                  <a:gd name="T9" fmla="*/ 201 h 402"/>
                  <a:gd name="T10" fmla="*/ 0 w 402"/>
                  <a:gd name="T11" fmla="*/ 201 h 402"/>
                  <a:gd name="T12" fmla="*/ 0 w 402"/>
                  <a:gd name="T13" fmla="*/ 201 h 402"/>
                </a:gdLst>
                <a:ahLst/>
                <a:cxnLst>
                  <a:cxn ang="0">
                    <a:pos x="T0" y="T1"/>
                  </a:cxn>
                  <a:cxn ang="0">
                    <a:pos x="T2" y="T3"/>
                  </a:cxn>
                  <a:cxn ang="0">
                    <a:pos x="T4" y="T5"/>
                  </a:cxn>
                  <a:cxn ang="0">
                    <a:pos x="T6" y="T7"/>
                  </a:cxn>
                  <a:cxn ang="0">
                    <a:pos x="T8" y="T9"/>
                  </a:cxn>
                  <a:cxn ang="0">
                    <a:pos x="T10" y="T11"/>
                  </a:cxn>
                  <a:cxn ang="0">
                    <a:pos x="T12" y="T13"/>
                  </a:cxn>
                </a:cxnLst>
                <a:rect l="0" t="0" r="r" b="b"/>
                <a:pathLst>
                  <a:path w="402" h="402">
                    <a:moveTo>
                      <a:pt x="0" y="201"/>
                    </a:moveTo>
                    <a:lnTo>
                      <a:pt x="201" y="0"/>
                    </a:lnTo>
                    <a:lnTo>
                      <a:pt x="402" y="201"/>
                    </a:lnTo>
                    <a:lnTo>
                      <a:pt x="201" y="402"/>
                    </a:lnTo>
                    <a:lnTo>
                      <a:pt x="0" y="201"/>
                    </a:lnTo>
                    <a:close/>
                    <a:moveTo>
                      <a:pt x="0" y="201"/>
                    </a:moveTo>
                    <a:lnTo>
                      <a:pt x="0"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89" name="Freeform 88"/>
              <p:cNvSpPr>
                <a:spLocks noEditPoints="1"/>
              </p:cNvSpPr>
              <p:nvPr/>
            </p:nvSpPr>
            <p:spPr bwMode="auto">
              <a:xfrm>
                <a:off x="4192270" y="4192270"/>
                <a:ext cx="255270" cy="255270"/>
              </a:xfrm>
              <a:custGeom>
                <a:avLst/>
                <a:gdLst>
                  <a:gd name="T0" fmla="*/ 0 w 402"/>
                  <a:gd name="T1" fmla="*/ 201 h 402"/>
                  <a:gd name="T2" fmla="*/ 201 w 402"/>
                  <a:gd name="T3" fmla="*/ 0 h 402"/>
                  <a:gd name="T4" fmla="*/ 402 w 402"/>
                  <a:gd name="T5" fmla="*/ 201 h 402"/>
                  <a:gd name="T6" fmla="*/ 201 w 402"/>
                  <a:gd name="T7" fmla="*/ 402 h 402"/>
                  <a:gd name="T8" fmla="*/ 0 w 402"/>
                  <a:gd name="T9" fmla="*/ 201 h 402"/>
                  <a:gd name="T10" fmla="*/ 0 w 402"/>
                  <a:gd name="T11" fmla="*/ 201 h 402"/>
                  <a:gd name="T12" fmla="*/ 0 w 402"/>
                  <a:gd name="T13" fmla="*/ 201 h 402"/>
                </a:gdLst>
                <a:ahLst/>
                <a:cxnLst>
                  <a:cxn ang="0">
                    <a:pos x="T0" y="T1"/>
                  </a:cxn>
                  <a:cxn ang="0">
                    <a:pos x="T2" y="T3"/>
                  </a:cxn>
                  <a:cxn ang="0">
                    <a:pos x="T4" y="T5"/>
                  </a:cxn>
                  <a:cxn ang="0">
                    <a:pos x="T6" y="T7"/>
                  </a:cxn>
                  <a:cxn ang="0">
                    <a:pos x="T8" y="T9"/>
                  </a:cxn>
                  <a:cxn ang="0">
                    <a:pos x="T10" y="T11"/>
                  </a:cxn>
                  <a:cxn ang="0">
                    <a:pos x="T12" y="T13"/>
                  </a:cxn>
                </a:cxnLst>
                <a:rect l="0" t="0" r="r" b="b"/>
                <a:pathLst>
                  <a:path w="402" h="402">
                    <a:moveTo>
                      <a:pt x="0" y="201"/>
                    </a:moveTo>
                    <a:lnTo>
                      <a:pt x="201" y="0"/>
                    </a:lnTo>
                    <a:lnTo>
                      <a:pt x="402" y="201"/>
                    </a:lnTo>
                    <a:lnTo>
                      <a:pt x="201" y="402"/>
                    </a:lnTo>
                    <a:lnTo>
                      <a:pt x="0" y="201"/>
                    </a:lnTo>
                    <a:moveTo>
                      <a:pt x="0" y="201"/>
                    </a:moveTo>
                    <a:lnTo>
                      <a:pt x="0" y="20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90" name="Rectangle 89"/>
              <p:cNvSpPr>
                <a:spLocks noChangeArrowheads="1"/>
              </p:cNvSpPr>
              <p:nvPr/>
            </p:nvSpPr>
            <p:spPr bwMode="auto">
              <a:xfrm>
                <a:off x="4890135" y="2638425"/>
                <a:ext cx="180340" cy="1803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endParaRPr lang="en-US"/>
              </a:p>
            </p:txBody>
          </p:sp>
          <p:sp>
            <p:nvSpPr>
              <p:cNvPr id="91" name="Freeform 90"/>
              <p:cNvSpPr>
                <a:spLocks noEditPoints="1"/>
              </p:cNvSpPr>
              <p:nvPr/>
            </p:nvSpPr>
            <p:spPr bwMode="auto">
              <a:xfrm>
                <a:off x="-41275" y="-41275"/>
                <a:ext cx="5471795" cy="5471795"/>
              </a:xfrm>
              <a:custGeom>
                <a:avLst/>
                <a:gdLst>
                  <a:gd name="T0" fmla="*/ 1264 w 1458"/>
                  <a:gd name="T1" fmla="*/ 570 h 1458"/>
                  <a:gd name="T2" fmla="*/ 1349 w 1458"/>
                  <a:gd name="T3" fmla="*/ 365 h 1458"/>
                  <a:gd name="T4" fmla="*/ 1247 w 1458"/>
                  <a:gd name="T5" fmla="*/ 229 h 1458"/>
                  <a:gd name="T6" fmla="*/ 224 w 1458"/>
                  <a:gd name="T7" fmla="*/ 224 h 1458"/>
                  <a:gd name="T8" fmla="*/ 229 w 1458"/>
                  <a:gd name="T9" fmla="*/ 1247 h 1458"/>
                  <a:gd name="T10" fmla="*/ 365 w 1458"/>
                  <a:gd name="T11" fmla="*/ 1349 h 1458"/>
                  <a:gd name="T12" fmla="*/ 570 w 1458"/>
                  <a:gd name="T13" fmla="*/ 1264 h 1458"/>
                  <a:gd name="T14" fmla="*/ 594 w 1458"/>
                  <a:gd name="T15" fmla="*/ 1458 h 1458"/>
                  <a:gd name="T16" fmla="*/ 906 w 1458"/>
                  <a:gd name="T17" fmla="*/ 1434 h 1458"/>
                  <a:gd name="T18" fmla="*/ 991 w 1458"/>
                  <a:gd name="T19" fmla="*/ 1229 h 1458"/>
                  <a:gd name="T20" fmla="*/ 1145 w 1458"/>
                  <a:gd name="T21" fmla="*/ 1349 h 1458"/>
                  <a:gd name="T22" fmla="*/ 1349 w 1458"/>
                  <a:gd name="T23" fmla="*/ 1111 h 1458"/>
                  <a:gd name="T24" fmla="*/ 1264 w 1458"/>
                  <a:gd name="T25" fmla="*/ 906 h 1458"/>
                  <a:gd name="T26" fmla="*/ 1458 w 1458"/>
                  <a:gd name="T27" fmla="*/ 882 h 1458"/>
                  <a:gd name="T28" fmla="*/ 1434 w 1458"/>
                  <a:gd name="T29" fmla="*/ 570 h 1458"/>
                  <a:gd name="T30" fmla="*/ 1196 w 1458"/>
                  <a:gd name="T31" fmla="*/ 246 h 1458"/>
                  <a:gd name="T32" fmla="*/ 297 w 1458"/>
                  <a:gd name="T33" fmla="*/ 297 h 1458"/>
                  <a:gd name="T34" fmla="*/ 246 w 1458"/>
                  <a:gd name="T35" fmla="*/ 1196 h 1458"/>
                  <a:gd name="T36" fmla="*/ 942 w 1458"/>
                  <a:gd name="T37" fmla="*/ 534 h 1458"/>
                  <a:gd name="T38" fmla="*/ 534 w 1458"/>
                  <a:gd name="T39" fmla="*/ 942 h 1458"/>
                  <a:gd name="T40" fmla="*/ 314 w 1458"/>
                  <a:gd name="T41" fmla="*/ 1128 h 1458"/>
                  <a:gd name="T42" fmla="*/ 1128 w 1458"/>
                  <a:gd name="T43" fmla="*/ 314 h 1458"/>
                  <a:gd name="T44" fmla="*/ 935 w 1458"/>
                  <a:gd name="T45" fmla="*/ 517 h 1458"/>
                  <a:gd name="T46" fmla="*/ 1410 w 1458"/>
                  <a:gd name="T47" fmla="*/ 858 h 1458"/>
                  <a:gd name="T48" fmla="*/ 1223 w 1458"/>
                  <a:gd name="T49" fmla="*/ 876 h 1458"/>
                  <a:gd name="T50" fmla="*/ 1182 w 1458"/>
                  <a:gd name="T51" fmla="*/ 1012 h 1458"/>
                  <a:gd name="T52" fmla="*/ 1128 w 1458"/>
                  <a:gd name="T53" fmla="*/ 1298 h 1458"/>
                  <a:gd name="T54" fmla="*/ 984 w 1458"/>
                  <a:gd name="T55" fmla="*/ 1178 h 1458"/>
                  <a:gd name="T56" fmla="*/ 858 w 1458"/>
                  <a:gd name="T57" fmla="*/ 1246 h 1458"/>
                  <a:gd name="T58" fmla="*/ 618 w 1458"/>
                  <a:gd name="T59" fmla="*/ 1410 h 1458"/>
                  <a:gd name="T60" fmla="*/ 600 w 1458"/>
                  <a:gd name="T61" fmla="*/ 1223 h 1458"/>
                  <a:gd name="T62" fmla="*/ 464 w 1458"/>
                  <a:gd name="T63" fmla="*/ 1182 h 1458"/>
                  <a:gd name="T64" fmla="*/ 280 w 1458"/>
                  <a:gd name="T65" fmla="*/ 1230 h 1458"/>
                  <a:gd name="T66" fmla="*/ 976 w 1458"/>
                  <a:gd name="T67" fmla="*/ 976 h 1458"/>
                  <a:gd name="T68" fmla="*/ 1230 w 1458"/>
                  <a:gd name="T69" fmla="*/ 280 h 1458"/>
                  <a:gd name="T70" fmla="*/ 1182 w 1458"/>
                  <a:gd name="T71" fmla="*/ 464 h 1458"/>
                  <a:gd name="T72" fmla="*/ 1223 w 1458"/>
                  <a:gd name="T73" fmla="*/ 600 h 1458"/>
                  <a:gd name="T74" fmla="*/ 1410 w 1458"/>
                  <a:gd name="T75" fmla="*/ 618 h 1458"/>
                  <a:gd name="T76" fmla="*/ 1410 w 1458"/>
                  <a:gd name="T77" fmla="*/ 858 h 1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58" h="1458">
                    <a:moveTo>
                      <a:pt x="1434" y="570"/>
                    </a:moveTo>
                    <a:cubicBezTo>
                      <a:pt x="1264" y="570"/>
                      <a:pt x="1264" y="570"/>
                      <a:pt x="1264" y="570"/>
                    </a:cubicBezTo>
                    <a:cubicBezTo>
                      <a:pt x="1255" y="541"/>
                      <a:pt x="1243" y="512"/>
                      <a:pt x="1229" y="485"/>
                    </a:cubicBezTo>
                    <a:cubicBezTo>
                      <a:pt x="1349" y="365"/>
                      <a:pt x="1349" y="365"/>
                      <a:pt x="1349" y="365"/>
                    </a:cubicBezTo>
                    <a:cubicBezTo>
                      <a:pt x="1358" y="355"/>
                      <a:pt x="1358" y="340"/>
                      <a:pt x="1349" y="331"/>
                    </a:cubicBezTo>
                    <a:cubicBezTo>
                      <a:pt x="1247" y="229"/>
                      <a:pt x="1247" y="229"/>
                      <a:pt x="1247" y="229"/>
                    </a:cubicBezTo>
                    <a:cubicBezTo>
                      <a:pt x="1113" y="92"/>
                      <a:pt x="929" y="14"/>
                      <a:pt x="737" y="13"/>
                    </a:cubicBezTo>
                    <a:cubicBezTo>
                      <a:pt x="544" y="12"/>
                      <a:pt x="360" y="88"/>
                      <a:pt x="224" y="224"/>
                    </a:cubicBezTo>
                    <a:cubicBezTo>
                      <a:pt x="88" y="360"/>
                      <a:pt x="12" y="544"/>
                      <a:pt x="13" y="737"/>
                    </a:cubicBezTo>
                    <a:cubicBezTo>
                      <a:pt x="14" y="929"/>
                      <a:pt x="92" y="1113"/>
                      <a:pt x="229" y="1247"/>
                    </a:cubicBezTo>
                    <a:cubicBezTo>
                      <a:pt x="331" y="1349"/>
                      <a:pt x="331" y="1349"/>
                      <a:pt x="331" y="1349"/>
                    </a:cubicBezTo>
                    <a:cubicBezTo>
                      <a:pt x="340" y="1358"/>
                      <a:pt x="355" y="1358"/>
                      <a:pt x="365" y="1349"/>
                    </a:cubicBezTo>
                    <a:cubicBezTo>
                      <a:pt x="485" y="1229"/>
                      <a:pt x="485" y="1229"/>
                      <a:pt x="485" y="1229"/>
                    </a:cubicBezTo>
                    <a:cubicBezTo>
                      <a:pt x="512" y="1243"/>
                      <a:pt x="541" y="1255"/>
                      <a:pt x="570" y="1264"/>
                    </a:cubicBezTo>
                    <a:cubicBezTo>
                      <a:pt x="570" y="1434"/>
                      <a:pt x="570" y="1434"/>
                      <a:pt x="570" y="1434"/>
                    </a:cubicBezTo>
                    <a:cubicBezTo>
                      <a:pt x="570" y="1447"/>
                      <a:pt x="581" y="1458"/>
                      <a:pt x="594" y="1458"/>
                    </a:cubicBezTo>
                    <a:cubicBezTo>
                      <a:pt x="882" y="1458"/>
                      <a:pt x="882" y="1458"/>
                      <a:pt x="882" y="1458"/>
                    </a:cubicBezTo>
                    <a:cubicBezTo>
                      <a:pt x="895" y="1458"/>
                      <a:pt x="906" y="1447"/>
                      <a:pt x="906" y="1434"/>
                    </a:cubicBezTo>
                    <a:cubicBezTo>
                      <a:pt x="906" y="1264"/>
                      <a:pt x="906" y="1264"/>
                      <a:pt x="906" y="1264"/>
                    </a:cubicBezTo>
                    <a:cubicBezTo>
                      <a:pt x="935" y="1255"/>
                      <a:pt x="964" y="1243"/>
                      <a:pt x="991" y="1229"/>
                    </a:cubicBezTo>
                    <a:cubicBezTo>
                      <a:pt x="1111" y="1349"/>
                      <a:pt x="1111" y="1349"/>
                      <a:pt x="1111" y="1349"/>
                    </a:cubicBezTo>
                    <a:cubicBezTo>
                      <a:pt x="1121" y="1358"/>
                      <a:pt x="1136" y="1358"/>
                      <a:pt x="1145" y="1349"/>
                    </a:cubicBezTo>
                    <a:cubicBezTo>
                      <a:pt x="1349" y="1145"/>
                      <a:pt x="1349" y="1145"/>
                      <a:pt x="1349" y="1145"/>
                    </a:cubicBezTo>
                    <a:cubicBezTo>
                      <a:pt x="1358" y="1136"/>
                      <a:pt x="1358" y="1121"/>
                      <a:pt x="1349" y="1111"/>
                    </a:cubicBezTo>
                    <a:cubicBezTo>
                      <a:pt x="1229" y="991"/>
                      <a:pt x="1229" y="991"/>
                      <a:pt x="1229" y="991"/>
                    </a:cubicBezTo>
                    <a:cubicBezTo>
                      <a:pt x="1243" y="964"/>
                      <a:pt x="1255" y="935"/>
                      <a:pt x="1264" y="906"/>
                    </a:cubicBezTo>
                    <a:cubicBezTo>
                      <a:pt x="1434" y="906"/>
                      <a:pt x="1434" y="906"/>
                      <a:pt x="1434" y="906"/>
                    </a:cubicBezTo>
                    <a:cubicBezTo>
                      <a:pt x="1447" y="906"/>
                      <a:pt x="1458" y="895"/>
                      <a:pt x="1458" y="882"/>
                    </a:cubicBezTo>
                    <a:cubicBezTo>
                      <a:pt x="1458" y="594"/>
                      <a:pt x="1458" y="594"/>
                      <a:pt x="1458" y="594"/>
                    </a:cubicBezTo>
                    <a:cubicBezTo>
                      <a:pt x="1458" y="581"/>
                      <a:pt x="1447" y="570"/>
                      <a:pt x="1434" y="570"/>
                    </a:cubicBezTo>
                    <a:close/>
                    <a:moveTo>
                      <a:pt x="263" y="263"/>
                    </a:moveTo>
                    <a:cubicBezTo>
                      <a:pt x="519" y="7"/>
                      <a:pt x="931" y="0"/>
                      <a:pt x="1196" y="246"/>
                    </a:cubicBezTo>
                    <a:cubicBezTo>
                      <a:pt x="1162" y="280"/>
                      <a:pt x="1162" y="280"/>
                      <a:pt x="1162" y="280"/>
                    </a:cubicBezTo>
                    <a:cubicBezTo>
                      <a:pt x="916" y="53"/>
                      <a:pt x="534" y="61"/>
                      <a:pt x="297" y="297"/>
                    </a:cubicBezTo>
                    <a:cubicBezTo>
                      <a:pt x="61" y="534"/>
                      <a:pt x="53" y="916"/>
                      <a:pt x="280" y="1162"/>
                    </a:cubicBezTo>
                    <a:cubicBezTo>
                      <a:pt x="246" y="1196"/>
                      <a:pt x="246" y="1196"/>
                      <a:pt x="246" y="1196"/>
                    </a:cubicBezTo>
                    <a:cubicBezTo>
                      <a:pt x="0" y="931"/>
                      <a:pt x="7" y="519"/>
                      <a:pt x="263" y="263"/>
                    </a:cubicBezTo>
                    <a:close/>
                    <a:moveTo>
                      <a:pt x="942" y="534"/>
                    </a:moveTo>
                    <a:cubicBezTo>
                      <a:pt x="1053" y="647"/>
                      <a:pt x="1052" y="828"/>
                      <a:pt x="940" y="940"/>
                    </a:cubicBezTo>
                    <a:cubicBezTo>
                      <a:pt x="828" y="1052"/>
                      <a:pt x="647" y="1053"/>
                      <a:pt x="534" y="942"/>
                    </a:cubicBezTo>
                    <a:cubicBezTo>
                      <a:pt x="525" y="932"/>
                      <a:pt x="510" y="932"/>
                      <a:pt x="500" y="942"/>
                    </a:cubicBezTo>
                    <a:cubicBezTo>
                      <a:pt x="314" y="1128"/>
                      <a:pt x="314" y="1128"/>
                      <a:pt x="314" y="1128"/>
                    </a:cubicBezTo>
                    <a:cubicBezTo>
                      <a:pt x="105" y="901"/>
                      <a:pt x="112" y="549"/>
                      <a:pt x="331" y="331"/>
                    </a:cubicBezTo>
                    <a:cubicBezTo>
                      <a:pt x="549" y="112"/>
                      <a:pt x="901" y="105"/>
                      <a:pt x="1128" y="314"/>
                    </a:cubicBezTo>
                    <a:cubicBezTo>
                      <a:pt x="942" y="500"/>
                      <a:pt x="942" y="500"/>
                      <a:pt x="942" y="500"/>
                    </a:cubicBezTo>
                    <a:cubicBezTo>
                      <a:pt x="937" y="505"/>
                      <a:pt x="935" y="511"/>
                      <a:pt x="935" y="517"/>
                    </a:cubicBezTo>
                    <a:cubicBezTo>
                      <a:pt x="935" y="524"/>
                      <a:pt x="937" y="530"/>
                      <a:pt x="942" y="534"/>
                    </a:cubicBezTo>
                    <a:close/>
                    <a:moveTo>
                      <a:pt x="1410" y="858"/>
                    </a:moveTo>
                    <a:cubicBezTo>
                      <a:pt x="1246" y="858"/>
                      <a:pt x="1246" y="858"/>
                      <a:pt x="1246" y="858"/>
                    </a:cubicBezTo>
                    <a:cubicBezTo>
                      <a:pt x="1235" y="858"/>
                      <a:pt x="1226" y="865"/>
                      <a:pt x="1223" y="876"/>
                    </a:cubicBezTo>
                    <a:cubicBezTo>
                      <a:pt x="1212" y="913"/>
                      <a:pt x="1197" y="949"/>
                      <a:pt x="1178" y="984"/>
                    </a:cubicBezTo>
                    <a:cubicBezTo>
                      <a:pt x="1173" y="993"/>
                      <a:pt x="1174" y="1005"/>
                      <a:pt x="1182" y="1012"/>
                    </a:cubicBezTo>
                    <a:cubicBezTo>
                      <a:pt x="1298" y="1128"/>
                      <a:pt x="1298" y="1128"/>
                      <a:pt x="1298" y="1128"/>
                    </a:cubicBezTo>
                    <a:cubicBezTo>
                      <a:pt x="1128" y="1298"/>
                      <a:pt x="1128" y="1298"/>
                      <a:pt x="1128" y="1298"/>
                    </a:cubicBezTo>
                    <a:cubicBezTo>
                      <a:pt x="1012" y="1182"/>
                      <a:pt x="1012" y="1182"/>
                      <a:pt x="1012" y="1182"/>
                    </a:cubicBezTo>
                    <a:cubicBezTo>
                      <a:pt x="1005" y="1174"/>
                      <a:pt x="993" y="1173"/>
                      <a:pt x="984" y="1178"/>
                    </a:cubicBezTo>
                    <a:cubicBezTo>
                      <a:pt x="950" y="1197"/>
                      <a:pt x="913" y="1212"/>
                      <a:pt x="876" y="1223"/>
                    </a:cubicBezTo>
                    <a:cubicBezTo>
                      <a:pt x="865" y="1226"/>
                      <a:pt x="858" y="1235"/>
                      <a:pt x="858" y="1246"/>
                    </a:cubicBezTo>
                    <a:cubicBezTo>
                      <a:pt x="858" y="1410"/>
                      <a:pt x="858" y="1410"/>
                      <a:pt x="858" y="1410"/>
                    </a:cubicBezTo>
                    <a:cubicBezTo>
                      <a:pt x="618" y="1410"/>
                      <a:pt x="618" y="1410"/>
                      <a:pt x="618" y="1410"/>
                    </a:cubicBezTo>
                    <a:cubicBezTo>
                      <a:pt x="618" y="1246"/>
                      <a:pt x="618" y="1246"/>
                      <a:pt x="618" y="1246"/>
                    </a:cubicBezTo>
                    <a:cubicBezTo>
                      <a:pt x="618" y="1235"/>
                      <a:pt x="611" y="1226"/>
                      <a:pt x="600" y="1223"/>
                    </a:cubicBezTo>
                    <a:cubicBezTo>
                      <a:pt x="563" y="1212"/>
                      <a:pt x="527" y="1197"/>
                      <a:pt x="492" y="1178"/>
                    </a:cubicBezTo>
                    <a:cubicBezTo>
                      <a:pt x="483" y="1173"/>
                      <a:pt x="471" y="1174"/>
                      <a:pt x="464" y="1182"/>
                    </a:cubicBezTo>
                    <a:cubicBezTo>
                      <a:pt x="348" y="1298"/>
                      <a:pt x="348" y="1298"/>
                      <a:pt x="348" y="1298"/>
                    </a:cubicBezTo>
                    <a:cubicBezTo>
                      <a:pt x="280" y="1230"/>
                      <a:pt x="280" y="1230"/>
                      <a:pt x="280" y="1230"/>
                    </a:cubicBezTo>
                    <a:cubicBezTo>
                      <a:pt x="518" y="992"/>
                      <a:pt x="518" y="992"/>
                      <a:pt x="518" y="992"/>
                    </a:cubicBezTo>
                    <a:cubicBezTo>
                      <a:pt x="651" y="1107"/>
                      <a:pt x="851" y="1100"/>
                      <a:pt x="976" y="976"/>
                    </a:cubicBezTo>
                    <a:cubicBezTo>
                      <a:pt x="1100" y="851"/>
                      <a:pt x="1107" y="651"/>
                      <a:pt x="992" y="518"/>
                    </a:cubicBezTo>
                    <a:cubicBezTo>
                      <a:pt x="1230" y="280"/>
                      <a:pt x="1230" y="280"/>
                      <a:pt x="1230" y="280"/>
                    </a:cubicBezTo>
                    <a:cubicBezTo>
                      <a:pt x="1298" y="348"/>
                      <a:pt x="1298" y="348"/>
                      <a:pt x="1298" y="348"/>
                    </a:cubicBezTo>
                    <a:cubicBezTo>
                      <a:pt x="1182" y="464"/>
                      <a:pt x="1182" y="464"/>
                      <a:pt x="1182" y="464"/>
                    </a:cubicBezTo>
                    <a:cubicBezTo>
                      <a:pt x="1174" y="471"/>
                      <a:pt x="1173" y="483"/>
                      <a:pt x="1178" y="492"/>
                    </a:cubicBezTo>
                    <a:cubicBezTo>
                      <a:pt x="1197" y="526"/>
                      <a:pt x="1212" y="563"/>
                      <a:pt x="1223" y="600"/>
                    </a:cubicBezTo>
                    <a:cubicBezTo>
                      <a:pt x="1226" y="611"/>
                      <a:pt x="1235" y="618"/>
                      <a:pt x="1246" y="618"/>
                    </a:cubicBezTo>
                    <a:cubicBezTo>
                      <a:pt x="1410" y="618"/>
                      <a:pt x="1410" y="618"/>
                      <a:pt x="1410" y="618"/>
                    </a:cubicBezTo>
                    <a:lnTo>
                      <a:pt x="1410" y="858"/>
                    </a:lnTo>
                    <a:close/>
                    <a:moveTo>
                      <a:pt x="1410" y="858"/>
                    </a:moveTo>
                    <a:cubicBezTo>
                      <a:pt x="1410" y="858"/>
                      <a:pt x="1410" y="858"/>
                      <a:pt x="1410" y="8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92" name="Freeform 91"/>
              <p:cNvSpPr>
                <a:spLocks noEditPoints="1"/>
              </p:cNvSpPr>
              <p:nvPr/>
            </p:nvSpPr>
            <p:spPr bwMode="auto">
              <a:xfrm>
                <a:off x="1647190" y="1287145"/>
                <a:ext cx="1463675" cy="1824355"/>
              </a:xfrm>
              <a:custGeom>
                <a:avLst/>
                <a:gdLst>
                  <a:gd name="T0" fmla="*/ 312 w 390"/>
                  <a:gd name="T1" fmla="*/ 291 h 486"/>
                  <a:gd name="T2" fmla="*/ 312 w 390"/>
                  <a:gd name="T3" fmla="*/ 24 h 486"/>
                  <a:gd name="T4" fmla="*/ 288 w 390"/>
                  <a:gd name="T5" fmla="*/ 0 h 486"/>
                  <a:gd name="T6" fmla="*/ 264 w 390"/>
                  <a:gd name="T7" fmla="*/ 24 h 486"/>
                  <a:gd name="T8" fmla="*/ 264 w 390"/>
                  <a:gd name="T9" fmla="*/ 291 h 486"/>
                  <a:gd name="T10" fmla="*/ 195 w 390"/>
                  <a:gd name="T11" fmla="*/ 360 h 486"/>
                  <a:gd name="T12" fmla="*/ 24 w 390"/>
                  <a:gd name="T13" fmla="*/ 360 h 486"/>
                  <a:gd name="T14" fmla="*/ 0 w 390"/>
                  <a:gd name="T15" fmla="*/ 384 h 486"/>
                  <a:gd name="T16" fmla="*/ 24 w 390"/>
                  <a:gd name="T17" fmla="*/ 408 h 486"/>
                  <a:gd name="T18" fmla="*/ 195 w 390"/>
                  <a:gd name="T19" fmla="*/ 408 h 486"/>
                  <a:gd name="T20" fmla="*/ 263 w 390"/>
                  <a:gd name="T21" fmla="*/ 477 h 486"/>
                  <a:gd name="T22" fmla="*/ 356 w 390"/>
                  <a:gd name="T23" fmla="*/ 452 h 486"/>
                  <a:gd name="T24" fmla="*/ 381 w 390"/>
                  <a:gd name="T25" fmla="*/ 359 h 486"/>
                  <a:gd name="T26" fmla="*/ 312 w 390"/>
                  <a:gd name="T27" fmla="*/ 291 h 486"/>
                  <a:gd name="T28" fmla="*/ 288 w 390"/>
                  <a:gd name="T29" fmla="*/ 432 h 486"/>
                  <a:gd name="T30" fmla="*/ 244 w 390"/>
                  <a:gd name="T31" fmla="*/ 402 h 486"/>
                  <a:gd name="T32" fmla="*/ 254 w 390"/>
                  <a:gd name="T33" fmla="*/ 350 h 486"/>
                  <a:gd name="T34" fmla="*/ 306 w 390"/>
                  <a:gd name="T35" fmla="*/ 340 h 486"/>
                  <a:gd name="T36" fmla="*/ 336 w 390"/>
                  <a:gd name="T37" fmla="*/ 384 h 486"/>
                  <a:gd name="T38" fmla="*/ 288 w 390"/>
                  <a:gd name="T39" fmla="*/ 432 h 486"/>
                  <a:gd name="T40" fmla="*/ 288 w 390"/>
                  <a:gd name="T41" fmla="*/ 432 h 486"/>
                  <a:gd name="T42" fmla="*/ 288 w 390"/>
                  <a:gd name="T43" fmla="*/ 432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0" h="486">
                    <a:moveTo>
                      <a:pt x="312" y="291"/>
                    </a:moveTo>
                    <a:cubicBezTo>
                      <a:pt x="312" y="24"/>
                      <a:pt x="312" y="24"/>
                      <a:pt x="312" y="24"/>
                    </a:cubicBezTo>
                    <a:cubicBezTo>
                      <a:pt x="312" y="11"/>
                      <a:pt x="301" y="0"/>
                      <a:pt x="288" y="0"/>
                    </a:cubicBezTo>
                    <a:cubicBezTo>
                      <a:pt x="275" y="0"/>
                      <a:pt x="264" y="11"/>
                      <a:pt x="264" y="24"/>
                    </a:cubicBezTo>
                    <a:cubicBezTo>
                      <a:pt x="264" y="291"/>
                      <a:pt x="264" y="291"/>
                      <a:pt x="264" y="291"/>
                    </a:cubicBezTo>
                    <a:cubicBezTo>
                      <a:pt x="230" y="300"/>
                      <a:pt x="204" y="326"/>
                      <a:pt x="195" y="360"/>
                    </a:cubicBezTo>
                    <a:cubicBezTo>
                      <a:pt x="24" y="360"/>
                      <a:pt x="24" y="360"/>
                      <a:pt x="24" y="360"/>
                    </a:cubicBezTo>
                    <a:cubicBezTo>
                      <a:pt x="11" y="360"/>
                      <a:pt x="0" y="371"/>
                      <a:pt x="0" y="384"/>
                    </a:cubicBezTo>
                    <a:cubicBezTo>
                      <a:pt x="0" y="397"/>
                      <a:pt x="11" y="408"/>
                      <a:pt x="24" y="408"/>
                    </a:cubicBezTo>
                    <a:cubicBezTo>
                      <a:pt x="195" y="408"/>
                      <a:pt x="195" y="408"/>
                      <a:pt x="195" y="408"/>
                    </a:cubicBezTo>
                    <a:cubicBezTo>
                      <a:pt x="204" y="441"/>
                      <a:pt x="230" y="468"/>
                      <a:pt x="263" y="477"/>
                    </a:cubicBezTo>
                    <a:cubicBezTo>
                      <a:pt x="296" y="486"/>
                      <a:pt x="332" y="476"/>
                      <a:pt x="356" y="452"/>
                    </a:cubicBezTo>
                    <a:cubicBezTo>
                      <a:pt x="380" y="428"/>
                      <a:pt x="390" y="392"/>
                      <a:pt x="381" y="359"/>
                    </a:cubicBezTo>
                    <a:cubicBezTo>
                      <a:pt x="372" y="326"/>
                      <a:pt x="345" y="300"/>
                      <a:pt x="312" y="291"/>
                    </a:cubicBezTo>
                    <a:close/>
                    <a:moveTo>
                      <a:pt x="288" y="432"/>
                    </a:moveTo>
                    <a:cubicBezTo>
                      <a:pt x="269" y="432"/>
                      <a:pt x="251" y="420"/>
                      <a:pt x="244" y="402"/>
                    </a:cubicBezTo>
                    <a:cubicBezTo>
                      <a:pt x="236" y="384"/>
                      <a:pt x="240" y="364"/>
                      <a:pt x="254" y="350"/>
                    </a:cubicBezTo>
                    <a:cubicBezTo>
                      <a:pt x="268" y="336"/>
                      <a:pt x="288" y="332"/>
                      <a:pt x="306" y="340"/>
                    </a:cubicBezTo>
                    <a:cubicBezTo>
                      <a:pt x="324" y="347"/>
                      <a:pt x="336" y="365"/>
                      <a:pt x="336" y="384"/>
                    </a:cubicBezTo>
                    <a:cubicBezTo>
                      <a:pt x="336" y="411"/>
                      <a:pt x="315" y="432"/>
                      <a:pt x="288" y="432"/>
                    </a:cubicBezTo>
                    <a:close/>
                    <a:moveTo>
                      <a:pt x="288" y="432"/>
                    </a:moveTo>
                    <a:cubicBezTo>
                      <a:pt x="288" y="432"/>
                      <a:pt x="288" y="432"/>
                      <a:pt x="288" y="4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93" name="Freeform 92"/>
              <p:cNvSpPr>
                <a:spLocks noEditPoints="1"/>
              </p:cNvSpPr>
              <p:nvPr/>
            </p:nvSpPr>
            <p:spPr bwMode="auto">
              <a:xfrm>
                <a:off x="2638425" y="656590"/>
                <a:ext cx="179705" cy="360680"/>
              </a:xfrm>
              <a:custGeom>
                <a:avLst/>
                <a:gdLst>
                  <a:gd name="T0" fmla="*/ 24 w 48"/>
                  <a:gd name="T1" fmla="*/ 96 h 96"/>
                  <a:gd name="T2" fmla="*/ 0 w 48"/>
                  <a:gd name="T3" fmla="*/ 72 h 96"/>
                  <a:gd name="T4" fmla="*/ 0 w 48"/>
                  <a:gd name="T5" fmla="*/ 24 h 96"/>
                  <a:gd name="T6" fmla="*/ 24 w 48"/>
                  <a:gd name="T7" fmla="*/ 0 h 96"/>
                  <a:gd name="T8" fmla="*/ 48 w 48"/>
                  <a:gd name="T9" fmla="*/ 24 h 96"/>
                  <a:gd name="T10" fmla="*/ 48 w 48"/>
                  <a:gd name="T11" fmla="*/ 72 h 96"/>
                  <a:gd name="T12" fmla="*/ 24 w 48"/>
                  <a:gd name="T13" fmla="*/ 96 h 96"/>
                  <a:gd name="T14" fmla="*/ 24 w 48"/>
                  <a:gd name="T15" fmla="*/ 96 h 96"/>
                  <a:gd name="T16" fmla="*/ 24 w 48"/>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96">
                    <a:moveTo>
                      <a:pt x="24" y="96"/>
                    </a:moveTo>
                    <a:cubicBezTo>
                      <a:pt x="11" y="96"/>
                      <a:pt x="0" y="85"/>
                      <a:pt x="0" y="72"/>
                    </a:cubicBezTo>
                    <a:cubicBezTo>
                      <a:pt x="0" y="24"/>
                      <a:pt x="0" y="24"/>
                      <a:pt x="0" y="24"/>
                    </a:cubicBezTo>
                    <a:cubicBezTo>
                      <a:pt x="0" y="11"/>
                      <a:pt x="11" y="0"/>
                      <a:pt x="24" y="0"/>
                    </a:cubicBezTo>
                    <a:cubicBezTo>
                      <a:pt x="37" y="0"/>
                      <a:pt x="48" y="11"/>
                      <a:pt x="48" y="24"/>
                    </a:cubicBezTo>
                    <a:cubicBezTo>
                      <a:pt x="48" y="72"/>
                      <a:pt x="48" y="72"/>
                      <a:pt x="48" y="72"/>
                    </a:cubicBezTo>
                    <a:cubicBezTo>
                      <a:pt x="48" y="85"/>
                      <a:pt x="37" y="96"/>
                      <a:pt x="24" y="96"/>
                    </a:cubicBezTo>
                    <a:close/>
                    <a:moveTo>
                      <a:pt x="24" y="96"/>
                    </a:moveTo>
                    <a:cubicBezTo>
                      <a:pt x="24" y="96"/>
                      <a:pt x="24" y="96"/>
                      <a:pt x="24" y="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94" name="Freeform 93"/>
              <p:cNvSpPr>
                <a:spLocks noEditPoints="1"/>
              </p:cNvSpPr>
              <p:nvPr/>
            </p:nvSpPr>
            <p:spPr bwMode="auto">
              <a:xfrm>
                <a:off x="3535045" y="908050"/>
                <a:ext cx="285750" cy="349250"/>
              </a:xfrm>
              <a:custGeom>
                <a:avLst/>
                <a:gdLst>
                  <a:gd name="T0" fmla="*/ 25 w 76"/>
                  <a:gd name="T1" fmla="*/ 93 h 93"/>
                  <a:gd name="T2" fmla="*/ 4 w 76"/>
                  <a:gd name="T3" fmla="*/ 81 h 93"/>
                  <a:gd name="T4" fmla="*/ 4 w 76"/>
                  <a:gd name="T5" fmla="*/ 57 h 93"/>
                  <a:gd name="T6" fmla="*/ 28 w 76"/>
                  <a:gd name="T7" fmla="*/ 16 h 93"/>
                  <a:gd name="T8" fmla="*/ 61 w 76"/>
                  <a:gd name="T9" fmla="*/ 7 h 93"/>
                  <a:gd name="T10" fmla="*/ 70 w 76"/>
                  <a:gd name="T11" fmla="*/ 40 h 93"/>
                  <a:gd name="T12" fmla="*/ 46 w 76"/>
                  <a:gd name="T13" fmla="*/ 81 h 93"/>
                  <a:gd name="T14" fmla="*/ 25 w 76"/>
                  <a:gd name="T15" fmla="*/ 93 h 93"/>
                  <a:gd name="T16" fmla="*/ 25 w 76"/>
                  <a:gd name="T17" fmla="*/ 93 h 93"/>
                  <a:gd name="T18" fmla="*/ 25 w 76"/>
                  <a:gd name="T1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93">
                    <a:moveTo>
                      <a:pt x="25" y="93"/>
                    </a:moveTo>
                    <a:cubicBezTo>
                      <a:pt x="16" y="93"/>
                      <a:pt x="9" y="89"/>
                      <a:pt x="4" y="81"/>
                    </a:cubicBezTo>
                    <a:cubicBezTo>
                      <a:pt x="0" y="74"/>
                      <a:pt x="0" y="65"/>
                      <a:pt x="4" y="57"/>
                    </a:cubicBezTo>
                    <a:cubicBezTo>
                      <a:pt x="28" y="16"/>
                      <a:pt x="28" y="16"/>
                      <a:pt x="28" y="16"/>
                    </a:cubicBezTo>
                    <a:cubicBezTo>
                      <a:pt x="35" y="4"/>
                      <a:pt x="50" y="0"/>
                      <a:pt x="61" y="7"/>
                    </a:cubicBezTo>
                    <a:cubicBezTo>
                      <a:pt x="72" y="14"/>
                      <a:pt x="76" y="28"/>
                      <a:pt x="70" y="40"/>
                    </a:cubicBezTo>
                    <a:cubicBezTo>
                      <a:pt x="46" y="81"/>
                      <a:pt x="46" y="81"/>
                      <a:pt x="46" y="81"/>
                    </a:cubicBezTo>
                    <a:cubicBezTo>
                      <a:pt x="42" y="89"/>
                      <a:pt x="34" y="93"/>
                      <a:pt x="25" y="93"/>
                    </a:cubicBezTo>
                    <a:close/>
                    <a:moveTo>
                      <a:pt x="25" y="93"/>
                    </a:moveTo>
                    <a:cubicBezTo>
                      <a:pt x="25" y="93"/>
                      <a:pt x="25" y="93"/>
                      <a:pt x="25" y="9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95" name="Freeform 94"/>
              <p:cNvSpPr>
                <a:spLocks noEditPoints="1"/>
              </p:cNvSpPr>
              <p:nvPr/>
            </p:nvSpPr>
            <p:spPr bwMode="auto">
              <a:xfrm>
                <a:off x="1636395" y="908050"/>
                <a:ext cx="285115" cy="349250"/>
              </a:xfrm>
              <a:custGeom>
                <a:avLst/>
                <a:gdLst>
                  <a:gd name="T0" fmla="*/ 51 w 76"/>
                  <a:gd name="T1" fmla="*/ 93 h 93"/>
                  <a:gd name="T2" fmla="*/ 30 w 76"/>
                  <a:gd name="T3" fmla="*/ 81 h 93"/>
                  <a:gd name="T4" fmla="*/ 6 w 76"/>
                  <a:gd name="T5" fmla="*/ 40 h 93"/>
                  <a:gd name="T6" fmla="*/ 15 w 76"/>
                  <a:gd name="T7" fmla="*/ 7 h 93"/>
                  <a:gd name="T8" fmla="*/ 48 w 76"/>
                  <a:gd name="T9" fmla="*/ 16 h 93"/>
                  <a:gd name="T10" fmla="*/ 72 w 76"/>
                  <a:gd name="T11" fmla="*/ 57 h 93"/>
                  <a:gd name="T12" fmla="*/ 72 w 76"/>
                  <a:gd name="T13" fmla="*/ 81 h 93"/>
                  <a:gd name="T14" fmla="*/ 51 w 76"/>
                  <a:gd name="T15" fmla="*/ 93 h 93"/>
                  <a:gd name="T16" fmla="*/ 51 w 76"/>
                  <a:gd name="T17" fmla="*/ 93 h 93"/>
                  <a:gd name="T18" fmla="*/ 51 w 76"/>
                  <a:gd name="T1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93">
                    <a:moveTo>
                      <a:pt x="51" y="93"/>
                    </a:moveTo>
                    <a:cubicBezTo>
                      <a:pt x="42" y="93"/>
                      <a:pt x="34" y="89"/>
                      <a:pt x="30" y="81"/>
                    </a:cubicBezTo>
                    <a:cubicBezTo>
                      <a:pt x="6" y="40"/>
                      <a:pt x="6" y="40"/>
                      <a:pt x="6" y="40"/>
                    </a:cubicBezTo>
                    <a:cubicBezTo>
                      <a:pt x="0" y="28"/>
                      <a:pt x="4" y="14"/>
                      <a:pt x="15" y="7"/>
                    </a:cubicBezTo>
                    <a:cubicBezTo>
                      <a:pt x="26" y="0"/>
                      <a:pt x="41" y="4"/>
                      <a:pt x="48" y="16"/>
                    </a:cubicBezTo>
                    <a:cubicBezTo>
                      <a:pt x="72" y="57"/>
                      <a:pt x="72" y="57"/>
                      <a:pt x="72" y="57"/>
                    </a:cubicBezTo>
                    <a:cubicBezTo>
                      <a:pt x="76" y="65"/>
                      <a:pt x="76" y="74"/>
                      <a:pt x="72" y="81"/>
                    </a:cubicBezTo>
                    <a:cubicBezTo>
                      <a:pt x="67" y="89"/>
                      <a:pt x="60" y="93"/>
                      <a:pt x="51" y="93"/>
                    </a:cubicBezTo>
                    <a:close/>
                    <a:moveTo>
                      <a:pt x="51" y="93"/>
                    </a:moveTo>
                    <a:cubicBezTo>
                      <a:pt x="51" y="93"/>
                      <a:pt x="51" y="93"/>
                      <a:pt x="51" y="9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96" name="Freeform 95"/>
              <p:cNvSpPr>
                <a:spLocks noEditPoints="1"/>
              </p:cNvSpPr>
              <p:nvPr/>
            </p:nvSpPr>
            <p:spPr bwMode="auto">
              <a:xfrm>
                <a:off x="908050" y="1636395"/>
                <a:ext cx="356870" cy="281305"/>
              </a:xfrm>
              <a:custGeom>
                <a:avLst/>
                <a:gdLst>
                  <a:gd name="T0" fmla="*/ 69 w 95"/>
                  <a:gd name="T1" fmla="*/ 75 h 75"/>
                  <a:gd name="T2" fmla="*/ 57 w 95"/>
                  <a:gd name="T3" fmla="*/ 72 h 75"/>
                  <a:gd name="T4" fmla="*/ 16 w 95"/>
                  <a:gd name="T5" fmla="*/ 48 h 75"/>
                  <a:gd name="T6" fmla="*/ 7 w 95"/>
                  <a:gd name="T7" fmla="*/ 15 h 75"/>
                  <a:gd name="T8" fmla="*/ 40 w 95"/>
                  <a:gd name="T9" fmla="*/ 6 h 75"/>
                  <a:gd name="T10" fmla="*/ 81 w 95"/>
                  <a:gd name="T11" fmla="*/ 30 h 75"/>
                  <a:gd name="T12" fmla="*/ 92 w 95"/>
                  <a:gd name="T13" fmla="*/ 57 h 75"/>
                  <a:gd name="T14" fmla="*/ 69 w 95"/>
                  <a:gd name="T15" fmla="*/ 75 h 75"/>
                  <a:gd name="T16" fmla="*/ 69 w 95"/>
                  <a:gd name="T17" fmla="*/ 75 h 75"/>
                  <a:gd name="T18" fmla="*/ 69 w 95"/>
                  <a:gd name="T19"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75">
                    <a:moveTo>
                      <a:pt x="69" y="75"/>
                    </a:moveTo>
                    <a:cubicBezTo>
                      <a:pt x="65" y="75"/>
                      <a:pt x="61" y="74"/>
                      <a:pt x="57" y="72"/>
                    </a:cubicBezTo>
                    <a:cubicBezTo>
                      <a:pt x="16" y="48"/>
                      <a:pt x="16" y="48"/>
                      <a:pt x="16" y="48"/>
                    </a:cubicBezTo>
                    <a:cubicBezTo>
                      <a:pt x="4" y="41"/>
                      <a:pt x="0" y="26"/>
                      <a:pt x="7" y="15"/>
                    </a:cubicBezTo>
                    <a:cubicBezTo>
                      <a:pt x="14" y="4"/>
                      <a:pt x="28" y="0"/>
                      <a:pt x="40" y="6"/>
                    </a:cubicBezTo>
                    <a:cubicBezTo>
                      <a:pt x="81" y="30"/>
                      <a:pt x="81" y="30"/>
                      <a:pt x="81" y="30"/>
                    </a:cubicBezTo>
                    <a:cubicBezTo>
                      <a:pt x="91" y="36"/>
                      <a:pt x="95" y="47"/>
                      <a:pt x="92" y="57"/>
                    </a:cubicBezTo>
                    <a:cubicBezTo>
                      <a:pt x="90" y="68"/>
                      <a:pt x="80" y="75"/>
                      <a:pt x="69" y="75"/>
                    </a:cubicBezTo>
                    <a:close/>
                    <a:moveTo>
                      <a:pt x="69" y="75"/>
                    </a:moveTo>
                    <a:cubicBezTo>
                      <a:pt x="69" y="75"/>
                      <a:pt x="69" y="75"/>
                      <a:pt x="69" y="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97" name="Freeform 96"/>
              <p:cNvSpPr>
                <a:spLocks noEditPoints="1"/>
              </p:cNvSpPr>
              <p:nvPr/>
            </p:nvSpPr>
            <p:spPr bwMode="auto">
              <a:xfrm>
                <a:off x="656590" y="2638425"/>
                <a:ext cx="360680" cy="180340"/>
              </a:xfrm>
              <a:custGeom>
                <a:avLst/>
                <a:gdLst>
                  <a:gd name="T0" fmla="*/ 72 w 96"/>
                  <a:gd name="T1" fmla="*/ 48 h 48"/>
                  <a:gd name="T2" fmla="*/ 24 w 96"/>
                  <a:gd name="T3" fmla="*/ 48 h 48"/>
                  <a:gd name="T4" fmla="*/ 0 w 96"/>
                  <a:gd name="T5" fmla="*/ 24 h 48"/>
                  <a:gd name="T6" fmla="*/ 24 w 96"/>
                  <a:gd name="T7" fmla="*/ 0 h 48"/>
                  <a:gd name="T8" fmla="*/ 72 w 96"/>
                  <a:gd name="T9" fmla="*/ 0 h 48"/>
                  <a:gd name="T10" fmla="*/ 96 w 96"/>
                  <a:gd name="T11" fmla="*/ 24 h 48"/>
                  <a:gd name="T12" fmla="*/ 72 w 96"/>
                  <a:gd name="T13" fmla="*/ 48 h 48"/>
                  <a:gd name="T14" fmla="*/ 72 w 96"/>
                  <a:gd name="T15" fmla="*/ 48 h 48"/>
                  <a:gd name="T16" fmla="*/ 72 w 96"/>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48">
                    <a:moveTo>
                      <a:pt x="72" y="48"/>
                    </a:moveTo>
                    <a:cubicBezTo>
                      <a:pt x="24" y="48"/>
                      <a:pt x="24" y="48"/>
                      <a:pt x="24" y="48"/>
                    </a:cubicBezTo>
                    <a:cubicBezTo>
                      <a:pt x="11" y="48"/>
                      <a:pt x="0" y="37"/>
                      <a:pt x="0" y="24"/>
                    </a:cubicBezTo>
                    <a:cubicBezTo>
                      <a:pt x="0" y="11"/>
                      <a:pt x="11" y="0"/>
                      <a:pt x="24" y="0"/>
                    </a:cubicBezTo>
                    <a:cubicBezTo>
                      <a:pt x="72" y="0"/>
                      <a:pt x="72" y="0"/>
                      <a:pt x="72" y="0"/>
                    </a:cubicBezTo>
                    <a:cubicBezTo>
                      <a:pt x="85" y="0"/>
                      <a:pt x="96" y="11"/>
                      <a:pt x="96" y="24"/>
                    </a:cubicBezTo>
                    <a:cubicBezTo>
                      <a:pt x="96" y="37"/>
                      <a:pt x="85" y="48"/>
                      <a:pt x="72" y="48"/>
                    </a:cubicBezTo>
                    <a:close/>
                    <a:moveTo>
                      <a:pt x="72" y="48"/>
                    </a:moveTo>
                    <a:cubicBezTo>
                      <a:pt x="72" y="48"/>
                      <a:pt x="72" y="48"/>
                      <a:pt x="72"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98" name="Freeform 97"/>
              <p:cNvSpPr>
                <a:spLocks noEditPoints="1"/>
              </p:cNvSpPr>
              <p:nvPr/>
            </p:nvSpPr>
            <p:spPr bwMode="auto">
              <a:xfrm>
                <a:off x="915670" y="3535045"/>
                <a:ext cx="345440" cy="274320"/>
              </a:xfrm>
              <a:custGeom>
                <a:avLst/>
                <a:gdLst>
                  <a:gd name="T0" fmla="*/ 26 w 92"/>
                  <a:gd name="T1" fmla="*/ 73 h 73"/>
                  <a:gd name="T2" fmla="*/ 3 w 92"/>
                  <a:gd name="T3" fmla="*/ 55 h 73"/>
                  <a:gd name="T4" fmla="*/ 14 w 92"/>
                  <a:gd name="T5" fmla="*/ 28 h 73"/>
                  <a:gd name="T6" fmla="*/ 55 w 92"/>
                  <a:gd name="T7" fmla="*/ 4 h 73"/>
                  <a:gd name="T8" fmla="*/ 74 w 92"/>
                  <a:gd name="T9" fmla="*/ 2 h 73"/>
                  <a:gd name="T10" fmla="*/ 88 w 92"/>
                  <a:gd name="T11" fmla="*/ 13 h 73"/>
                  <a:gd name="T12" fmla="*/ 91 w 92"/>
                  <a:gd name="T13" fmla="*/ 31 h 73"/>
                  <a:gd name="T14" fmla="*/ 79 w 92"/>
                  <a:gd name="T15" fmla="*/ 46 h 73"/>
                  <a:gd name="T16" fmla="*/ 38 w 92"/>
                  <a:gd name="T17" fmla="*/ 70 h 73"/>
                  <a:gd name="T18" fmla="*/ 26 w 92"/>
                  <a:gd name="T19" fmla="*/ 73 h 73"/>
                  <a:gd name="T20" fmla="*/ 26 w 92"/>
                  <a:gd name="T21" fmla="*/ 73 h 73"/>
                  <a:gd name="T22" fmla="*/ 26 w 92"/>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73">
                    <a:moveTo>
                      <a:pt x="26" y="73"/>
                    </a:moveTo>
                    <a:cubicBezTo>
                      <a:pt x="15" y="73"/>
                      <a:pt x="5" y="66"/>
                      <a:pt x="3" y="55"/>
                    </a:cubicBezTo>
                    <a:cubicBezTo>
                      <a:pt x="0" y="45"/>
                      <a:pt x="4" y="34"/>
                      <a:pt x="14" y="28"/>
                    </a:cubicBezTo>
                    <a:cubicBezTo>
                      <a:pt x="55" y="4"/>
                      <a:pt x="55" y="4"/>
                      <a:pt x="55" y="4"/>
                    </a:cubicBezTo>
                    <a:cubicBezTo>
                      <a:pt x="61" y="1"/>
                      <a:pt x="67" y="0"/>
                      <a:pt x="74" y="2"/>
                    </a:cubicBezTo>
                    <a:cubicBezTo>
                      <a:pt x="80" y="3"/>
                      <a:pt x="85" y="7"/>
                      <a:pt x="88" y="13"/>
                    </a:cubicBezTo>
                    <a:cubicBezTo>
                      <a:pt x="91" y="18"/>
                      <a:pt x="92" y="25"/>
                      <a:pt x="91" y="31"/>
                    </a:cubicBezTo>
                    <a:cubicBezTo>
                      <a:pt x="89" y="37"/>
                      <a:pt x="85" y="43"/>
                      <a:pt x="79" y="46"/>
                    </a:cubicBezTo>
                    <a:cubicBezTo>
                      <a:pt x="38" y="70"/>
                      <a:pt x="38" y="70"/>
                      <a:pt x="38" y="70"/>
                    </a:cubicBezTo>
                    <a:cubicBezTo>
                      <a:pt x="34" y="72"/>
                      <a:pt x="30" y="73"/>
                      <a:pt x="26" y="73"/>
                    </a:cubicBezTo>
                    <a:close/>
                    <a:moveTo>
                      <a:pt x="26" y="73"/>
                    </a:moveTo>
                    <a:cubicBezTo>
                      <a:pt x="26" y="73"/>
                      <a:pt x="26" y="73"/>
                      <a:pt x="26" y="7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99" name="Freeform 98"/>
              <p:cNvSpPr>
                <a:spLocks noEditPoints="1"/>
              </p:cNvSpPr>
              <p:nvPr/>
            </p:nvSpPr>
            <p:spPr bwMode="auto">
              <a:xfrm>
                <a:off x="2064385" y="2064385"/>
                <a:ext cx="1635760" cy="1564640"/>
              </a:xfrm>
              <a:custGeom>
                <a:avLst/>
                <a:gdLst>
                  <a:gd name="T0" fmla="*/ 177 w 436"/>
                  <a:gd name="T1" fmla="*/ 417 h 417"/>
                  <a:gd name="T2" fmla="*/ 7 w 436"/>
                  <a:gd name="T3" fmla="*/ 347 h 417"/>
                  <a:gd name="T4" fmla="*/ 0 w 436"/>
                  <a:gd name="T5" fmla="*/ 330 h 417"/>
                  <a:gd name="T6" fmla="*/ 7 w 436"/>
                  <a:gd name="T7" fmla="*/ 312 h 417"/>
                  <a:gd name="T8" fmla="*/ 24 w 436"/>
                  <a:gd name="T9" fmla="*/ 305 h 417"/>
                  <a:gd name="T10" fmla="*/ 41 w 436"/>
                  <a:gd name="T11" fmla="*/ 313 h 417"/>
                  <a:gd name="T12" fmla="*/ 177 w 436"/>
                  <a:gd name="T13" fmla="*/ 370 h 417"/>
                  <a:gd name="T14" fmla="*/ 314 w 436"/>
                  <a:gd name="T15" fmla="*/ 314 h 417"/>
                  <a:gd name="T16" fmla="*/ 370 w 436"/>
                  <a:gd name="T17" fmla="*/ 177 h 417"/>
                  <a:gd name="T18" fmla="*/ 313 w 436"/>
                  <a:gd name="T19" fmla="*/ 41 h 417"/>
                  <a:gd name="T20" fmla="*/ 305 w 436"/>
                  <a:gd name="T21" fmla="*/ 24 h 417"/>
                  <a:gd name="T22" fmla="*/ 312 w 436"/>
                  <a:gd name="T23" fmla="*/ 7 h 417"/>
                  <a:gd name="T24" fmla="*/ 330 w 436"/>
                  <a:gd name="T25" fmla="*/ 0 h 417"/>
                  <a:gd name="T26" fmla="*/ 347 w 436"/>
                  <a:gd name="T27" fmla="*/ 7 h 417"/>
                  <a:gd name="T28" fmla="*/ 399 w 436"/>
                  <a:gd name="T29" fmla="*/ 269 h 417"/>
                  <a:gd name="T30" fmla="*/ 177 w 436"/>
                  <a:gd name="T31" fmla="*/ 417 h 417"/>
                  <a:gd name="T32" fmla="*/ 177 w 436"/>
                  <a:gd name="T33" fmla="*/ 417 h 417"/>
                  <a:gd name="T34" fmla="*/ 177 w 436"/>
                  <a:gd name="T35"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6" h="417">
                    <a:moveTo>
                      <a:pt x="177" y="417"/>
                    </a:moveTo>
                    <a:cubicBezTo>
                      <a:pt x="113" y="417"/>
                      <a:pt x="52" y="392"/>
                      <a:pt x="7" y="347"/>
                    </a:cubicBezTo>
                    <a:cubicBezTo>
                      <a:pt x="3" y="342"/>
                      <a:pt x="0" y="336"/>
                      <a:pt x="0" y="330"/>
                    </a:cubicBezTo>
                    <a:cubicBezTo>
                      <a:pt x="0" y="323"/>
                      <a:pt x="3" y="317"/>
                      <a:pt x="7" y="312"/>
                    </a:cubicBezTo>
                    <a:cubicBezTo>
                      <a:pt x="12" y="308"/>
                      <a:pt x="18" y="305"/>
                      <a:pt x="24" y="305"/>
                    </a:cubicBezTo>
                    <a:cubicBezTo>
                      <a:pt x="31" y="305"/>
                      <a:pt x="37" y="308"/>
                      <a:pt x="41" y="313"/>
                    </a:cubicBezTo>
                    <a:cubicBezTo>
                      <a:pt x="77" y="349"/>
                      <a:pt x="126" y="370"/>
                      <a:pt x="177" y="370"/>
                    </a:cubicBezTo>
                    <a:cubicBezTo>
                      <a:pt x="229" y="371"/>
                      <a:pt x="278" y="350"/>
                      <a:pt x="314" y="314"/>
                    </a:cubicBezTo>
                    <a:cubicBezTo>
                      <a:pt x="350" y="278"/>
                      <a:pt x="371" y="229"/>
                      <a:pt x="370" y="177"/>
                    </a:cubicBezTo>
                    <a:cubicBezTo>
                      <a:pt x="370" y="126"/>
                      <a:pt x="349" y="77"/>
                      <a:pt x="313" y="41"/>
                    </a:cubicBezTo>
                    <a:cubicBezTo>
                      <a:pt x="308" y="37"/>
                      <a:pt x="305" y="31"/>
                      <a:pt x="305" y="24"/>
                    </a:cubicBezTo>
                    <a:cubicBezTo>
                      <a:pt x="305" y="18"/>
                      <a:pt x="308" y="12"/>
                      <a:pt x="312" y="7"/>
                    </a:cubicBezTo>
                    <a:cubicBezTo>
                      <a:pt x="317" y="3"/>
                      <a:pt x="323" y="0"/>
                      <a:pt x="330" y="0"/>
                    </a:cubicBezTo>
                    <a:cubicBezTo>
                      <a:pt x="336" y="0"/>
                      <a:pt x="342" y="3"/>
                      <a:pt x="347" y="7"/>
                    </a:cubicBezTo>
                    <a:cubicBezTo>
                      <a:pt x="415" y="76"/>
                      <a:pt x="436" y="179"/>
                      <a:pt x="399" y="269"/>
                    </a:cubicBezTo>
                    <a:cubicBezTo>
                      <a:pt x="361" y="358"/>
                      <a:pt x="274" y="417"/>
                      <a:pt x="177" y="417"/>
                    </a:cubicBezTo>
                    <a:close/>
                    <a:moveTo>
                      <a:pt x="177" y="417"/>
                    </a:moveTo>
                    <a:cubicBezTo>
                      <a:pt x="177" y="417"/>
                      <a:pt x="177" y="417"/>
                      <a:pt x="177" y="4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grpSp>
        <p:grpSp>
          <p:nvGrpSpPr>
            <p:cNvPr id="48" name="Group 47"/>
            <p:cNvGrpSpPr/>
            <p:nvPr/>
          </p:nvGrpSpPr>
          <p:grpSpPr>
            <a:xfrm>
              <a:off x="5829300" y="2447925"/>
              <a:ext cx="685942" cy="685942"/>
              <a:chOff x="-3175" y="-3175"/>
              <a:chExt cx="5949950" cy="5949950"/>
            </a:xfrm>
            <a:solidFill>
              <a:srgbClr val="111111"/>
            </a:solidFill>
          </p:grpSpPr>
          <p:sp>
            <p:nvSpPr>
              <p:cNvPr id="69" name="Freeform 68"/>
              <p:cNvSpPr>
                <a:spLocks noEditPoints="1"/>
              </p:cNvSpPr>
              <p:nvPr/>
            </p:nvSpPr>
            <p:spPr bwMode="auto">
              <a:xfrm>
                <a:off x="-3175" y="-3175"/>
                <a:ext cx="5949950" cy="5949950"/>
              </a:xfrm>
              <a:custGeom>
                <a:avLst/>
                <a:gdLst>
                  <a:gd name="T0" fmla="*/ 1570 w 2048"/>
                  <a:gd name="T1" fmla="*/ 239 h 2048"/>
                  <a:gd name="T2" fmla="*/ 1399 w 2048"/>
                  <a:gd name="T3" fmla="*/ 0 h 2048"/>
                  <a:gd name="T4" fmla="*/ 478 w 2048"/>
                  <a:gd name="T5" fmla="*/ 171 h 2048"/>
                  <a:gd name="T6" fmla="*/ 171 w 2048"/>
                  <a:gd name="T7" fmla="*/ 239 h 2048"/>
                  <a:gd name="T8" fmla="*/ 0 w 2048"/>
                  <a:gd name="T9" fmla="*/ 1536 h 2048"/>
                  <a:gd name="T10" fmla="*/ 683 w 2048"/>
                  <a:gd name="T11" fmla="*/ 1707 h 2048"/>
                  <a:gd name="T12" fmla="*/ 580 w 2048"/>
                  <a:gd name="T13" fmla="*/ 1843 h 2048"/>
                  <a:gd name="T14" fmla="*/ 478 w 2048"/>
                  <a:gd name="T15" fmla="*/ 2014 h 2048"/>
                  <a:gd name="T16" fmla="*/ 1536 w 2048"/>
                  <a:gd name="T17" fmla="*/ 2048 h 2048"/>
                  <a:gd name="T18" fmla="*/ 1570 w 2048"/>
                  <a:gd name="T19" fmla="*/ 1946 h 2048"/>
                  <a:gd name="T20" fmla="*/ 1365 w 2048"/>
                  <a:gd name="T21" fmla="*/ 1843 h 2048"/>
                  <a:gd name="T22" fmla="*/ 1877 w 2048"/>
                  <a:gd name="T23" fmla="*/ 1707 h 2048"/>
                  <a:gd name="T24" fmla="*/ 2048 w 2048"/>
                  <a:gd name="T25" fmla="*/ 410 h 2048"/>
                  <a:gd name="T26" fmla="*/ 546 w 2048"/>
                  <a:gd name="T27" fmla="*/ 785 h 2048"/>
                  <a:gd name="T28" fmla="*/ 639 w 2048"/>
                  <a:gd name="T29" fmla="*/ 775 h 2048"/>
                  <a:gd name="T30" fmla="*/ 717 w 2048"/>
                  <a:gd name="T31" fmla="*/ 751 h 2048"/>
                  <a:gd name="T32" fmla="*/ 956 w 2048"/>
                  <a:gd name="T33" fmla="*/ 649 h 2048"/>
                  <a:gd name="T34" fmla="*/ 853 w 2048"/>
                  <a:gd name="T35" fmla="*/ 410 h 2048"/>
                  <a:gd name="T36" fmla="*/ 614 w 2048"/>
                  <a:gd name="T37" fmla="*/ 512 h 2048"/>
                  <a:gd name="T38" fmla="*/ 625 w 2048"/>
                  <a:gd name="T39" fmla="*/ 692 h 2048"/>
                  <a:gd name="T40" fmla="*/ 546 w 2048"/>
                  <a:gd name="T41" fmla="*/ 717 h 2048"/>
                  <a:gd name="T42" fmla="*/ 1502 w 2048"/>
                  <a:gd name="T43" fmla="*/ 341 h 2048"/>
                  <a:gd name="T44" fmla="*/ 546 w 2048"/>
                  <a:gd name="T45" fmla="*/ 1229 h 2048"/>
                  <a:gd name="T46" fmla="*/ 809 w 2048"/>
                  <a:gd name="T47" fmla="*/ 556 h 2048"/>
                  <a:gd name="T48" fmla="*/ 683 w 2048"/>
                  <a:gd name="T49" fmla="*/ 634 h 2048"/>
                  <a:gd name="T50" fmla="*/ 717 w 2048"/>
                  <a:gd name="T51" fmla="*/ 478 h 2048"/>
                  <a:gd name="T52" fmla="*/ 887 w 2048"/>
                  <a:gd name="T53" fmla="*/ 512 h 2048"/>
                  <a:gd name="T54" fmla="*/ 853 w 2048"/>
                  <a:gd name="T55" fmla="*/ 683 h 2048"/>
                  <a:gd name="T56" fmla="*/ 809 w 2048"/>
                  <a:gd name="T57" fmla="*/ 604 h 2048"/>
                  <a:gd name="T58" fmla="*/ 546 w 2048"/>
                  <a:gd name="T59" fmla="*/ 171 h 2048"/>
                  <a:gd name="T60" fmla="*/ 1399 w 2048"/>
                  <a:gd name="T61" fmla="*/ 68 h 2048"/>
                  <a:gd name="T62" fmla="*/ 1502 w 2048"/>
                  <a:gd name="T63" fmla="*/ 273 h 2048"/>
                  <a:gd name="T64" fmla="*/ 546 w 2048"/>
                  <a:gd name="T65" fmla="*/ 171 h 2048"/>
                  <a:gd name="T66" fmla="*/ 478 w 2048"/>
                  <a:gd name="T67" fmla="*/ 307 h 2048"/>
                  <a:gd name="T68" fmla="*/ 171 w 2048"/>
                  <a:gd name="T69" fmla="*/ 717 h 2048"/>
                  <a:gd name="T70" fmla="*/ 171 w 2048"/>
                  <a:gd name="T71" fmla="*/ 785 h 2048"/>
                  <a:gd name="T72" fmla="*/ 478 w 2048"/>
                  <a:gd name="T73" fmla="*/ 1229 h 2048"/>
                  <a:gd name="T74" fmla="*/ 307 w 2048"/>
                  <a:gd name="T75" fmla="*/ 1263 h 2048"/>
                  <a:gd name="T76" fmla="*/ 1707 w 2048"/>
                  <a:gd name="T77" fmla="*/ 1297 h 2048"/>
                  <a:gd name="T78" fmla="*/ 1707 w 2048"/>
                  <a:gd name="T79" fmla="*/ 1229 h 2048"/>
                  <a:gd name="T80" fmla="*/ 1570 w 2048"/>
                  <a:gd name="T81" fmla="*/ 307 h 2048"/>
                  <a:gd name="T82" fmla="*/ 1980 w 2048"/>
                  <a:gd name="T83" fmla="*/ 410 h 2048"/>
                  <a:gd name="T84" fmla="*/ 68 w 2048"/>
                  <a:gd name="T85" fmla="*/ 1399 h 2048"/>
                  <a:gd name="T86" fmla="*/ 171 w 2048"/>
                  <a:gd name="T87" fmla="*/ 307 h 2048"/>
                  <a:gd name="T88" fmla="*/ 1502 w 2048"/>
                  <a:gd name="T89" fmla="*/ 1980 h 2048"/>
                  <a:gd name="T90" fmla="*/ 546 w 2048"/>
                  <a:gd name="T91" fmla="*/ 1946 h 2048"/>
                  <a:gd name="T92" fmla="*/ 1468 w 2048"/>
                  <a:gd name="T93" fmla="*/ 1911 h 2048"/>
                  <a:gd name="T94" fmla="*/ 1297 w 2048"/>
                  <a:gd name="T95" fmla="*/ 1843 h 2048"/>
                  <a:gd name="T96" fmla="*/ 751 w 2048"/>
                  <a:gd name="T97" fmla="*/ 1707 h 2048"/>
                  <a:gd name="T98" fmla="*/ 1297 w 2048"/>
                  <a:gd name="T99" fmla="*/ 1843 h 2048"/>
                  <a:gd name="T100" fmla="*/ 171 w 2048"/>
                  <a:gd name="T101" fmla="*/ 1638 h 2048"/>
                  <a:gd name="T102" fmla="*/ 68 w 2048"/>
                  <a:gd name="T103" fmla="*/ 1468 h 2048"/>
                  <a:gd name="T104" fmla="*/ 1980 w 2048"/>
                  <a:gd name="T105" fmla="*/ 1536 h 2048"/>
                  <a:gd name="T106" fmla="*/ 1877 w 2048"/>
                  <a:gd name="T107" fmla="*/ 163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48" h="2048">
                    <a:moveTo>
                      <a:pt x="1877" y="239"/>
                    </a:moveTo>
                    <a:cubicBezTo>
                      <a:pt x="1570" y="239"/>
                      <a:pt x="1570" y="239"/>
                      <a:pt x="1570" y="239"/>
                    </a:cubicBezTo>
                    <a:cubicBezTo>
                      <a:pt x="1570" y="171"/>
                      <a:pt x="1570" y="171"/>
                      <a:pt x="1570" y="171"/>
                    </a:cubicBezTo>
                    <a:cubicBezTo>
                      <a:pt x="1570" y="76"/>
                      <a:pt x="1494" y="0"/>
                      <a:pt x="1399" y="0"/>
                    </a:cubicBezTo>
                    <a:cubicBezTo>
                      <a:pt x="649" y="0"/>
                      <a:pt x="649" y="0"/>
                      <a:pt x="649" y="0"/>
                    </a:cubicBezTo>
                    <a:cubicBezTo>
                      <a:pt x="554" y="0"/>
                      <a:pt x="478" y="76"/>
                      <a:pt x="478" y="171"/>
                    </a:cubicBezTo>
                    <a:cubicBezTo>
                      <a:pt x="478" y="239"/>
                      <a:pt x="478" y="239"/>
                      <a:pt x="478" y="239"/>
                    </a:cubicBezTo>
                    <a:cubicBezTo>
                      <a:pt x="171" y="239"/>
                      <a:pt x="171" y="239"/>
                      <a:pt x="171" y="239"/>
                    </a:cubicBezTo>
                    <a:cubicBezTo>
                      <a:pt x="76" y="239"/>
                      <a:pt x="0" y="315"/>
                      <a:pt x="0" y="410"/>
                    </a:cubicBezTo>
                    <a:cubicBezTo>
                      <a:pt x="0" y="1536"/>
                      <a:pt x="0" y="1536"/>
                      <a:pt x="0" y="1536"/>
                    </a:cubicBezTo>
                    <a:cubicBezTo>
                      <a:pt x="0" y="1630"/>
                      <a:pt x="76" y="1707"/>
                      <a:pt x="171" y="1707"/>
                    </a:cubicBezTo>
                    <a:cubicBezTo>
                      <a:pt x="683" y="1707"/>
                      <a:pt x="683" y="1707"/>
                      <a:pt x="683" y="1707"/>
                    </a:cubicBezTo>
                    <a:cubicBezTo>
                      <a:pt x="683" y="1843"/>
                      <a:pt x="683" y="1843"/>
                      <a:pt x="683" y="1843"/>
                    </a:cubicBezTo>
                    <a:cubicBezTo>
                      <a:pt x="580" y="1843"/>
                      <a:pt x="580" y="1843"/>
                      <a:pt x="580" y="1843"/>
                    </a:cubicBezTo>
                    <a:cubicBezTo>
                      <a:pt x="524" y="1843"/>
                      <a:pt x="478" y="1889"/>
                      <a:pt x="478" y="1946"/>
                    </a:cubicBezTo>
                    <a:cubicBezTo>
                      <a:pt x="478" y="2014"/>
                      <a:pt x="478" y="2014"/>
                      <a:pt x="478" y="2014"/>
                    </a:cubicBezTo>
                    <a:cubicBezTo>
                      <a:pt x="478" y="2033"/>
                      <a:pt x="493" y="2048"/>
                      <a:pt x="512" y="2048"/>
                    </a:cubicBezTo>
                    <a:cubicBezTo>
                      <a:pt x="1536" y="2048"/>
                      <a:pt x="1536" y="2048"/>
                      <a:pt x="1536" y="2048"/>
                    </a:cubicBezTo>
                    <a:cubicBezTo>
                      <a:pt x="1555" y="2048"/>
                      <a:pt x="1570" y="2033"/>
                      <a:pt x="1570" y="2014"/>
                    </a:cubicBezTo>
                    <a:cubicBezTo>
                      <a:pt x="1570" y="1946"/>
                      <a:pt x="1570" y="1946"/>
                      <a:pt x="1570" y="1946"/>
                    </a:cubicBezTo>
                    <a:cubicBezTo>
                      <a:pt x="1570" y="1889"/>
                      <a:pt x="1524" y="1843"/>
                      <a:pt x="1468" y="1843"/>
                    </a:cubicBezTo>
                    <a:cubicBezTo>
                      <a:pt x="1365" y="1843"/>
                      <a:pt x="1365" y="1843"/>
                      <a:pt x="1365" y="1843"/>
                    </a:cubicBezTo>
                    <a:cubicBezTo>
                      <a:pt x="1365" y="1707"/>
                      <a:pt x="1365" y="1707"/>
                      <a:pt x="1365" y="1707"/>
                    </a:cubicBezTo>
                    <a:cubicBezTo>
                      <a:pt x="1877" y="1707"/>
                      <a:pt x="1877" y="1707"/>
                      <a:pt x="1877" y="1707"/>
                    </a:cubicBezTo>
                    <a:cubicBezTo>
                      <a:pt x="1972" y="1707"/>
                      <a:pt x="2048" y="1630"/>
                      <a:pt x="2048" y="1536"/>
                    </a:cubicBezTo>
                    <a:cubicBezTo>
                      <a:pt x="2048" y="410"/>
                      <a:pt x="2048" y="410"/>
                      <a:pt x="2048" y="410"/>
                    </a:cubicBezTo>
                    <a:cubicBezTo>
                      <a:pt x="2048" y="315"/>
                      <a:pt x="1972" y="239"/>
                      <a:pt x="1877" y="239"/>
                    </a:cubicBezTo>
                    <a:close/>
                    <a:moveTo>
                      <a:pt x="546" y="785"/>
                    </a:moveTo>
                    <a:cubicBezTo>
                      <a:pt x="614" y="785"/>
                      <a:pt x="614" y="785"/>
                      <a:pt x="614" y="785"/>
                    </a:cubicBezTo>
                    <a:cubicBezTo>
                      <a:pt x="623" y="785"/>
                      <a:pt x="632" y="781"/>
                      <a:pt x="639" y="775"/>
                    </a:cubicBezTo>
                    <a:cubicBezTo>
                      <a:pt x="673" y="741"/>
                      <a:pt x="673" y="741"/>
                      <a:pt x="673" y="741"/>
                    </a:cubicBezTo>
                    <a:cubicBezTo>
                      <a:pt x="687" y="747"/>
                      <a:pt x="702" y="751"/>
                      <a:pt x="717" y="751"/>
                    </a:cubicBezTo>
                    <a:cubicBezTo>
                      <a:pt x="853" y="751"/>
                      <a:pt x="853" y="751"/>
                      <a:pt x="853" y="751"/>
                    </a:cubicBezTo>
                    <a:cubicBezTo>
                      <a:pt x="910" y="751"/>
                      <a:pt x="956" y="705"/>
                      <a:pt x="956" y="649"/>
                    </a:cubicBezTo>
                    <a:cubicBezTo>
                      <a:pt x="956" y="512"/>
                      <a:pt x="956" y="512"/>
                      <a:pt x="956" y="512"/>
                    </a:cubicBezTo>
                    <a:cubicBezTo>
                      <a:pt x="956" y="455"/>
                      <a:pt x="910" y="410"/>
                      <a:pt x="853" y="410"/>
                    </a:cubicBezTo>
                    <a:cubicBezTo>
                      <a:pt x="717" y="410"/>
                      <a:pt x="717" y="410"/>
                      <a:pt x="717" y="410"/>
                    </a:cubicBezTo>
                    <a:cubicBezTo>
                      <a:pt x="660" y="410"/>
                      <a:pt x="614" y="455"/>
                      <a:pt x="614" y="512"/>
                    </a:cubicBezTo>
                    <a:cubicBezTo>
                      <a:pt x="614" y="649"/>
                      <a:pt x="614" y="649"/>
                      <a:pt x="614" y="649"/>
                    </a:cubicBezTo>
                    <a:cubicBezTo>
                      <a:pt x="614" y="664"/>
                      <a:pt x="618" y="679"/>
                      <a:pt x="625" y="692"/>
                    </a:cubicBezTo>
                    <a:cubicBezTo>
                      <a:pt x="600" y="717"/>
                      <a:pt x="600" y="717"/>
                      <a:pt x="600" y="717"/>
                    </a:cubicBezTo>
                    <a:cubicBezTo>
                      <a:pt x="546" y="717"/>
                      <a:pt x="546" y="717"/>
                      <a:pt x="546" y="717"/>
                    </a:cubicBezTo>
                    <a:cubicBezTo>
                      <a:pt x="546" y="341"/>
                      <a:pt x="546" y="341"/>
                      <a:pt x="546" y="341"/>
                    </a:cubicBezTo>
                    <a:cubicBezTo>
                      <a:pt x="1502" y="341"/>
                      <a:pt x="1502" y="341"/>
                      <a:pt x="1502" y="341"/>
                    </a:cubicBezTo>
                    <a:cubicBezTo>
                      <a:pt x="1502" y="1229"/>
                      <a:pt x="1502" y="1229"/>
                      <a:pt x="1502" y="1229"/>
                    </a:cubicBezTo>
                    <a:cubicBezTo>
                      <a:pt x="546" y="1229"/>
                      <a:pt x="546" y="1229"/>
                      <a:pt x="546" y="1229"/>
                    </a:cubicBezTo>
                    <a:lnTo>
                      <a:pt x="546" y="785"/>
                    </a:lnTo>
                    <a:close/>
                    <a:moveTo>
                      <a:pt x="809" y="556"/>
                    </a:moveTo>
                    <a:cubicBezTo>
                      <a:pt x="796" y="543"/>
                      <a:pt x="774" y="543"/>
                      <a:pt x="761" y="556"/>
                    </a:cubicBezTo>
                    <a:cubicBezTo>
                      <a:pt x="683" y="634"/>
                      <a:pt x="683" y="634"/>
                      <a:pt x="683" y="634"/>
                    </a:cubicBezTo>
                    <a:cubicBezTo>
                      <a:pt x="683" y="512"/>
                      <a:pt x="683" y="512"/>
                      <a:pt x="683" y="512"/>
                    </a:cubicBezTo>
                    <a:cubicBezTo>
                      <a:pt x="683" y="493"/>
                      <a:pt x="698" y="478"/>
                      <a:pt x="717" y="478"/>
                    </a:cubicBezTo>
                    <a:cubicBezTo>
                      <a:pt x="853" y="478"/>
                      <a:pt x="853" y="478"/>
                      <a:pt x="853" y="478"/>
                    </a:cubicBezTo>
                    <a:cubicBezTo>
                      <a:pt x="872" y="478"/>
                      <a:pt x="887" y="493"/>
                      <a:pt x="887" y="512"/>
                    </a:cubicBezTo>
                    <a:cubicBezTo>
                      <a:pt x="887" y="649"/>
                      <a:pt x="887" y="649"/>
                      <a:pt x="887" y="649"/>
                    </a:cubicBezTo>
                    <a:cubicBezTo>
                      <a:pt x="887" y="667"/>
                      <a:pt x="872" y="683"/>
                      <a:pt x="853" y="683"/>
                    </a:cubicBezTo>
                    <a:cubicBezTo>
                      <a:pt x="731" y="683"/>
                      <a:pt x="731" y="683"/>
                      <a:pt x="731" y="683"/>
                    </a:cubicBezTo>
                    <a:cubicBezTo>
                      <a:pt x="809" y="604"/>
                      <a:pt x="809" y="604"/>
                      <a:pt x="809" y="604"/>
                    </a:cubicBezTo>
                    <a:cubicBezTo>
                      <a:pt x="823" y="591"/>
                      <a:pt x="823" y="569"/>
                      <a:pt x="809" y="556"/>
                    </a:cubicBezTo>
                    <a:close/>
                    <a:moveTo>
                      <a:pt x="546" y="171"/>
                    </a:moveTo>
                    <a:cubicBezTo>
                      <a:pt x="546" y="114"/>
                      <a:pt x="592" y="68"/>
                      <a:pt x="649" y="68"/>
                    </a:cubicBezTo>
                    <a:cubicBezTo>
                      <a:pt x="1399" y="68"/>
                      <a:pt x="1399" y="68"/>
                      <a:pt x="1399" y="68"/>
                    </a:cubicBezTo>
                    <a:cubicBezTo>
                      <a:pt x="1456" y="68"/>
                      <a:pt x="1502" y="114"/>
                      <a:pt x="1502" y="171"/>
                    </a:cubicBezTo>
                    <a:cubicBezTo>
                      <a:pt x="1502" y="273"/>
                      <a:pt x="1502" y="273"/>
                      <a:pt x="1502" y="273"/>
                    </a:cubicBezTo>
                    <a:cubicBezTo>
                      <a:pt x="546" y="273"/>
                      <a:pt x="546" y="273"/>
                      <a:pt x="546" y="273"/>
                    </a:cubicBezTo>
                    <a:lnTo>
                      <a:pt x="546" y="171"/>
                    </a:lnTo>
                    <a:close/>
                    <a:moveTo>
                      <a:pt x="171" y="307"/>
                    </a:moveTo>
                    <a:cubicBezTo>
                      <a:pt x="478" y="307"/>
                      <a:pt x="478" y="307"/>
                      <a:pt x="478" y="307"/>
                    </a:cubicBezTo>
                    <a:cubicBezTo>
                      <a:pt x="478" y="717"/>
                      <a:pt x="478" y="717"/>
                      <a:pt x="478" y="717"/>
                    </a:cubicBezTo>
                    <a:cubicBezTo>
                      <a:pt x="171" y="717"/>
                      <a:pt x="171" y="717"/>
                      <a:pt x="171" y="717"/>
                    </a:cubicBezTo>
                    <a:cubicBezTo>
                      <a:pt x="152" y="717"/>
                      <a:pt x="137" y="732"/>
                      <a:pt x="137" y="751"/>
                    </a:cubicBezTo>
                    <a:cubicBezTo>
                      <a:pt x="137" y="770"/>
                      <a:pt x="152" y="785"/>
                      <a:pt x="171" y="785"/>
                    </a:cubicBezTo>
                    <a:cubicBezTo>
                      <a:pt x="478" y="785"/>
                      <a:pt x="478" y="785"/>
                      <a:pt x="478" y="785"/>
                    </a:cubicBezTo>
                    <a:cubicBezTo>
                      <a:pt x="478" y="1229"/>
                      <a:pt x="478" y="1229"/>
                      <a:pt x="478" y="1229"/>
                    </a:cubicBezTo>
                    <a:cubicBezTo>
                      <a:pt x="341" y="1229"/>
                      <a:pt x="341" y="1229"/>
                      <a:pt x="341" y="1229"/>
                    </a:cubicBezTo>
                    <a:cubicBezTo>
                      <a:pt x="322" y="1229"/>
                      <a:pt x="307" y="1244"/>
                      <a:pt x="307" y="1263"/>
                    </a:cubicBezTo>
                    <a:cubicBezTo>
                      <a:pt x="307" y="1282"/>
                      <a:pt x="322" y="1297"/>
                      <a:pt x="341" y="1297"/>
                    </a:cubicBezTo>
                    <a:cubicBezTo>
                      <a:pt x="1707" y="1297"/>
                      <a:pt x="1707" y="1297"/>
                      <a:pt x="1707" y="1297"/>
                    </a:cubicBezTo>
                    <a:cubicBezTo>
                      <a:pt x="1726" y="1297"/>
                      <a:pt x="1741" y="1282"/>
                      <a:pt x="1741" y="1263"/>
                    </a:cubicBezTo>
                    <a:cubicBezTo>
                      <a:pt x="1741" y="1244"/>
                      <a:pt x="1726" y="1229"/>
                      <a:pt x="1707" y="1229"/>
                    </a:cubicBezTo>
                    <a:cubicBezTo>
                      <a:pt x="1570" y="1229"/>
                      <a:pt x="1570" y="1229"/>
                      <a:pt x="1570" y="1229"/>
                    </a:cubicBezTo>
                    <a:cubicBezTo>
                      <a:pt x="1570" y="307"/>
                      <a:pt x="1570" y="307"/>
                      <a:pt x="1570" y="307"/>
                    </a:cubicBezTo>
                    <a:cubicBezTo>
                      <a:pt x="1877" y="307"/>
                      <a:pt x="1877" y="307"/>
                      <a:pt x="1877" y="307"/>
                    </a:cubicBezTo>
                    <a:cubicBezTo>
                      <a:pt x="1934" y="307"/>
                      <a:pt x="1980" y="353"/>
                      <a:pt x="1980" y="410"/>
                    </a:cubicBezTo>
                    <a:cubicBezTo>
                      <a:pt x="1980" y="1399"/>
                      <a:pt x="1980" y="1399"/>
                      <a:pt x="1980" y="1399"/>
                    </a:cubicBezTo>
                    <a:cubicBezTo>
                      <a:pt x="68" y="1399"/>
                      <a:pt x="68" y="1399"/>
                      <a:pt x="68" y="1399"/>
                    </a:cubicBezTo>
                    <a:cubicBezTo>
                      <a:pt x="68" y="410"/>
                      <a:pt x="68" y="410"/>
                      <a:pt x="68" y="410"/>
                    </a:cubicBezTo>
                    <a:cubicBezTo>
                      <a:pt x="68" y="353"/>
                      <a:pt x="114" y="307"/>
                      <a:pt x="171" y="307"/>
                    </a:cubicBezTo>
                    <a:close/>
                    <a:moveTo>
                      <a:pt x="1502" y="1946"/>
                    </a:moveTo>
                    <a:cubicBezTo>
                      <a:pt x="1502" y="1980"/>
                      <a:pt x="1502" y="1980"/>
                      <a:pt x="1502" y="1980"/>
                    </a:cubicBezTo>
                    <a:cubicBezTo>
                      <a:pt x="546" y="1980"/>
                      <a:pt x="546" y="1980"/>
                      <a:pt x="546" y="1980"/>
                    </a:cubicBezTo>
                    <a:cubicBezTo>
                      <a:pt x="546" y="1946"/>
                      <a:pt x="546" y="1946"/>
                      <a:pt x="546" y="1946"/>
                    </a:cubicBezTo>
                    <a:cubicBezTo>
                      <a:pt x="546" y="1927"/>
                      <a:pt x="561" y="1911"/>
                      <a:pt x="580" y="1911"/>
                    </a:cubicBezTo>
                    <a:cubicBezTo>
                      <a:pt x="1468" y="1911"/>
                      <a:pt x="1468" y="1911"/>
                      <a:pt x="1468" y="1911"/>
                    </a:cubicBezTo>
                    <a:cubicBezTo>
                      <a:pt x="1487" y="1911"/>
                      <a:pt x="1502" y="1927"/>
                      <a:pt x="1502" y="1946"/>
                    </a:cubicBezTo>
                    <a:close/>
                    <a:moveTo>
                      <a:pt x="1297" y="1843"/>
                    </a:moveTo>
                    <a:cubicBezTo>
                      <a:pt x="751" y="1843"/>
                      <a:pt x="751" y="1843"/>
                      <a:pt x="751" y="1843"/>
                    </a:cubicBezTo>
                    <a:cubicBezTo>
                      <a:pt x="751" y="1707"/>
                      <a:pt x="751" y="1707"/>
                      <a:pt x="751" y="1707"/>
                    </a:cubicBezTo>
                    <a:cubicBezTo>
                      <a:pt x="1297" y="1707"/>
                      <a:pt x="1297" y="1707"/>
                      <a:pt x="1297" y="1707"/>
                    </a:cubicBezTo>
                    <a:lnTo>
                      <a:pt x="1297" y="1843"/>
                    </a:lnTo>
                    <a:close/>
                    <a:moveTo>
                      <a:pt x="1877" y="1638"/>
                    </a:moveTo>
                    <a:cubicBezTo>
                      <a:pt x="171" y="1638"/>
                      <a:pt x="171" y="1638"/>
                      <a:pt x="171" y="1638"/>
                    </a:cubicBezTo>
                    <a:cubicBezTo>
                      <a:pt x="114" y="1638"/>
                      <a:pt x="68" y="1593"/>
                      <a:pt x="68" y="1536"/>
                    </a:cubicBezTo>
                    <a:cubicBezTo>
                      <a:pt x="68" y="1468"/>
                      <a:pt x="68" y="1468"/>
                      <a:pt x="68" y="1468"/>
                    </a:cubicBezTo>
                    <a:cubicBezTo>
                      <a:pt x="1980" y="1468"/>
                      <a:pt x="1980" y="1468"/>
                      <a:pt x="1980" y="1468"/>
                    </a:cubicBezTo>
                    <a:cubicBezTo>
                      <a:pt x="1980" y="1536"/>
                      <a:pt x="1980" y="1536"/>
                      <a:pt x="1980" y="1536"/>
                    </a:cubicBezTo>
                    <a:cubicBezTo>
                      <a:pt x="1980" y="1593"/>
                      <a:pt x="1934" y="1638"/>
                      <a:pt x="1877" y="1638"/>
                    </a:cubicBezTo>
                    <a:close/>
                    <a:moveTo>
                      <a:pt x="1877" y="1638"/>
                    </a:moveTo>
                    <a:cubicBezTo>
                      <a:pt x="1877" y="1638"/>
                      <a:pt x="1877" y="1638"/>
                      <a:pt x="1877" y="16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70" name="Freeform 69"/>
              <p:cNvSpPr>
                <a:spLocks noEditPoints="1"/>
              </p:cNvSpPr>
              <p:nvPr/>
            </p:nvSpPr>
            <p:spPr bwMode="auto">
              <a:xfrm>
                <a:off x="2573655" y="394970"/>
                <a:ext cx="796290" cy="197485"/>
              </a:xfrm>
              <a:custGeom>
                <a:avLst/>
                <a:gdLst>
                  <a:gd name="T0" fmla="*/ 239 w 274"/>
                  <a:gd name="T1" fmla="*/ 0 h 68"/>
                  <a:gd name="T2" fmla="*/ 35 w 274"/>
                  <a:gd name="T3" fmla="*/ 0 h 68"/>
                  <a:gd name="T4" fmla="*/ 0 w 274"/>
                  <a:gd name="T5" fmla="*/ 34 h 68"/>
                  <a:gd name="T6" fmla="*/ 35 w 274"/>
                  <a:gd name="T7" fmla="*/ 68 h 68"/>
                  <a:gd name="T8" fmla="*/ 239 w 274"/>
                  <a:gd name="T9" fmla="*/ 68 h 68"/>
                  <a:gd name="T10" fmla="*/ 274 w 274"/>
                  <a:gd name="T11" fmla="*/ 34 h 68"/>
                  <a:gd name="T12" fmla="*/ 239 w 274"/>
                  <a:gd name="T13" fmla="*/ 0 h 68"/>
                  <a:gd name="T14" fmla="*/ 239 w 274"/>
                  <a:gd name="T15" fmla="*/ 0 h 68"/>
                  <a:gd name="T16" fmla="*/ 239 w 274"/>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4" h="68">
                    <a:moveTo>
                      <a:pt x="239" y="0"/>
                    </a:moveTo>
                    <a:cubicBezTo>
                      <a:pt x="35" y="0"/>
                      <a:pt x="35" y="0"/>
                      <a:pt x="35" y="0"/>
                    </a:cubicBezTo>
                    <a:cubicBezTo>
                      <a:pt x="16" y="0"/>
                      <a:pt x="0" y="15"/>
                      <a:pt x="0" y="34"/>
                    </a:cubicBezTo>
                    <a:cubicBezTo>
                      <a:pt x="0" y="53"/>
                      <a:pt x="16" y="68"/>
                      <a:pt x="35" y="68"/>
                    </a:cubicBezTo>
                    <a:cubicBezTo>
                      <a:pt x="239" y="68"/>
                      <a:pt x="239" y="68"/>
                      <a:pt x="239" y="68"/>
                    </a:cubicBezTo>
                    <a:cubicBezTo>
                      <a:pt x="258" y="68"/>
                      <a:pt x="274" y="53"/>
                      <a:pt x="274" y="34"/>
                    </a:cubicBezTo>
                    <a:cubicBezTo>
                      <a:pt x="274" y="15"/>
                      <a:pt x="258" y="0"/>
                      <a:pt x="239" y="0"/>
                    </a:cubicBezTo>
                    <a:close/>
                    <a:moveTo>
                      <a:pt x="239" y="0"/>
                    </a:moveTo>
                    <a:cubicBezTo>
                      <a:pt x="239" y="0"/>
                      <a:pt x="239" y="0"/>
                      <a:pt x="23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71" name="Freeform 70"/>
              <p:cNvSpPr>
                <a:spLocks noEditPoints="1"/>
              </p:cNvSpPr>
              <p:nvPr/>
            </p:nvSpPr>
            <p:spPr bwMode="auto">
              <a:xfrm>
                <a:off x="3959225" y="386080"/>
                <a:ext cx="206375" cy="206375"/>
              </a:xfrm>
              <a:custGeom>
                <a:avLst/>
                <a:gdLst>
                  <a:gd name="T0" fmla="*/ 60 w 71"/>
                  <a:gd name="T1" fmla="*/ 12 h 71"/>
                  <a:gd name="T2" fmla="*/ 11 w 71"/>
                  <a:gd name="T3" fmla="*/ 12 h 71"/>
                  <a:gd name="T4" fmla="*/ 4 w 71"/>
                  <a:gd name="T5" fmla="*/ 24 h 71"/>
                  <a:gd name="T6" fmla="*/ 4 w 71"/>
                  <a:gd name="T7" fmla="*/ 50 h 71"/>
                  <a:gd name="T8" fmla="*/ 23 w 71"/>
                  <a:gd name="T9" fmla="*/ 68 h 71"/>
                  <a:gd name="T10" fmla="*/ 35 w 71"/>
                  <a:gd name="T11" fmla="*/ 71 h 71"/>
                  <a:gd name="T12" fmla="*/ 60 w 71"/>
                  <a:gd name="T13" fmla="*/ 61 h 71"/>
                  <a:gd name="T14" fmla="*/ 67 w 71"/>
                  <a:gd name="T15" fmla="*/ 50 h 71"/>
                  <a:gd name="T16" fmla="*/ 67 w 71"/>
                  <a:gd name="T17" fmla="*/ 24 h 71"/>
                  <a:gd name="T18" fmla="*/ 60 w 71"/>
                  <a:gd name="T19" fmla="*/ 12 h 71"/>
                  <a:gd name="T20" fmla="*/ 60 w 71"/>
                  <a:gd name="T21" fmla="*/ 12 h 71"/>
                  <a:gd name="T22" fmla="*/ 60 w 71"/>
                  <a:gd name="T23" fmla="*/ 1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71">
                    <a:moveTo>
                      <a:pt x="60" y="12"/>
                    </a:moveTo>
                    <a:cubicBezTo>
                      <a:pt x="46" y="0"/>
                      <a:pt x="25" y="0"/>
                      <a:pt x="11" y="12"/>
                    </a:cubicBezTo>
                    <a:cubicBezTo>
                      <a:pt x="8" y="16"/>
                      <a:pt x="6" y="20"/>
                      <a:pt x="4" y="24"/>
                    </a:cubicBezTo>
                    <a:cubicBezTo>
                      <a:pt x="0" y="32"/>
                      <a:pt x="0" y="41"/>
                      <a:pt x="4" y="50"/>
                    </a:cubicBezTo>
                    <a:cubicBezTo>
                      <a:pt x="7" y="58"/>
                      <a:pt x="14" y="65"/>
                      <a:pt x="23" y="68"/>
                    </a:cubicBezTo>
                    <a:cubicBezTo>
                      <a:pt x="27" y="70"/>
                      <a:pt x="31" y="71"/>
                      <a:pt x="35" y="71"/>
                    </a:cubicBezTo>
                    <a:cubicBezTo>
                      <a:pt x="45" y="71"/>
                      <a:pt x="53" y="67"/>
                      <a:pt x="60" y="61"/>
                    </a:cubicBezTo>
                    <a:cubicBezTo>
                      <a:pt x="63" y="58"/>
                      <a:pt x="65" y="54"/>
                      <a:pt x="67" y="50"/>
                    </a:cubicBezTo>
                    <a:cubicBezTo>
                      <a:pt x="71" y="41"/>
                      <a:pt x="71" y="32"/>
                      <a:pt x="67" y="24"/>
                    </a:cubicBezTo>
                    <a:cubicBezTo>
                      <a:pt x="65" y="20"/>
                      <a:pt x="63" y="16"/>
                      <a:pt x="60" y="12"/>
                    </a:cubicBezTo>
                    <a:close/>
                    <a:moveTo>
                      <a:pt x="60" y="12"/>
                    </a:moveTo>
                    <a:cubicBezTo>
                      <a:pt x="60" y="12"/>
                      <a:pt x="60" y="12"/>
                      <a:pt x="60"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72" name="Freeform 71"/>
              <p:cNvSpPr>
                <a:spLocks noEditPoints="1"/>
              </p:cNvSpPr>
              <p:nvPr/>
            </p:nvSpPr>
            <p:spPr bwMode="auto">
              <a:xfrm>
                <a:off x="3663315" y="386080"/>
                <a:ext cx="203200" cy="206375"/>
              </a:xfrm>
              <a:custGeom>
                <a:avLst/>
                <a:gdLst>
                  <a:gd name="T0" fmla="*/ 59 w 70"/>
                  <a:gd name="T1" fmla="*/ 12 h 71"/>
                  <a:gd name="T2" fmla="*/ 11 w 70"/>
                  <a:gd name="T3" fmla="*/ 12 h 71"/>
                  <a:gd name="T4" fmla="*/ 4 w 70"/>
                  <a:gd name="T5" fmla="*/ 24 h 71"/>
                  <a:gd name="T6" fmla="*/ 4 w 70"/>
                  <a:gd name="T7" fmla="*/ 50 h 71"/>
                  <a:gd name="T8" fmla="*/ 22 w 70"/>
                  <a:gd name="T9" fmla="*/ 68 h 71"/>
                  <a:gd name="T10" fmla="*/ 35 w 70"/>
                  <a:gd name="T11" fmla="*/ 71 h 71"/>
                  <a:gd name="T12" fmla="*/ 59 w 70"/>
                  <a:gd name="T13" fmla="*/ 61 h 71"/>
                  <a:gd name="T14" fmla="*/ 66 w 70"/>
                  <a:gd name="T15" fmla="*/ 50 h 71"/>
                  <a:gd name="T16" fmla="*/ 66 w 70"/>
                  <a:gd name="T17" fmla="*/ 24 h 71"/>
                  <a:gd name="T18" fmla="*/ 59 w 70"/>
                  <a:gd name="T19" fmla="*/ 12 h 71"/>
                  <a:gd name="T20" fmla="*/ 59 w 70"/>
                  <a:gd name="T21" fmla="*/ 12 h 71"/>
                  <a:gd name="T22" fmla="*/ 59 w 70"/>
                  <a:gd name="T23" fmla="*/ 1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71">
                    <a:moveTo>
                      <a:pt x="59" y="12"/>
                    </a:moveTo>
                    <a:cubicBezTo>
                      <a:pt x="46" y="0"/>
                      <a:pt x="25" y="0"/>
                      <a:pt x="11" y="12"/>
                    </a:cubicBezTo>
                    <a:cubicBezTo>
                      <a:pt x="8" y="16"/>
                      <a:pt x="5" y="20"/>
                      <a:pt x="4" y="24"/>
                    </a:cubicBezTo>
                    <a:cubicBezTo>
                      <a:pt x="0" y="32"/>
                      <a:pt x="0" y="41"/>
                      <a:pt x="4" y="50"/>
                    </a:cubicBezTo>
                    <a:cubicBezTo>
                      <a:pt x="7" y="58"/>
                      <a:pt x="14" y="65"/>
                      <a:pt x="22" y="68"/>
                    </a:cubicBezTo>
                    <a:cubicBezTo>
                      <a:pt x="26" y="70"/>
                      <a:pt x="31" y="71"/>
                      <a:pt x="35" y="71"/>
                    </a:cubicBezTo>
                    <a:cubicBezTo>
                      <a:pt x="44" y="71"/>
                      <a:pt x="53" y="67"/>
                      <a:pt x="59" y="61"/>
                    </a:cubicBezTo>
                    <a:cubicBezTo>
                      <a:pt x="62" y="58"/>
                      <a:pt x="65" y="54"/>
                      <a:pt x="66" y="50"/>
                    </a:cubicBezTo>
                    <a:cubicBezTo>
                      <a:pt x="70" y="41"/>
                      <a:pt x="70" y="32"/>
                      <a:pt x="66" y="24"/>
                    </a:cubicBezTo>
                    <a:cubicBezTo>
                      <a:pt x="65" y="20"/>
                      <a:pt x="62" y="16"/>
                      <a:pt x="59" y="12"/>
                    </a:cubicBezTo>
                    <a:close/>
                    <a:moveTo>
                      <a:pt x="59" y="12"/>
                    </a:moveTo>
                    <a:cubicBezTo>
                      <a:pt x="59" y="12"/>
                      <a:pt x="59" y="12"/>
                      <a:pt x="59"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73" name="Freeform 72"/>
              <p:cNvSpPr>
                <a:spLocks noEditPoints="1"/>
              </p:cNvSpPr>
              <p:nvPr/>
            </p:nvSpPr>
            <p:spPr bwMode="auto">
              <a:xfrm>
                <a:off x="2971800" y="1188085"/>
                <a:ext cx="296545" cy="197485"/>
              </a:xfrm>
              <a:custGeom>
                <a:avLst/>
                <a:gdLst>
                  <a:gd name="T0" fmla="*/ 34 w 102"/>
                  <a:gd name="T1" fmla="*/ 68 h 68"/>
                  <a:gd name="T2" fmla="*/ 68 w 102"/>
                  <a:gd name="T3" fmla="*/ 68 h 68"/>
                  <a:gd name="T4" fmla="*/ 102 w 102"/>
                  <a:gd name="T5" fmla="*/ 34 h 68"/>
                  <a:gd name="T6" fmla="*/ 68 w 102"/>
                  <a:gd name="T7" fmla="*/ 0 h 68"/>
                  <a:gd name="T8" fmla="*/ 34 w 102"/>
                  <a:gd name="T9" fmla="*/ 0 h 68"/>
                  <a:gd name="T10" fmla="*/ 0 w 102"/>
                  <a:gd name="T11" fmla="*/ 34 h 68"/>
                  <a:gd name="T12" fmla="*/ 34 w 102"/>
                  <a:gd name="T13" fmla="*/ 68 h 68"/>
                  <a:gd name="T14" fmla="*/ 34 w 102"/>
                  <a:gd name="T15" fmla="*/ 68 h 68"/>
                  <a:gd name="T16" fmla="*/ 34 w 102"/>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68">
                    <a:moveTo>
                      <a:pt x="34" y="68"/>
                    </a:moveTo>
                    <a:cubicBezTo>
                      <a:pt x="68" y="68"/>
                      <a:pt x="68" y="68"/>
                      <a:pt x="68" y="68"/>
                    </a:cubicBezTo>
                    <a:cubicBezTo>
                      <a:pt x="87" y="68"/>
                      <a:pt x="102" y="53"/>
                      <a:pt x="102" y="34"/>
                    </a:cubicBezTo>
                    <a:cubicBezTo>
                      <a:pt x="102" y="15"/>
                      <a:pt x="87" y="0"/>
                      <a:pt x="68" y="0"/>
                    </a:cubicBezTo>
                    <a:cubicBezTo>
                      <a:pt x="34" y="0"/>
                      <a:pt x="34" y="0"/>
                      <a:pt x="34" y="0"/>
                    </a:cubicBezTo>
                    <a:cubicBezTo>
                      <a:pt x="15" y="0"/>
                      <a:pt x="0" y="15"/>
                      <a:pt x="0" y="34"/>
                    </a:cubicBezTo>
                    <a:cubicBezTo>
                      <a:pt x="0" y="53"/>
                      <a:pt x="15" y="68"/>
                      <a:pt x="34" y="68"/>
                    </a:cubicBezTo>
                    <a:close/>
                    <a:moveTo>
                      <a:pt x="34" y="68"/>
                    </a:moveTo>
                    <a:cubicBezTo>
                      <a:pt x="34" y="68"/>
                      <a:pt x="34" y="68"/>
                      <a:pt x="34"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74" name="Freeform 73"/>
              <p:cNvSpPr>
                <a:spLocks noEditPoints="1"/>
              </p:cNvSpPr>
              <p:nvPr/>
            </p:nvSpPr>
            <p:spPr bwMode="auto">
              <a:xfrm>
                <a:off x="3468370" y="1188085"/>
                <a:ext cx="694690" cy="197485"/>
              </a:xfrm>
              <a:custGeom>
                <a:avLst/>
                <a:gdLst>
                  <a:gd name="T0" fmla="*/ 204 w 239"/>
                  <a:gd name="T1" fmla="*/ 0 h 68"/>
                  <a:gd name="T2" fmla="*/ 34 w 239"/>
                  <a:gd name="T3" fmla="*/ 0 h 68"/>
                  <a:gd name="T4" fmla="*/ 0 w 239"/>
                  <a:gd name="T5" fmla="*/ 34 h 68"/>
                  <a:gd name="T6" fmla="*/ 34 w 239"/>
                  <a:gd name="T7" fmla="*/ 68 h 68"/>
                  <a:gd name="T8" fmla="*/ 204 w 239"/>
                  <a:gd name="T9" fmla="*/ 68 h 68"/>
                  <a:gd name="T10" fmla="*/ 239 w 239"/>
                  <a:gd name="T11" fmla="*/ 34 h 68"/>
                  <a:gd name="T12" fmla="*/ 204 w 239"/>
                  <a:gd name="T13" fmla="*/ 0 h 68"/>
                  <a:gd name="T14" fmla="*/ 204 w 239"/>
                  <a:gd name="T15" fmla="*/ 0 h 68"/>
                  <a:gd name="T16" fmla="*/ 204 w 239"/>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68">
                    <a:moveTo>
                      <a:pt x="204" y="0"/>
                    </a:moveTo>
                    <a:cubicBezTo>
                      <a:pt x="34" y="0"/>
                      <a:pt x="34" y="0"/>
                      <a:pt x="34" y="0"/>
                    </a:cubicBezTo>
                    <a:cubicBezTo>
                      <a:pt x="15" y="0"/>
                      <a:pt x="0" y="15"/>
                      <a:pt x="0" y="34"/>
                    </a:cubicBezTo>
                    <a:cubicBezTo>
                      <a:pt x="0" y="53"/>
                      <a:pt x="15" y="68"/>
                      <a:pt x="34" y="68"/>
                    </a:cubicBezTo>
                    <a:cubicBezTo>
                      <a:pt x="204" y="68"/>
                      <a:pt x="204" y="68"/>
                      <a:pt x="204" y="68"/>
                    </a:cubicBezTo>
                    <a:cubicBezTo>
                      <a:pt x="223" y="68"/>
                      <a:pt x="239" y="53"/>
                      <a:pt x="239" y="34"/>
                    </a:cubicBezTo>
                    <a:cubicBezTo>
                      <a:pt x="239" y="15"/>
                      <a:pt x="223" y="0"/>
                      <a:pt x="204" y="0"/>
                    </a:cubicBezTo>
                    <a:close/>
                    <a:moveTo>
                      <a:pt x="204" y="0"/>
                    </a:moveTo>
                    <a:cubicBezTo>
                      <a:pt x="204" y="0"/>
                      <a:pt x="204" y="0"/>
                      <a:pt x="20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75" name="Freeform 74"/>
              <p:cNvSpPr>
                <a:spLocks noEditPoints="1"/>
              </p:cNvSpPr>
              <p:nvPr/>
            </p:nvSpPr>
            <p:spPr bwMode="auto">
              <a:xfrm>
                <a:off x="3863975" y="1981200"/>
                <a:ext cx="299085" cy="197485"/>
              </a:xfrm>
              <a:custGeom>
                <a:avLst/>
                <a:gdLst>
                  <a:gd name="T0" fmla="*/ 68 w 103"/>
                  <a:gd name="T1" fmla="*/ 0 h 68"/>
                  <a:gd name="T2" fmla="*/ 34 w 103"/>
                  <a:gd name="T3" fmla="*/ 0 h 68"/>
                  <a:gd name="T4" fmla="*/ 0 w 103"/>
                  <a:gd name="T5" fmla="*/ 34 h 68"/>
                  <a:gd name="T6" fmla="*/ 34 w 103"/>
                  <a:gd name="T7" fmla="*/ 68 h 68"/>
                  <a:gd name="T8" fmla="*/ 68 w 103"/>
                  <a:gd name="T9" fmla="*/ 68 h 68"/>
                  <a:gd name="T10" fmla="*/ 103 w 103"/>
                  <a:gd name="T11" fmla="*/ 34 h 68"/>
                  <a:gd name="T12" fmla="*/ 68 w 103"/>
                  <a:gd name="T13" fmla="*/ 0 h 68"/>
                  <a:gd name="T14" fmla="*/ 68 w 103"/>
                  <a:gd name="T15" fmla="*/ 0 h 68"/>
                  <a:gd name="T16" fmla="*/ 68 w 103"/>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68">
                    <a:moveTo>
                      <a:pt x="68" y="0"/>
                    </a:moveTo>
                    <a:cubicBezTo>
                      <a:pt x="34" y="0"/>
                      <a:pt x="34" y="0"/>
                      <a:pt x="34" y="0"/>
                    </a:cubicBezTo>
                    <a:cubicBezTo>
                      <a:pt x="15" y="0"/>
                      <a:pt x="0" y="15"/>
                      <a:pt x="0" y="34"/>
                    </a:cubicBezTo>
                    <a:cubicBezTo>
                      <a:pt x="0" y="53"/>
                      <a:pt x="15" y="68"/>
                      <a:pt x="34" y="68"/>
                    </a:cubicBezTo>
                    <a:cubicBezTo>
                      <a:pt x="68" y="68"/>
                      <a:pt x="68" y="68"/>
                      <a:pt x="68" y="68"/>
                    </a:cubicBezTo>
                    <a:cubicBezTo>
                      <a:pt x="87" y="68"/>
                      <a:pt x="103" y="53"/>
                      <a:pt x="103" y="34"/>
                    </a:cubicBezTo>
                    <a:cubicBezTo>
                      <a:pt x="103" y="15"/>
                      <a:pt x="87" y="0"/>
                      <a:pt x="68" y="0"/>
                    </a:cubicBezTo>
                    <a:close/>
                    <a:moveTo>
                      <a:pt x="68" y="0"/>
                    </a:moveTo>
                    <a:cubicBezTo>
                      <a:pt x="68" y="0"/>
                      <a:pt x="68" y="0"/>
                      <a:pt x="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76" name="Freeform 75"/>
              <p:cNvSpPr>
                <a:spLocks noEditPoints="1"/>
              </p:cNvSpPr>
              <p:nvPr/>
            </p:nvSpPr>
            <p:spPr bwMode="auto">
              <a:xfrm>
                <a:off x="2971800" y="1981200"/>
                <a:ext cx="694055" cy="197485"/>
              </a:xfrm>
              <a:custGeom>
                <a:avLst/>
                <a:gdLst>
                  <a:gd name="T0" fmla="*/ 34 w 239"/>
                  <a:gd name="T1" fmla="*/ 68 h 68"/>
                  <a:gd name="T2" fmla="*/ 205 w 239"/>
                  <a:gd name="T3" fmla="*/ 68 h 68"/>
                  <a:gd name="T4" fmla="*/ 239 w 239"/>
                  <a:gd name="T5" fmla="*/ 34 h 68"/>
                  <a:gd name="T6" fmla="*/ 205 w 239"/>
                  <a:gd name="T7" fmla="*/ 0 h 68"/>
                  <a:gd name="T8" fmla="*/ 34 w 239"/>
                  <a:gd name="T9" fmla="*/ 0 h 68"/>
                  <a:gd name="T10" fmla="*/ 0 w 239"/>
                  <a:gd name="T11" fmla="*/ 34 h 68"/>
                  <a:gd name="T12" fmla="*/ 34 w 239"/>
                  <a:gd name="T13" fmla="*/ 68 h 68"/>
                  <a:gd name="T14" fmla="*/ 34 w 239"/>
                  <a:gd name="T15" fmla="*/ 68 h 68"/>
                  <a:gd name="T16" fmla="*/ 34 w 239"/>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68">
                    <a:moveTo>
                      <a:pt x="34" y="68"/>
                    </a:moveTo>
                    <a:cubicBezTo>
                      <a:pt x="205" y="68"/>
                      <a:pt x="205" y="68"/>
                      <a:pt x="205" y="68"/>
                    </a:cubicBezTo>
                    <a:cubicBezTo>
                      <a:pt x="224" y="68"/>
                      <a:pt x="239" y="53"/>
                      <a:pt x="239" y="34"/>
                    </a:cubicBezTo>
                    <a:cubicBezTo>
                      <a:pt x="239" y="15"/>
                      <a:pt x="224" y="0"/>
                      <a:pt x="205" y="0"/>
                    </a:cubicBezTo>
                    <a:cubicBezTo>
                      <a:pt x="34" y="0"/>
                      <a:pt x="34" y="0"/>
                      <a:pt x="34" y="0"/>
                    </a:cubicBezTo>
                    <a:cubicBezTo>
                      <a:pt x="15" y="0"/>
                      <a:pt x="0" y="15"/>
                      <a:pt x="0" y="34"/>
                    </a:cubicBezTo>
                    <a:cubicBezTo>
                      <a:pt x="0" y="53"/>
                      <a:pt x="15" y="68"/>
                      <a:pt x="34" y="68"/>
                    </a:cubicBezTo>
                    <a:close/>
                    <a:moveTo>
                      <a:pt x="34" y="68"/>
                    </a:moveTo>
                    <a:cubicBezTo>
                      <a:pt x="34" y="68"/>
                      <a:pt x="34" y="68"/>
                      <a:pt x="34"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77" name="Freeform 76"/>
              <p:cNvSpPr>
                <a:spLocks noEditPoints="1"/>
              </p:cNvSpPr>
              <p:nvPr/>
            </p:nvSpPr>
            <p:spPr bwMode="auto">
              <a:xfrm>
                <a:off x="2971800" y="1583055"/>
                <a:ext cx="1191260" cy="197485"/>
              </a:xfrm>
              <a:custGeom>
                <a:avLst/>
                <a:gdLst>
                  <a:gd name="T0" fmla="*/ 375 w 410"/>
                  <a:gd name="T1" fmla="*/ 0 h 68"/>
                  <a:gd name="T2" fmla="*/ 34 w 410"/>
                  <a:gd name="T3" fmla="*/ 0 h 68"/>
                  <a:gd name="T4" fmla="*/ 0 w 410"/>
                  <a:gd name="T5" fmla="*/ 34 h 68"/>
                  <a:gd name="T6" fmla="*/ 34 w 410"/>
                  <a:gd name="T7" fmla="*/ 68 h 68"/>
                  <a:gd name="T8" fmla="*/ 375 w 410"/>
                  <a:gd name="T9" fmla="*/ 68 h 68"/>
                  <a:gd name="T10" fmla="*/ 410 w 410"/>
                  <a:gd name="T11" fmla="*/ 34 h 68"/>
                  <a:gd name="T12" fmla="*/ 375 w 410"/>
                  <a:gd name="T13" fmla="*/ 0 h 68"/>
                  <a:gd name="T14" fmla="*/ 375 w 410"/>
                  <a:gd name="T15" fmla="*/ 0 h 68"/>
                  <a:gd name="T16" fmla="*/ 375 w 410"/>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 h="68">
                    <a:moveTo>
                      <a:pt x="375" y="0"/>
                    </a:moveTo>
                    <a:cubicBezTo>
                      <a:pt x="34" y="0"/>
                      <a:pt x="34" y="0"/>
                      <a:pt x="34" y="0"/>
                    </a:cubicBezTo>
                    <a:cubicBezTo>
                      <a:pt x="15" y="0"/>
                      <a:pt x="0" y="15"/>
                      <a:pt x="0" y="34"/>
                    </a:cubicBezTo>
                    <a:cubicBezTo>
                      <a:pt x="0" y="53"/>
                      <a:pt x="15" y="68"/>
                      <a:pt x="34" y="68"/>
                    </a:cubicBezTo>
                    <a:cubicBezTo>
                      <a:pt x="375" y="68"/>
                      <a:pt x="375" y="68"/>
                      <a:pt x="375" y="68"/>
                    </a:cubicBezTo>
                    <a:cubicBezTo>
                      <a:pt x="394" y="68"/>
                      <a:pt x="410" y="53"/>
                      <a:pt x="410" y="34"/>
                    </a:cubicBezTo>
                    <a:cubicBezTo>
                      <a:pt x="410" y="15"/>
                      <a:pt x="394" y="0"/>
                      <a:pt x="375" y="0"/>
                    </a:cubicBezTo>
                    <a:close/>
                    <a:moveTo>
                      <a:pt x="375" y="0"/>
                    </a:moveTo>
                    <a:cubicBezTo>
                      <a:pt x="375" y="0"/>
                      <a:pt x="375" y="0"/>
                      <a:pt x="3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78" name="Freeform 77"/>
              <p:cNvSpPr>
                <a:spLocks noEditPoints="1"/>
              </p:cNvSpPr>
              <p:nvPr/>
            </p:nvSpPr>
            <p:spPr bwMode="auto">
              <a:xfrm>
                <a:off x="1780540" y="2376170"/>
                <a:ext cx="993775" cy="993775"/>
              </a:xfrm>
              <a:custGeom>
                <a:avLst/>
                <a:gdLst>
                  <a:gd name="T0" fmla="*/ 239 w 342"/>
                  <a:gd name="T1" fmla="*/ 0 h 342"/>
                  <a:gd name="T2" fmla="*/ 103 w 342"/>
                  <a:gd name="T3" fmla="*/ 0 h 342"/>
                  <a:gd name="T4" fmla="*/ 0 w 342"/>
                  <a:gd name="T5" fmla="*/ 103 h 342"/>
                  <a:gd name="T6" fmla="*/ 0 w 342"/>
                  <a:gd name="T7" fmla="*/ 239 h 342"/>
                  <a:gd name="T8" fmla="*/ 103 w 342"/>
                  <a:gd name="T9" fmla="*/ 342 h 342"/>
                  <a:gd name="T10" fmla="*/ 239 w 342"/>
                  <a:gd name="T11" fmla="*/ 342 h 342"/>
                  <a:gd name="T12" fmla="*/ 342 w 342"/>
                  <a:gd name="T13" fmla="*/ 239 h 342"/>
                  <a:gd name="T14" fmla="*/ 342 w 342"/>
                  <a:gd name="T15" fmla="*/ 103 h 342"/>
                  <a:gd name="T16" fmla="*/ 239 w 342"/>
                  <a:gd name="T17" fmla="*/ 0 h 342"/>
                  <a:gd name="T18" fmla="*/ 273 w 342"/>
                  <a:gd name="T19" fmla="*/ 239 h 342"/>
                  <a:gd name="T20" fmla="*/ 239 w 342"/>
                  <a:gd name="T21" fmla="*/ 273 h 342"/>
                  <a:gd name="T22" fmla="*/ 103 w 342"/>
                  <a:gd name="T23" fmla="*/ 273 h 342"/>
                  <a:gd name="T24" fmla="*/ 69 w 342"/>
                  <a:gd name="T25" fmla="*/ 239 h 342"/>
                  <a:gd name="T26" fmla="*/ 69 w 342"/>
                  <a:gd name="T27" fmla="*/ 103 h 342"/>
                  <a:gd name="T28" fmla="*/ 103 w 342"/>
                  <a:gd name="T29" fmla="*/ 68 h 342"/>
                  <a:gd name="T30" fmla="*/ 239 w 342"/>
                  <a:gd name="T31" fmla="*/ 68 h 342"/>
                  <a:gd name="T32" fmla="*/ 273 w 342"/>
                  <a:gd name="T33" fmla="*/ 103 h 342"/>
                  <a:gd name="T34" fmla="*/ 273 w 342"/>
                  <a:gd name="T35" fmla="*/ 239 h 342"/>
                  <a:gd name="T36" fmla="*/ 273 w 342"/>
                  <a:gd name="T37" fmla="*/ 239 h 342"/>
                  <a:gd name="T38" fmla="*/ 273 w 342"/>
                  <a:gd name="T39" fmla="*/ 23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2" h="342">
                    <a:moveTo>
                      <a:pt x="239" y="0"/>
                    </a:moveTo>
                    <a:cubicBezTo>
                      <a:pt x="103" y="0"/>
                      <a:pt x="103" y="0"/>
                      <a:pt x="103" y="0"/>
                    </a:cubicBezTo>
                    <a:cubicBezTo>
                      <a:pt x="46" y="0"/>
                      <a:pt x="0" y="46"/>
                      <a:pt x="0" y="103"/>
                    </a:cubicBezTo>
                    <a:cubicBezTo>
                      <a:pt x="0" y="239"/>
                      <a:pt x="0" y="239"/>
                      <a:pt x="0" y="239"/>
                    </a:cubicBezTo>
                    <a:cubicBezTo>
                      <a:pt x="0" y="296"/>
                      <a:pt x="46" y="342"/>
                      <a:pt x="103" y="342"/>
                    </a:cubicBezTo>
                    <a:cubicBezTo>
                      <a:pt x="239" y="342"/>
                      <a:pt x="239" y="342"/>
                      <a:pt x="239" y="342"/>
                    </a:cubicBezTo>
                    <a:cubicBezTo>
                      <a:pt x="296" y="342"/>
                      <a:pt x="342" y="296"/>
                      <a:pt x="342" y="239"/>
                    </a:cubicBezTo>
                    <a:cubicBezTo>
                      <a:pt x="342" y="103"/>
                      <a:pt x="342" y="103"/>
                      <a:pt x="342" y="103"/>
                    </a:cubicBezTo>
                    <a:cubicBezTo>
                      <a:pt x="342" y="46"/>
                      <a:pt x="296" y="0"/>
                      <a:pt x="239" y="0"/>
                    </a:cubicBezTo>
                    <a:close/>
                    <a:moveTo>
                      <a:pt x="273" y="239"/>
                    </a:moveTo>
                    <a:cubicBezTo>
                      <a:pt x="273" y="258"/>
                      <a:pt x="258" y="273"/>
                      <a:pt x="239" y="273"/>
                    </a:cubicBezTo>
                    <a:cubicBezTo>
                      <a:pt x="103" y="273"/>
                      <a:pt x="103" y="273"/>
                      <a:pt x="103" y="273"/>
                    </a:cubicBezTo>
                    <a:cubicBezTo>
                      <a:pt x="84" y="273"/>
                      <a:pt x="69" y="258"/>
                      <a:pt x="69" y="239"/>
                    </a:cubicBezTo>
                    <a:cubicBezTo>
                      <a:pt x="69" y="103"/>
                      <a:pt x="69" y="103"/>
                      <a:pt x="69" y="103"/>
                    </a:cubicBezTo>
                    <a:cubicBezTo>
                      <a:pt x="69" y="84"/>
                      <a:pt x="84" y="68"/>
                      <a:pt x="103" y="68"/>
                    </a:cubicBezTo>
                    <a:cubicBezTo>
                      <a:pt x="239" y="68"/>
                      <a:pt x="239" y="68"/>
                      <a:pt x="239" y="68"/>
                    </a:cubicBezTo>
                    <a:cubicBezTo>
                      <a:pt x="258" y="68"/>
                      <a:pt x="273" y="84"/>
                      <a:pt x="273" y="103"/>
                    </a:cubicBezTo>
                    <a:lnTo>
                      <a:pt x="273" y="239"/>
                    </a:lnTo>
                    <a:close/>
                    <a:moveTo>
                      <a:pt x="273" y="239"/>
                    </a:moveTo>
                    <a:cubicBezTo>
                      <a:pt x="273" y="239"/>
                      <a:pt x="273" y="239"/>
                      <a:pt x="273" y="2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79" name="Freeform 78"/>
              <p:cNvSpPr>
                <a:spLocks noEditPoints="1"/>
              </p:cNvSpPr>
              <p:nvPr/>
            </p:nvSpPr>
            <p:spPr bwMode="auto">
              <a:xfrm>
                <a:off x="2971800" y="2376170"/>
                <a:ext cx="296545" cy="197485"/>
              </a:xfrm>
              <a:custGeom>
                <a:avLst/>
                <a:gdLst>
                  <a:gd name="T0" fmla="*/ 34 w 102"/>
                  <a:gd name="T1" fmla="*/ 68 h 68"/>
                  <a:gd name="T2" fmla="*/ 68 w 102"/>
                  <a:gd name="T3" fmla="*/ 68 h 68"/>
                  <a:gd name="T4" fmla="*/ 102 w 102"/>
                  <a:gd name="T5" fmla="*/ 34 h 68"/>
                  <a:gd name="T6" fmla="*/ 68 w 102"/>
                  <a:gd name="T7" fmla="*/ 0 h 68"/>
                  <a:gd name="T8" fmla="*/ 34 w 102"/>
                  <a:gd name="T9" fmla="*/ 0 h 68"/>
                  <a:gd name="T10" fmla="*/ 0 w 102"/>
                  <a:gd name="T11" fmla="*/ 34 h 68"/>
                  <a:gd name="T12" fmla="*/ 34 w 102"/>
                  <a:gd name="T13" fmla="*/ 68 h 68"/>
                  <a:gd name="T14" fmla="*/ 34 w 102"/>
                  <a:gd name="T15" fmla="*/ 68 h 68"/>
                  <a:gd name="T16" fmla="*/ 34 w 102"/>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68">
                    <a:moveTo>
                      <a:pt x="34" y="68"/>
                    </a:moveTo>
                    <a:cubicBezTo>
                      <a:pt x="68" y="68"/>
                      <a:pt x="68" y="68"/>
                      <a:pt x="68" y="68"/>
                    </a:cubicBezTo>
                    <a:cubicBezTo>
                      <a:pt x="87" y="68"/>
                      <a:pt x="102" y="53"/>
                      <a:pt x="102" y="34"/>
                    </a:cubicBezTo>
                    <a:cubicBezTo>
                      <a:pt x="102" y="15"/>
                      <a:pt x="87" y="0"/>
                      <a:pt x="68" y="0"/>
                    </a:cubicBezTo>
                    <a:cubicBezTo>
                      <a:pt x="34" y="0"/>
                      <a:pt x="34" y="0"/>
                      <a:pt x="34" y="0"/>
                    </a:cubicBezTo>
                    <a:cubicBezTo>
                      <a:pt x="15" y="0"/>
                      <a:pt x="0" y="15"/>
                      <a:pt x="0" y="34"/>
                    </a:cubicBezTo>
                    <a:cubicBezTo>
                      <a:pt x="0" y="53"/>
                      <a:pt x="15" y="68"/>
                      <a:pt x="34" y="68"/>
                    </a:cubicBezTo>
                    <a:close/>
                    <a:moveTo>
                      <a:pt x="34" y="68"/>
                    </a:moveTo>
                    <a:cubicBezTo>
                      <a:pt x="34" y="68"/>
                      <a:pt x="34" y="68"/>
                      <a:pt x="34"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80" name="Freeform 79"/>
              <p:cNvSpPr>
                <a:spLocks noEditPoints="1"/>
              </p:cNvSpPr>
              <p:nvPr/>
            </p:nvSpPr>
            <p:spPr bwMode="auto">
              <a:xfrm>
                <a:off x="3468370" y="2376170"/>
                <a:ext cx="694690" cy="197485"/>
              </a:xfrm>
              <a:custGeom>
                <a:avLst/>
                <a:gdLst>
                  <a:gd name="T0" fmla="*/ 204 w 239"/>
                  <a:gd name="T1" fmla="*/ 0 h 68"/>
                  <a:gd name="T2" fmla="*/ 34 w 239"/>
                  <a:gd name="T3" fmla="*/ 0 h 68"/>
                  <a:gd name="T4" fmla="*/ 0 w 239"/>
                  <a:gd name="T5" fmla="*/ 34 h 68"/>
                  <a:gd name="T6" fmla="*/ 34 w 239"/>
                  <a:gd name="T7" fmla="*/ 68 h 68"/>
                  <a:gd name="T8" fmla="*/ 204 w 239"/>
                  <a:gd name="T9" fmla="*/ 68 h 68"/>
                  <a:gd name="T10" fmla="*/ 239 w 239"/>
                  <a:gd name="T11" fmla="*/ 34 h 68"/>
                  <a:gd name="T12" fmla="*/ 204 w 239"/>
                  <a:gd name="T13" fmla="*/ 0 h 68"/>
                  <a:gd name="T14" fmla="*/ 204 w 239"/>
                  <a:gd name="T15" fmla="*/ 0 h 68"/>
                  <a:gd name="T16" fmla="*/ 204 w 239"/>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68">
                    <a:moveTo>
                      <a:pt x="204" y="0"/>
                    </a:moveTo>
                    <a:cubicBezTo>
                      <a:pt x="34" y="0"/>
                      <a:pt x="34" y="0"/>
                      <a:pt x="34" y="0"/>
                    </a:cubicBezTo>
                    <a:cubicBezTo>
                      <a:pt x="15" y="0"/>
                      <a:pt x="0" y="15"/>
                      <a:pt x="0" y="34"/>
                    </a:cubicBezTo>
                    <a:cubicBezTo>
                      <a:pt x="0" y="53"/>
                      <a:pt x="15" y="68"/>
                      <a:pt x="34" y="68"/>
                    </a:cubicBezTo>
                    <a:cubicBezTo>
                      <a:pt x="204" y="68"/>
                      <a:pt x="204" y="68"/>
                      <a:pt x="204" y="68"/>
                    </a:cubicBezTo>
                    <a:cubicBezTo>
                      <a:pt x="223" y="68"/>
                      <a:pt x="239" y="53"/>
                      <a:pt x="239" y="34"/>
                    </a:cubicBezTo>
                    <a:cubicBezTo>
                      <a:pt x="239" y="15"/>
                      <a:pt x="223" y="0"/>
                      <a:pt x="204" y="0"/>
                    </a:cubicBezTo>
                    <a:close/>
                    <a:moveTo>
                      <a:pt x="204" y="0"/>
                    </a:moveTo>
                    <a:cubicBezTo>
                      <a:pt x="204" y="0"/>
                      <a:pt x="204" y="0"/>
                      <a:pt x="20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81" name="Freeform 80"/>
              <p:cNvSpPr>
                <a:spLocks noEditPoints="1"/>
              </p:cNvSpPr>
              <p:nvPr/>
            </p:nvSpPr>
            <p:spPr bwMode="auto">
              <a:xfrm>
                <a:off x="3863975" y="3169285"/>
                <a:ext cx="299085" cy="200660"/>
              </a:xfrm>
              <a:custGeom>
                <a:avLst/>
                <a:gdLst>
                  <a:gd name="T0" fmla="*/ 68 w 103"/>
                  <a:gd name="T1" fmla="*/ 0 h 69"/>
                  <a:gd name="T2" fmla="*/ 34 w 103"/>
                  <a:gd name="T3" fmla="*/ 0 h 69"/>
                  <a:gd name="T4" fmla="*/ 0 w 103"/>
                  <a:gd name="T5" fmla="*/ 34 h 69"/>
                  <a:gd name="T6" fmla="*/ 34 w 103"/>
                  <a:gd name="T7" fmla="*/ 69 h 69"/>
                  <a:gd name="T8" fmla="*/ 68 w 103"/>
                  <a:gd name="T9" fmla="*/ 69 h 69"/>
                  <a:gd name="T10" fmla="*/ 103 w 103"/>
                  <a:gd name="T11" fmla="*/ 34 h 69"/>
                  <a:gd name="T12" fmla="*/ 68 w 103"/>
                  <a:gd name="T13" fmla="*/ 0 h 69"/>
                  <a:gd name="T14" fmla="*/ 68 w 103"/>
                  <a:gd name="T15" fmla="*/ 0 h 69"/>
                  <a:gd name="T16" fmla="*/ 68 w 103"/>
                  <a:gd name="T1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69">
                    <a:moveTo>
                      <a:pt x="68" y="0"/>
                    </a:moveTo>
                    <a:cubicBezTo>
                      <a:pt x="34" y="0"/>
                      <a:pt x="34" y="0"/>
                      <a:pt x="34" y="0"/>
                    </a:cubicBezTo>
                    <a:cubicBezTo>
                      <a:pt x="15" y="0"/>
                      <a:pt x="0" y="16"/>
                      <a:pt x="0" y="34"/>
                    </a:cubicBezTo>
                    <a:cubicBezTo>
                      <a:pt x="0" y="53"/>
                      <a:pt x="15" y="69"/>
                      <a:pt x="34" y="69"/>
                    </a:cubicBezTo>
                    <a:cubicBezTo>
                      <a:pt x="68" y="69"/>
                      <a:pt x="68" y="69"/>
                      <a:pt x="68" y="69"/>
                    </a:cubicBezTo>
                    <a:cubicBezTo>
                      <a:pt x="87" y="69"/>
                      <a:pt x="103" y="53"/>
                      <a:pt x="103" y="34"/>
                    </a:cubicBezTo>
                    <a:cubicBezTo>
                      <a:pt x="103" y="16"/>
                      <a:pt x="87" y="0"/>
                      <a:pt x="68" y="0"/>
                    </a:cubicBezTo>
                    <a:close/>
                    <a:moveTo>
                      <a:pt x="68" y="0"/>
                    </a:moveTo>
                    <a:cubicBezTo>
                      <a:pt x="68" y="0"/>
                      <a:pt x="68" y="0"/>
                      <a:pt x="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82" name="Freeform 81"/>
              <p:cNvSpPr>
                <a:spLocks noEditPoints="1"/>
              </p:cNvSpPr>
              <p:nvPr/>
            </p:nvSpPr>
            <p:spPr bwMode="auto">
              <a:xfrm>
                <a:off x="2971800" y="3169285"/>
                <a:ext cx="694055" cy="200660"/>
              </a:xfrm>
              <a:custGeom>
                <a:avLst/>
                <a:gdLst>
                  <a:gd name="T0" fmla="*/ 205 w 239"/>
                  <a:gd name="T1" fmla="*/ 0 h 69"/>
                  <a:gd name="T2" fmla="*/ 34 w 239"/>
                  <a:gd name="T3" fmla="*/ 0 h 69"/>
                  <a:gd name="T4" fmla="*/ 0 w 239"/>
                  <a:gd name="T5" fmla="*/ 34 h 69"/>
                  <a:gd name="T6" fmla="*/ 34 w 239"/>
                  <a:gd name="T7" fmla="*/ 69 h 69"/>
                  <a:gd name="T8" fmla="*/ 205 w 239"/>
                  <a:gd name="T9" fmla="*/ 69 h 69"/>
                  <a:gd name="T10" fmla="*/ 239 w 239"/>
                  <a:gd name="T11" fmla="*/ 34 h 69"/>
                  <a:gd name="T12" fmla="*/ 205 w 239"/>
                  <a:gd name="T13" fmla="*/ 0 h 69"/>
                  <a:gd name="T14" fmla="*/ 205 w 239"/>
                  <a:gd name="T15" fmla="*/ 0 h 69"/>
                  <a:gd name="T16" fmla="*/ 205 w 239"/>
                  <a:gd name="T1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69">
                    <a:moveTo>
                      <a:pt x="205" y="0"/>
                    </a:moveTo>
                    <a:cubicBezTo>
                      <a:pt x="34" y="0"/>
                      <a:pt x="34" y="0"/>
                      <a:pt x="34" y="0"/>
                    </a:cubicBezTo>
                    <a:cubicBezTo>
                      <a:pt x="15" y="0"/>
                      <a:pt x="0" y="16"/>
                      <a:pt x="0" y="34"/>
                    </a:cubicBezTo>
                    <a:cubicBezTo>
                      <a:pt x="0" y="53"/>
                      <a:pt x="15" y="69"/>
                      <a:pt x="34" y="69"/>
                    </a:cubicBezTo>
                    <a:cubicBezTo>
                      <a:pt x="205" y="69"/>
                      <a:pt x="205" y="69"/>
                      <a:pt x="205" y="69"/>
                    </a:cubicBezTo>
                    <a:cubicBezTo>
                      <a:pt x="224" y="69"/>
                      <a:pt x="239" y="53"/>
                      <a:pt x="239" y="34"/>
                    </a:cubicBezTo>
                    <a:cubicBezTo>
                      <a:pt x="239" y="16"/>
                      <a:pt x="224" y="0"/>
                      <a:pt x="205" y="0"/>
                    </a:cubicBezTo>
                    <a:close/>
                    <a:moveTo>
                      <a:pt x="205" y="0"/>
                    </a:moveTo>
                    <a:cubicBezTo>
                      <a:pt x="205" y="0"/>
                      <a:pt x="205" y="0"/>
                      <a:pt x="2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83" name="Freeform 82"/>
              <p:cNvSpPr>
                <a:spLocks noEditPoints="1"/>
              </p:cNvSpPr>
              <p:nvPr/>
            </p:nvSpPr>
            <p:spPr bwMode="auto">
              <a:xfrm>
                <a:off x="2971800" y="2774315"/>
                <a:ext cx="1191260" cy="197485"/>
              </a:xfrm>
              <a:custGeom>
                <a:avLst/>
                <a:gdLst>
                  <a:gd name="T0" fmla="*/ 375 w 410"/>
                  <a:gd name="T1" fmla="*/ 0 h 68"/>
                  <a:gd name="T2" fmla="*/ 34 w 410"/>
                  <a:gd name="T3" fmla="*/ 0 h 68"/>
                  <a:gd name="T4" fmla="*/ 0 w 410"/>
                  <a:gd name="T5" fmla="*/ 34 h 68"/>
                  <a:gd name="T6" fmla="*/ 34 w 410"/>
                  <a:gd name="T7" fmla="*/ 68 h 68"/>
                  <a:gd name="T8" fmla="*/ 375 w 410"/>
                  <a:gd name="T9" fmla="*/ 68 h 68"/>
                  <a:gd name="T10" fmla="*/ 410 w 410"/>
                  <a:gd name="T11" fmla="*/ 34 h 68"/>
                  <a:gd name="T12" fmla="*/ 375 w 410"/>
                  <a:gd name="T13" fmla="*/ 0 h 68"/>
                  <a:gd name="T14" fmla="*/ 375 w 410"/>
                  <a:gd name="T15" fmla="*/ 0 h 68"/>
                  <a:gd name="T16" fmla="*/ 375 w 410"/>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 h="68">
                    <a:moveTo>
                      <a:pt x="375" y="0"/>
                    </a:moveTo>
                    <a:cubicBezTo>
                      <a:pt x="34" y="0"/>
                      <a:pt x="34" y="0"/>
                      <a:pt x="34" y="0"/>
                    </a:cubicBezTo>
                    <a:cubicBezTo>
                      <a:pt x="15" y="0"/>
                      <a:pt x="0" y="15"/>
                      <a:pt x="0" y="34"/>
                    </a:cubicBezTo>
                    <a:cubicBezTo>
                      <a:pt x="0" y="53"/>
                      <a:pt x="15" y="68"/>
                      <a:pt x="34" y="68"/>
                    </a:cubicBezTo>
                    <a:cubicBezTo>
                      <a:pt x="375" y="68"/>
                      <a:pt x="375" y="68"/>
                      <a:pt x="375" y="68"/>
                    </a:cubicBezTo>
                    <a:cubicBezTo>
                      <a:pt x="394" y="68"/>
                      <a:pt x="410" y="53"/>
                      <a:pt x="410" y="34"/>
                    </a:cubicBezTo>
                    <a:cubicBezTo>
                      <a:pt x="410" y="15"/>
                      <a:pt x="394" y="0"/>
                      <a:pt x="375" y="0"/>
                    </a:cubicBezTo>
                    <a:close/>
                    <a:moveTo>
                      <a:pt x="375" y="0"/>
                    </a:moveTo>
                    <a:cubicBezTo>
                      <a:pt x="375" y="0"/>
                      <a:pt x="375" y="0"/>
                      <a:pt x="3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84" name="Freeform 83"/>
              <p:cNvSpPr>
                <a:spLocks noEditPoints="1"/>
              </p:cNvSpPr>
              <p:nvPr/>
            </p:nvSpPr>
            <p:spPr bwMode="auto">
              <a:xfrm>
                <a:off x="394970" y="1287145"/>
                <a:ext cx="296545" cy="197485"/>
              </a:xfrm>
              <a:custGeom>
                <a:avLst/>
                <a:gdLst>
                  <a:gd name="T0" fmla="*/ 34 w 102"/>
                  <a:gd name="T1" fmla="*/ 68 h 68"/>
                  <a:gd name="T2" fmla="*/ 68 w 102"/>
                  <a:gd name="T3" fmla="*/ 68 h 68"/>
                  <a:gd name="T4" fmla="*/ 102 w 102"/>
                  <a:gd name="T5" fmla="*/ 34 h 68"/>
                  <a:gd name="T6" fmla="*/ 68 w 102"/>
                  <a:gd name="T7" fmla="*/ 0 h 68"/>
                  <a:gd name="T8" fmla="*/ 34 w 102"/>
                  <a:gd name="T9" fmla="*/ 0 h 68"/>
                  <a:gd name="T10" fmla="*/ 0 w 102"/>
                  <a:gd name="T11" fmla="*/ 34 h 68"/>
                  <a:gd name="T12" fmla="*/ 34 w 102"/>
                  <a:gd name="T13" fmla="*/ 68 h 68"/>
                  <a:gd name="T14" fmla="*/ 34 w 102"/>
                  <a:gd name="T15" fmla="*/ 68 h 68"/>
                  <a:gd name="T16" fmla="*/ 34 w 102"/>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68">
                    <a:moveTo>
                      <a:pt x="34" y="68"/>
                    </a:moveTo>
                    <a:cubicBezTo>
                      <a:pt x="68" y="68"/>
                      <a:pt x="68" y="68"/>
                      <a:pt x="68" y="68"/>
                    </a:cubicBezTo>
                    <a:cubicBezTo>
                      <a:pt x="87" y="68"/>
                      <a:pt x="102" y="53"/>
                      <a:pt x="102" y="34"/>
                    </a:cubicBezTo>
                    <a:cubicBezTo>
                      <a:pt x="102" y="15"/>
                      <a:pt x="87" y="0"/>
                      <a:pt x="68" y="0"/>
                    </a:cubicBezTo>
                    <a:cubicBezTo>
                      <a:pt x="34" y="0"/>
                      <a:pt x="34" y="0"/>
                      <a:pt x="34" y="0"/>
                    </a:cubicBezTo>
                    <a:cubicBezTo>
                      <a:pt x="15" y="0"/>
                      <a:pt x="0" y="15"/>
                      <a:pt x="0" y="34"/>
                    </a:cubicBezTo>
                    <a:cubicBezTo>
                      <a:pt x="0" y="53"/>
                      <a:pt x="15" y="68"/>
                      <a:pt x="34" y="68"/>
                    </a:cubicBezTo>
                    <a:close/>
                    <a:moveTo>
                      <a:pt x="34" y="68"/>
                    </a:moveTo>
                    <a:cubicBezTo>
                      <a:pt x="34" y="68"/>
                      <a:pt x="34" y="68"/>
                      <a:pt x="34"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85" name="Freeform 84"/>
              <p:cNvSpPr>
                <a:spLocks noEditPoints="1"/>
              </p:cNvSpPr>
              <p:nvPr/>
            </p:nvSpPr>
            <p:spPr bwMode="auto">
              <a:xfrm>
                <a:off x="789940" y="1287145"/>
                <a:ext cx="398145" cy="197485"/>
              </a:xfrm>
              <a:custGeom>
                <a:avLst/>
                <a:gdLst>
                  <a:gd name="T0" fmla="*/ 34 w 137"/>
                  <a:gd name="T1" fmla="*/ 68 h 68"/>
                  <a:gd name="T2" fmla="*/ 102 w 137"/>
                  <a:gd name="T3" fmla="*/ 68 h 68"/>
                  <a:gd name="T4" fmla="*/ 137 w 137"/>
                  <a:gd name="T5" fmla="*/ 34 h 68"/>
                  <a:gd name="T6" fmla="*/ 102 w 137"/>
                  <a:gd name="T7" fmla="*/ 0 h 68"/>
                  <a:gd name="T8" fmla="*/ 34 w 137"/>
                  <a:gd name="T9" fmla="*/ 0 h 68"/>
                  <a:gd name="T10" fmla="*/ 0 w 137"/>
                  <a:gd name="T11" fmla="*/ 34 h 68"/>
                  <a:gd name="T12" fmla="*/ 34 w 137"/>
                  <a:gd name="T13" fmla="*/ 68 h 68"/>
                  <a:gd name="T14" fmla="*/ 34 w 137"/>
                  <a:gd name="T15" fmla="*/ 68 h 68"/>
                  <a:gd name="T16" fmla="*/ 34 w 137"/>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68">
                    <a:moveTo>
                      <a:pt x="34" y="68"/>
                    </a:moveTo>
                    <a:cubicBezTo>
                      <a:pt x="102" y="68"/>
                      <a:pt x="102" y="68"/>
                      <a:pt x="102" y="68"/>
                    </a:cubicBezTo>
                    <a:cubicBezTo>
                      <a:pt x="121" y="68"/>
                      <a:pt x="137" y="53"/>
                      <a:pt x="137" y="34"/>
                    </a:cubicBezTo>
                    <a:cubicBezTo>
                      <a:pt x="137" y="15"/>
                      <a:pt x="121" y="0"/>
                      <a:pt x="102" y="0"/>
                    </a:cubicBezTo>
                    <a:cubicBezTo>
                      <a:pt x="34" y="0"/>
                      <a:pt x="34" y="0"/>
                      <a:pt x="34" y="0"/>
                    </a:cubicBezTo>
                    <a:cubicBezTo>
                      <a:pt x="15" y="0"/>
                      <a:pt x="0" y="15"/>
                      <a:pt x="0" y="34"/>
                    </a:cubicBezTo>
                    <a:cubicBezTo>
                      <a:pt x="0" y="53"/>
                      <a:pt x="15" y="68"/>
                      <a:pt x="34" y="68"/>
                    </a:cubicBezTo>
                    <a:close/>
                    <a:moveTo>
                      <a:pt x="34" y="68"/>
                    </a:moveTo>
                    <a:cubicBezTo>
                      <a:pt x="34" y="68"/>
                      <a:pt x="34" y="68"/>
                      <a:pt x="34"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86" name="Freeform 85"/>
              <p:cNvSpPr>
                <a:spLocks noEditPoints="1"/>
              </p:cNvSpPr>
              <p:nvPr/>
            </p:nvSpPr>
            <p:spPr bwMode="auto">
              <a:xfrm>
                <a:off x="394970" y="1583055"/>
                <a:ext cx="793115" cy="197485"/>
              </a:xfrm>
              <a:custGeom>
                <a:avLst/>
                <a:gdLst>
                  <a:gd name="T0" fmla="*/ 34 w 273"/>
                  <a:gd name="T1" fmla="*/ 68 h 68"/>
                  <a:gd name="T2" fmla="*/ 238 w 273"/>
                  <a:gd name="T3" fmla="*/ 68 h 68"/>
                  <a:gd name="T4" fmla="*/ 273 w 273"/>
                  <a:gd name="T5" fmla="*/ 34 h 68"/>
                  <a:gd name="T6" fmla="*/ 238 w 273"/>
                  <a:gd name="T7" fmla="*/ 0 h 68"/>
                  <a:gd name="T8" fmla="*/ 34 w 273"/>
                  <a:gd name="T9" fmla="*/ 0 h 68"/>
                  <a:gd name="T10" fmla="*/ 0 w 273"/>
                  <a:gd name="T11" fmla="*/ 34 h 68"/>
                  <a:gd name="T12" fmla="*/ 34 w 273"/>
                  <a:gd name="T13" fmla="*/ 68 h 68"/>
                  <a:gd name="T14" fmla="*/ 34 w 273"/>
                  <a:gd name="T15" fmla="*/ 68 h 68"/>
                  <a:gd name="T16" fmla="*/ 34 w 273"/>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3" h="68">
                    <a:moveTo>
                      <a:pt x="34" y="68"/>
                    </a:moveTo>
                    <a:cubicBezTo>
                      <a:pt x="238" y="68"/>
                      <a:pt x="238" y="68"/>
                      <a:pt x="238" y="68"/>
                    </a:cubicBezTo>
                    <a:cubicBezTo>
                      <a:pt x="257" y="68"/>
                      <a:pt x="273" y="53"/>
                      <a:pt x="273" y="34"/>
                    </a:cubicBezTo>
                    <a:cubicBezTo>
                      <a:pt x="273" y="15"/>
                      <a:pt x="257" y="0"/>
                      <a:pt x="238" y="0"/>
                    </a:cubicBezTo>
                    <a:cubicBezTo>
                      <a:pt x="34" y="0"/>
                      <a:pt x="34" y="0"/>
                      <a:pt x="34" y="0"/>
                    </a:cubicBezTo>
                    <a:cubicBezTo>
                      <a:pt x="15" y="0"/>
                      <a:pt x="0" y="15"/>
                      <a:pt x="0" y="34"/>
                    </a:cubicBezTo>
                    <a:cubicBezTo>
                      <a:pt x="0" y="53"/>
                      <a:pt x="15" y="68"/>
                      <a:pt x="34" y="68"/>
                    </a:cubicBezTo>
                    <a:close/>
                    <a:moveTo>
                      <a:pt x="34" y="68"/>
                    </a:moveTo>
                    <a:cubicBezTo>
                      <a:pt x="34" y="68"/>
                      <a:pt x="34" y="68"/>
                      <a:pt x="34"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grpSp>
        <p:grpSp>
          <p:nvGrpSpPr>
            <p:cNvPr id="49" name="Group 48"/>
            <p:cNvGrpSpPr/>
            <p:nvPr/>
          </p:nvGrpSpPr>
          <p:grpSpPr>
            <a:xfrm>
              <a:off x="7515225" y="1104900"/>
              <a:ext cx="695325" cy="695325"/>
              <a:chOff x="3175" y="3175"/>
              <a:chExt cx="5937250" cy="5937250"/>
            </a:xfrm>
            <a:solidFill>
              <a:srgbClr val="111111"/>
            </a:solidFill>
          </p:grpSpPr>
          <p:sp>
            <p:nvSpPr>
              <p:cNvPr id="50" name="Freeform 49"/>
              <p:cNvSpPr>
                <a:spLocks noEditPoints="1"/>
              </p:cNvSpPr>
              <p:nvPr/>
            </p:nvSpPr>
            <p:spPr bwMode="auto">
              <a:xfrm>
                <a:off x="3175" y="3175"/>
                <a:ext cx="5937250" cy="5937250"/>
              </a:xfrm>
              <a:custGeom>
                <a:avLst/>
                <a:gdLst>
                  <a:gd name="T0" fmla="*/ 1687 w 1984"/>
                  <a:gd name="T1" fmla="*/ 1189 h 1984"/>
                  <a:gd name="T2" fmla="*/ 1984 w 1984"/>
                  <a:gd name="T3" fmla="*/ 1152 h 1984"/>
                  <a:gd name="T4" fmla="*/ 1632 w 1984"/>
                  <a:gd name="T5" fmla="*/ 1076 h 1984"/>
                  <a:gd name="T6" fmla="*/ 416 w 1984"/>
                  <a:gd name="T7" fmla="*/ 192 h 1984"/>
                  <a:gd name="T8" fmla="*/ 1216 w 1984"/>
                  <a:gd name="T9" fmla="*/ 1984 h 1984"/>
                  <a:gd name="T10" fmla="*/ 1632 w 1984"/>
                  <a:gd name="T11" fmla="*/ 1523 h 1984"/>
                  <a:gd name="T12" fmla="*/ 1888 w 1984"/>
                  <a:gd name="T13" fmla="*/ 1472 h 1984"/>
                  <a:gd name="T14" fmla="*/ 1888 w 1984"/>
                  <a:gd name="T15" fmla="*/ 1408 h 1984"/>
                  <a:gd name="T16" fmla="*/ 1390 w 1984"/>
                  <a:gd name="T17" fmla="*/ 1451 h 1984"/>
                  <a:gd name="T18" fmla="*/ 905 w 1984"/>
                  <a:gd name="T19" fmla="*/ 1408 h 1984"/>
                  <a:gd name="T20" fmla="*/ 1449 w 1984"/>
                  <a:gd name="T21" fmla="*/ 1216 h 1984"/>
                  <a:gd name="T22" fmla="*/ 1410 w 1984"/>
                  <a:gd name="T23" fmla="*/ 1024 h 1984"/>
                  <a:gd name="T24" fmla="*/ 1568 w 1984"/>
                  <a:gd name="T25" fmla="*/ 1533 h 1984"/>
                  <a:gd name="T26" fmla="*/ 1216 w 1984"/>
                  <a:gd name="T27" fmla="*/ 1623 h 1984"/>
                  <a:gd name="T28" fmla="*/ 1316 w 1984"/>
                  <a:gd name="T29" fmla="*/ 1493 h 1984"/>
                  <a:gd name="T30" fmla="*/ 1179 w 1984"/>
                  <a:gd name="T31" fmla="*/ 1561 h 1984"/>
                  <a:gd name="T32" fmla="*/ 1065 w 1984"/>
                  <a:gd name="T33" fmla="*/ 1547 h 1984"/>
                  <a:gd name="T34" fmla="*/ 1184 w 1984"/>
                  <a:gd name="T35" fmla="*/ 1472 h 1984"/>
                  <a:gd name="T36" fmla="*/ 1005 w 1984"/>
                  <a:gd name="T37" fmla="*/ 1517 h 1984"/>
                  <a:gd name="T38" fmla="*/ 1050 w 1984"/>
                  <a:gd name="T39" fmla="*/ 1688 h 1984"/>
                  <a:gd name="T40" fmla="*/ 1128 w 1984"/>
                  <a:gd name="T41" fmla="*/ 1664 h 1984"/>
                  <a:gd name="T42" fmla="*/ 64 w 1984"/>
                  <a:gd name="T43" fmla="*/ 1920 h 1984"/>
                  <a:gd name="T44" fmla="*/ 480 w 1984"/>
                  <a:gd name="T45" fmla="*/ 64 h 1984"/>
                  <a:gd name="T46" fmla="*/ 1499 w 1984"/>
                  <a:gd name="T47" fmla="*/ 987 h 1984"/>
                  <a:gd name="T48" fmla="*/ 1541 w 1984"/>
                  <a:gd name="T49" fmla="*/ 467 h 1984"/>
                  <a:gd name="T50" fmla="*/ 1418 w 1984"/>
                  <a:gd name="T51" fmla="*/ 320 h 1984"/>
                  <a:gd name="T52" fmla="*/ 1216 w 1984"/>
                  <a:gd name="T53" fmla="*/ 192 h 1984"/>
                  <a:gd name="T54" fmla="*/ 1152 w 1984"/>
                  <a:gd name="T55" fmla="*/ 256 h 1984"/>
                  <a:gd name="T56" fmla="*/ 991 w 1984"/>
                  <a:gd name="T57" fmla="*/ 992 h 1984"/>
                  <a:gd name="T58" fmla="*/ 924 w 1984"/>
                  <a:gd name="T59" fmla="*/ 1056 h 1984"/>
                  <a:gd name="T60" fmla="*/ 672 w 1984"/>
                  <a:gd name="T61" fmla="*/ 1184 h 1984"/>
                  <a:gd name="T62" fmla="*/ 713 w 1984"/>
                  <a:gd name="T63" fmla="*/ 1308 h 1984"/>
                  <a:gd name="T64" fmla="*/ 841 w 1984"/>
                  <a:gd name="T65" fmla="*/ 1408 h 1984"/>
                  <a:gd name="T66" fmla="*/ 1263 w 1984"/>
                  <a:gd name="T67" fmla="*/ 1248 h 1984"/>
                  <a:gd name="T68" fmla="*/ 1389 w 1984"/>
                  <a:gd name="T69" fmla="*/ 785 h 1984"/>
                  <a:gd name="T70" fmla="*/ 1086 w 1984"/>
                  <a:gd name="T71" fmla="*/ 1024 h 1984"/>
                  <a:gd name="T72" fmla="*/ 1005 w 1984"/>
                  <a:gd name="T73" fmla="*/ 1167 h 1984"/>
                  <a:gd name="T74" fmla="*/ 777 w 1984"/>
                  <a:gd name="T75" fmla="*/ 1308 h 1984"/>
                  <a:gd name="T76" fmla="*/ 1050 w 1984"/>
                  <a:gd name="T77" fmla="*/ 1212 h 1984"/>
                  <a:gd name="T78" fmla="*/ 1014 w 1984"/>
                  <a:gd name="T79" fmla="*/ 1248 h 1984"/>
                  <a:gd name="T80" fmla="*/ 1440 w 1984"/>
                  <a:gd name="T81" fmla="*/ 596 h 1984"/>
                  <a:gd name="T82" fmla="*/ 1418 w 1984"/>
                  <a:gd name="T83" fmla="*/ 384 h 1984"/>
                  <a:gd name="T84" fmla="*/ 1479 w 1984"/>
                  <a:gd name="T85" fmla="*/ 451 h 1984"/>
                  <a:gd name="T86" fmla="*/ 1405 w 1984"/>
                  <a:gd name="T87" fmla="*/ 723 h 1984"/>
                  <a:gd name="T88" fmla="*/ 1353 w 1984"/>
                  <a:gd name="T89" fmla="*/ 1184 h 1984"/>
                  <a:gd name="T90" fmla="*/ 1330 w 1984"/>
                  <a:gd name="T91" fmla="*/ 1248 h 1984"/>
                  <a:gd name="T92" fmla="*/ 1353 w 1984"/>
                  <a:gd name="T93" fmla="*/ 1184 h 1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4" h="1984">
                    <a:moveTo>
                      <a:pt x="1410" y="1024"/>
                    </a:moveTo>
                    <a:cubicBezTo>
                      <a:pt x="1429" y="1024"/>
                      <a:pt x="1447" y="1030"/>
                      <a:pt x="1463" y="1040"/>
                    </a:cubicBezTo>
                    <a:cubicBezTo>
                      <a:pt x="1687" y="1189"/>
                      <a:pt x="1687" y="1189"/>
                      <a:pt x="1687" y="1189"/>
                    </a:cubicBezTo>
                    <a:cubicBezTo>
                      <a:pt x="1713" y="1207"/>
                      <a:pt x="1744" y="1216"/>
                      <a:pt x="1776" y="1216"/>
                    </a:cubicBezTo>
                    <a:cubicBezTo>
                      <a:pt x="1984" y="1216"/>
                      <a:pt x="1984" y="1216"/>
                      <a:pt x="1984" y="1216"/>
                    </a:cubicBezTo>
                    <a:cubicBezTo>
                      <a:pt x="1984" y="1152"/>
                      <a:pt x="1984" y="1152"/>
                      <a:pt x="1984" y="1152"/>
                    </a:cubicBezTo>
                    <a:cubicBezTo>
                      <a:pt x="1776" y="1152"/>
                      <a:pt x="1776" y="1152"/>
                      <a:pt x="1776" y="1152"/>
                    </a:cubicBezTo>
                    <a:cubicBezTo>
                      <a:pt x="1757" y="1152"/>
                      <a:pt x="1738" y="1146"/>
                      <a:pt x="1722" y="1136"/>
                    </a:cubicBezTo>
                    <a:cubicBezTo>
                      <a:pt x="1632" y="1076"/>
                      <a:pt x="1632" y="1076"/>
                      <a:pt x="1632" y="1076"/>
                    </a:cubicBezTo>
                    <a:cubicBezTo>
                      <a:pt x="1632" y="0"/>
                      <a:pt x="1632" y="0"/>
                      <a:pt x="1632" y="0"/>
                    </a:cubicBezTo>
                    <a:cubicBezTo>
                      <a:pt x="416" y="0"/>
                      <a:pt x="416" y="0"/>
                      <a:pt x="416" y="0"/>
                    </a:cubicBezTo>
                    <a:cubicBezTo>
                      <a:pt x="416" y="192"/>
                      <a:pt x="416" y="192"/>
                      <a:pt x="416" y="192"/>
                    </a:cubicBezTo>
                    <a:cubicBezTo>
                      <a:pt x="0" y="192"/>
                      <a:pt x="0" y="192"/>
                      <a:pt x="0" y="192"/>
                    </a:cubicBezTo>
                    <a:cubicBezTo>
                      <a:pt x="0" y="1984"/>
                      <a:pt x="0" y="1984"/>
                      <a:pt x="0" y="1984"/>
                    </a:cubicBezTo>
                    <a:cubicBezTo>
                      <a:pt x="1216" y="1984"/>
                      <a:pt x="1216" y="1984"/>
                      <a:pt x="1216" y="1984"/>
                    </a:cubicBezTo>
                    <a:cubicBezTo>
                      <a:pt x="1216" y="1792"/>
                      <a:pt x="1216" y="1792"/>
                      <a:pt x="1216" y="1792"/>
                    </a:cubicBezTo>
                    <a:cubicBezTo>
                      <a:pt x="1632" y="1792"/>
                      <a:pt x="1632" y="1792"/>
                      <a:pt x="1632" y="1792"/>
                    </a:cubicBezTo>
                    <a:cubicBezTo>
                      <a:pt x="1632" y="1523"/>
                      <a:pt x="1632" y="1523"/>
                      <a:pt x="1632" y="1523"/>
                    </a:cubicBezTo>
                    <a:cubicBezTo>
                      <a:pt x="1634" y="1522"/>
                      <a:pt x="1636" y="1522"/>
                      <a:pt x="1638" y="1522"/>
                    </a:cubicBezTo>
                    <a:cubicBezTo>
                      <a:pt x="1787" y="1484"/>
                      <a:pt x="1787" y="1484"/>
                      <a:pt x="1787" y="1484"/>
                    </a:cubicBezTo>
                    <a:cubicBezTo>
                      <a:pt x="1820" y="1476"/>
                      <a:pt x="1854" y="1472"/>
                      <a:pt x="1888" y="1472"/>
                    </a:cubicBezTo>
                    <a:cubicBezTo>
                      <a:pt x="1984" y="1472"/>
                      <a:pt x="1984" y="1472"/>
                      <a:pt x="1984" y="1472"/>
                    </a:cubicBezTo>
                    <a:cubicBezTo>
                      <a:pt x="1984" y="1408"/>
                      <a:pt x="1984" y="1408"/>
                      <a:pt x="1984" y="1408"/>
                    </a:cubicBezTo>
                    <a:cubicBezTo>
                      <a:pt x="1888" y="1408"/>
                      <a:pt x="1888" y="1408"/>
                      <a:pt x="1888" y="1408"/>
                    </a:cubicBezTo>
                    <a:cubicBezTo>
                      <a:pt x="1849" y="1408"/>
                      <a:pt x="1810" y="1413"/>
                      <a:pt x="1771" y="1422"/>
                    </a:cubicBezTo>
                    <a:cubicBezTo>
                      <a:pt x="1623" y="1460"/>
                      <a:pt x="1623" y="1460"/>
                      <a:pt x="1623" y="1460"/>
                    </a:cubicBezTo>
                    <a:cubicBezTo>
                      <a:pt x="1546" y="1479"/>
                      <a:pt x="1465" y="1476"/>
                      <a:pt x="1390" y="1451"/>
                    </a:cubicBezTo>
                    <a:cubicBezTo>
                      <a:pt x="1336" y="1433"/>
                      <a:pt x="1336" y="1433"/>
                      <a:pt x="1336" y="1433"/>
                    </a:cubicBezTo>
                    <a:cubicBezTo>
                      <a:pt x="1287" y="1416"/>
                      <a:pt x="1236" y="1408"/>
                      <a:pt x="1184" y="1408"/>
                    </a:cubicBezTo>
                    <a:cubicBezTo>
                      <a:pt x="905" y="1408"/>
                      <a:pt x="905" y="1408"/>
                      <a:pt x="905" y="1408"/>
                    </a:cubicBezTo>
                    <a:cubicBezTo>
                      <a:pt x="905" y="1355"/>
                      <a:pt x="948" y="1312"/>
                      <a:pt x="1001" y="1312"/>
                    </a:cubicBezTo>
                    <a:cubicBezTo>
                      <a:pt x="1353" y="1312"/>
                      <a:pt x="1353" y="1312"/>
                      <a:pt x="1353" y="1312"/>
                    </a:cubicBezTo>
                    <a:cubicBezTo>
                      <a:pt x="1406" y="1312"/>
                      <a:pt x="1449" y="1269"/>
                      <a:pt x="1449" y="1216"/>
                    </a:cubicBezTo>
                    <a:cubicBezTo>
                      <a:pt x="1449" y="1167"/>
                      <a:pt x="1412" y="1127"/>
                      <a:pt x="1364" y="1121"/>
                    </a:cubicBezTo>
                    <a:cubicBezTo>
                      <a:pt x="1390" y="1024"/>
                      <a:pt x="1390" y="1024"/>
                      <a:pt x="1390" y="1024"/>
                    </a:cubicBezTo>
                    <a:lnTo>
                      <a:pt x="1410" y="1024"/>
                    </a:lnTo>
                    <a:close/>
                    <a:moveTo>
                      <a:pt x="1370" y="1511"/>
                    </a:moveTo>
                    <a:cubicBezTo>
                      <a:pt x="1419" y="1528"/>
                      <a:pt x="1470" y="1536"/>
                      <a:pt x="1522" y="1536"/>
                    </a:cubicBezTo>
                    <a:cubicBezTo>
                      <a:pt x="1537" y="1536"/>
                      <a:pt x="1553" y="1535"/>
                      <a:pt x="1568" y="1533"/>
                    </a:cubicBezTo>
                    <a:cubicBezTo>
                      <a:pt x="1568" y="1728"/>
                      <a:pt x="1568" y="1728"/>
                      <a:pt x="1568" y="1728"/>
                    </a:cubicBezTo>
                    <a:cubicBezTo>
                      <a:pt x="1216" y="1728"/>
                      <a:pt x="1216" y="1728"/>
                      <a:pt x="1216" y="1728"/>
                    </a:cubicBezTo>
                    <a:cubicBezTo>
                      <a:pt x="1216" y="1623"/>
                      <a:pt x="1216" y="1623"/>
                      <a:pt x="1216" y="1623"/>
                    </a:cubicBezTo>
                    <a:cubicBezTo>
                      <a:pt x="1227" y="1610"/>
                      <a:pt x="1236" y="1595"/>
                      <a:pt x="1241" y="1578"/>
                    </a:cubicBezTo>
                    <a:cubicBezTo>
                      <a:pt x="1267" y="1481"/>
                      <a:pt x="1267" y="1481"/>
                      <a:pt x="1267" y="1481"/>
                    </a:cubicBezTo>
                    <a:cubicBezTo>
                      <a:pt x="1283" y="1484"/>
                      <a:pt x="1300" y="1488"/>
                      <a:pt x="1316" y="1493"/>
                    </a:cubicBezTo>
                    <a:lnTo>
                      <a:pt x="1370" y="1511"/>
                    </a:lnTo>
                    <a:close/>
                    <a:moveTo>
                      <a:pt x="1203" y="1473"/>
                    </a:moveTo>
                    <a:cubicBezTo>
                      <a:pt x="1179" y="1561"/>
                      <a:pt x="1179" y="1561"/>
                      <a:pt x="1179" y="1561"/>
                    </a:cubicBezTo>
                    <a:cubicBezTo>
                      <a:pt x="1173" y="1584"/>
                      <a:pt x="1152" y="1600"/>
                      <a:pt x="1128" y="1600"/>
                    </a:cubicBezTo>
                    <a:cubicBezTo>
                      <a:pt x="1118" y="1600"/>
                      <a:pt x="1118" y="1600"/>
                      <a:pt x="1118" y="1600"/>
                    </a:cubicBezTo>
                    <a:cubicBezTo>
                      <a:pt x="1088" y="1600"/>
                      <a:pt x="1065" y="1576"/>
                      <a:pt x="1065" y="1547"/>
                    </a:cubicBezTo>
                    <a:cubicBezTo>
                      <a:pt x="1065" y="1543"/>
                      <a:pt x="1065" y="1538"/>
                      <a:pt x="1067" y="1533"/>
                    </a:cubicBezTo>
                    <a:cubicBezTo>
                      <a:pt x="1083" y="1472"/>
                      <a:pt x="1083" y="1472"/>
                      <a:pt x="1083" y="1472"/>
                    </a:cubicBezTo>
                    <a:cubicBezTo>
                      <a:pt x="1184" y="1472"/>
                      <a:pt x="1184" y="1472"/>
                      <a:pt x="1184" y="1472"/>
                    </a:cubicBezTo>
                    <a:cubicBezTo>
                      <a:pt x="1190" y="1472"/>
                      <a:pt x="1196" y="1472"/>
                      <a:pt x="1203" y="1473"/>
                    </a:cubicBezTo>
                    <a:close/>
                    <a:moveTo>
                      <a:pt x="1017" y="1472"/>
                    </a:moveTo>
                    <a:cubicBezTo>
                      <a:pt x="1005" y="1517"/>
                      <a:pt x="1005" y="1517"/>
                      <a:pt x="1005" y="1517"/>
                    </a:cubicBezTo>
                    <a:cubicBezTo>
                      <a:pt x="1002" y="1527"/>
                      <a:pt x="1001" y="1537"/>
                      <a:pt x="1001" y="1547"/>
                    </a:cubicBezTo>
                    <a:cubicBezTo>
                      <a:pt x="1001" y="1591"/>
                      <a:pt x="1025" y="1628"/>
                      <a:pt x="1060" y="1648"/>
                    </a:cubicBezTo>
                    <a:cubicBezTo>
                      <a:pt x="1050" y="1688"/>
                      <a:pt x="1050" y="1688"/>
                      <a:pt x="1050" y="1688"/>
                    </a:cubicBezTo>
                    <a:cubicBezTo>
                      <a:pt x="1112" y="1704"/>
                      <a:pt x="1112" y="1704"/>
                      <a:pt x="1112" y="1704"/>
                    </a:cubicBezTo>
                    <a:cubicBezTo>
                      <a:pt x="1122" y="1664"/>
                      <a:pt x="1122" y="1664"/>
                      <a:pt x="1122" y="1664"/>
                    </a:cubicBezTo>
                    <a:cubicBezTo>
                      <a:pt x="1128" y="1664"/>
                      <a:pt x="1128" y="1664"/>
                      <a:pt x="1128" y="1664"/>
                    </a:cubicBezTo>
                    <a:cubicBezTo>
                      <a:pt x="1136" y="1664"/>
                      <a:pt x="1144" y="1663"/>
                      <a:pt x="1152" y="1661"/>
                    </a:cubicBezTo>
                    <a:cubicBezTo>
                      <a:pt x="1152" y="1920"/>
                      <a:pt x="1152" y="1920"/>
                      <a:pt x="1152" y="1920"/>
                    </a:cubicBezTo>
                    <a:cubicBezTo>
                      <a:pt x="64" y="1920"/>
                      <a:pt x="64" y="1920"/>
                      <a:pt x="64" y="1920"/>
                    </a:cubicBezTo>
                    <a:cubicBezTo>
                      <a:pt x="64" y="256"/>
                      <a:pt x="64" y="256"/>
                      <a:pt x="64" y="256"/>
                    </a:cubicBezTo>
                    <a:cubicBezTo>
                      <a:pt x="480" y="256"/>
                      <a:pt x="480" y="256"/>
                      <a:pt x="480" y="256"/>
                    </a:cubicBezTo>
                    <a:cubicBezTo>
                      <a:pt x="480" y="64"/>
                      <a:pt x="480" y="64"/>
                      <a:pt x="480" y="64"/>
                    </a:cubicBezTo>
                    <a:cubicBezTo>
                      <a:pt x="1568" y="64"/>
                      <a:pt x="1568" y="64"/>
                      <a:pt x="1568" y="64"/>
                    </a:cubicBezTo>
                    <a:cubicBezTo>
                      <a:pt x="1568" y="1033"/>
                      <a:pt x="1568" y="1033"/>
                      <a:pt x="1568" y="1033"/>
                    </a:cubicBezTo>
                    <a:cubicBezTo>
                      <a:pt x="1499" y="987"/>
                      <a:pt x="1499" y="987"/>
                      <a:pt x="1499" y="987"/>
                    </a:cubicBezTo>
                    <a:cubicBezTo>
                      <a:pt x="1472" y="969"/>
                      <a:pt x="1442" y="960"/>
                      <a:pt x="1410" y="960"/>
                    </a:cubicBezTo>
                    <a:cubicBezTo>
                      <a:pt x="1408" y="960"/>
                      <a:pt x="1408" y="960"/>
                      <a:pt x="1408" y="960"/>
                    </a:cubicBezTo>
                    <a:cubicBezTo>
                      <a:pt x="1541" y="467"/>
                      <a:pt x="1541" y="467"/>
                      <a:pt x="1541" y="467"/>
                    </a:cubicBezTo>
                    <a:cubicBezTo>
                      <a:pt x="1543" y="457"/>
                      <a:pt x="1545" y="447"/>
                      <a:pt x="1545" y="437"/>
                    </a:cubicBezTo>
                    <a:cubicBezTo>
                      <a:pt x="1545" y="372"/>
                      <a:pt x="1492" y="320"/>
                      <a:pt x="1428" y="320"/>
                    </a:cubicBezTo>
                    <a:cubicBezTo>
                      <a:pt x="1418" y="320"/>
                      <a:pt x="1418" y="320"/>
                      <a:pt x="1418" y="320"/>
                    </a:cubicBezTo>
                    <a:cubicBezTo>
                      <a:pt x="1365" y="320"/>
                      <a:pt x="1319" y="355"/>
                      <a:pt x="1305" y="406"/>
                    </a:cubicBezTo>
                    <a:cubicBezTo>
                      <a:pt x="1216" y="735"/>
                      <a:pt x="1216" y="735"/>
                      <a:pt x="1216" y="735"/>
                    </a:cubicBezTo>
                    <a:cubicBezTo>
                      <a:pt x="1216" y="192"/>
                      <a:pt x="1216" y="192"/>
                      <a:pt x="1216" y="192"/>
                    </a:cubicBezTo>
                    <a:cubicBezTo>
                      <a:pt x="544" y="192"/>
                      <a:pt x="544" y="192"/>
                      <a:pt x="544" y="192"/>
                    </a:cubicBezTo>
                    <a:cubicBezTo>
                      <a:pt x="544" y="256"/>
                      <a:pt x="544" y="256"/>
                      <a:pt x="544" y="256"/>
                    </a:cubicBezTo>
                    <a:cubicBezTo>
                      <a:pt x="1152" y="256"/>
                      <a:pt x="1152" y="256"/>
                      <a:pt x="1152" y="256"/>
                    </a:cubicBezTo>
                    <a:cubicBezTo>
                      <a:pt x="1152" y="960"/>
                      <a:pt x="1152" y="960"/>
                      <a:pt x="1152" y="960"/>
                    </a:cubicBezTo>
                    <a:cubicBezTo>
                      <a:pt x="1086" y="960"/>
                      <a:pt x="1086" y="960"/>
                      <a:pt x="1086" y="960"/>
                    </a:cubicBezTo>
                    <a:cubicBezTo>
                      <a:pt x="1051" y="960"/>
                      <a:pt x="1018" y="972"/>
                      <a:pt x="991" y="992"/>
                    </a:cubicBezTo>
                    <a:cubicBezTo>
                      <a:pt x="672" y="992"/>
                      <a:pt x="672" y="992"/>
                      <a:pt x="672" y="992"/>
                    </a:cubicBezTo>
                    <a:cubicBezTo>
                      <a:pt x="672" y="1056"/>
                      <a:pt x="672" y="1056"/>
                      <a:pt x="672" y="1056"/>
                    </a:cubicBezTo>
                    <a:cubicBezTo>
                      <a:pt x="924" y="1056"/>
                      <a:pt x="924" y="1056"/>
                      <a:pt x="924" y="1056"/>
                    </a:cubicBezTo>
                    <a:cubicBezTo>
                      <a:pt x="860" y="1120"/>
                      <a:pt x="860" y="1120"/>
                      <a:pt x="860" y="1120"/>
                    </a:cubicBezTo>
                    <a:cubicBezTo>
                      <a:pt x="672" y="1120"/>
                      <a:pt x="672" y="1120"/>
                      <a:pt x="672" y="1120"/>
                    </a:cubicBezTo>
                    <a:cubicBezTo>
                      <a:pt x="672" y="1184"/>
                      <a:pt x="672" y="1184"/>
                      <a:pt x="672" y="1184"/>
                    </a:cubicBezTo>
                    <a:cubicBezTo>
                      <a:pt x="796" y="1184"/>
                      <a:pt x="796" y="1184"/>
                      <a:pt x="796" y="1184"/>
                    </a:cubicBezTo>
                    <a:cubicBezTo>
                      <a:pt x="742" y="1237"/>
                      <a:pt x="742" y="1237"/>
                      <a:pt x="742" y="1237"/>
                    </a:cubicBezTo>
                    <a:cubicBezTo>
                      <a:pt x="723" y="1256"/>
                      <a:pt x="713" y="1281"/>
                      <a:pt x="713" y="1308"/>
                    </a:cubicBezTo>
                    <a:cubicBezTo>
                      <a:pt x="713" y="1363"/>
                      <a:pt x="758" y="1408"/>
                      <a:pt x="813" y="1408"/>
                    </a:cubicBezTo>
                    <a:cubicBezTo>
                      <a:pt x="823" y="1408"/>
                      <a:pt x="832" y="1406"/>
                      <a:pt x="841" y="1403"/>
                    </a:cubicBezTo>
                    <a:cubicBezTo>
                      <a:pt x="841" y="1405"/>
                      <a:pt x="841" y="1406"/>
                      <a:pt x="841" y="1408"/>
                    </a:cubicBezTo>
                    <a:cubicBezTo>
                      <a:pt x="841" y="1443"/>
                      <a:pt x="870" y="1472"/>
                      <a:pt x="905" y="1472"/>
                    </a:cubicBezTo>
                    <a:lnTo>
                      <a:pt x="1017" y="1472"/>
                    </a:lnTo>
                    <a:close/>
                    <a:moveTo>
                      <a:pt x="1263" y="1248"/>
                    </a:moveTo>
                    <a:cubicBezTo>
                      <a:pt x="1144" y="1248"/>
                      <a:pt x="1144" y="1248"/>
                      <a:pt x="1144" y="1248"/>
                    </a:cubicBezTo>
                    <a:cubicBezTo>
                      <a:pt x="1279" y="748"/>
                      <a:pt x="1279" y="748"/>
                      <a:pt x="1279" y="748"/>
                    </a:cubicBezTo>
                    <a:cubicBezTo>
                      <a:pt x="1389" y="785"/>
                      <a:pt x="1389" y="785"/>
                      <a:pt x="1389" y="785"/>
                    </a:cubicBezTo>
                    <a:lnTo>
                      <a:pt x="1263" y="1248"/>
                    </a:lnTo>
                    <a:close/>
                    <a:moveTo>
                      <a:pt x="1018" y="1052"/>
                    </a:moveTo>
                    <a:cubicBezTo>
                      <a:pt x="1036" y="1034"/>
                      <a:pt x="1061" y="1024"/>
                      <a:pt x="1086" y="1024"/>
                    </a:cubicBezTo>
                    <a:cubicBezTo>
                      <a:pt x="1138" y="1024"/>
                      <a:pt x="1138" y="1024"/>
                      <a:pt x="1138" y="1024"/>
                    </a:cubicBezTo>
                    <a:cubicBezTo>
                      <a:pt x="1112" y="1121"/>
                      <a:pt x="1112" y="1121"/>
                      <a:pt x="1112" y="1121"/>
                    </a:cubicBezTo>
                    <a:cubicBezTo>
                      <a:pt x="1071" y="1122"/>
                      <a:pt x="1033" y="1138"/>
                      <a:pt x="1005" y="1167"/>
                    </a:cubicBezTo>
                    <a:cubicBezTo>
                      <a:pt x="838" y="1333"/>
                      <a:pt x="838" y="1333"/>
                      <a:pt x="838" y="1333"/>
                    </a:cubicBezTo>
                    <a:cubicBezTo>
                      <a:pt x="831" y="1340"/>
                      <a:pt x="822" y="1344"/>
                      <a:pt x="813" y="1344"/>
                    </a:cubicBezTo>
                    <a:cubicBezTo>
                      <a:pt x="793" y="1344"/>
                      <a:pt x="777" y="1328"/>
                      <a:pt x="777" y="1308"/>
                    </a:cubicBezTo>
                    <a:cubicBezTo>
                      <a:pt x="777" y="1299"/>
                      <a:pt x="781" y="1290"/>
                      <a:pt x="787" y="1283"/>
                    </a:cubicBezTo>
                    <a:lnTo>
                      <a:pt x="1018" y="1052"/>
                    </a:lnTo>
                    <a:close/>
                    <a:moveTo>
                      <a:pt x="1050" y="1212"/>
                    </a:moveTo>
                    <a:cubicBezTo>
                      <a:pt x="1062" y="1200"/>
                      <a:pt x="1077" y="1192"/>
                      <a:pt x="1094" y="1187"/>
                    </a:cubicBezTo>
                    <a:cubicBezTo>
                      <a:pt x="1077" y="1248"/>
                      <a:pt x="1077" y="1248"/>
                      <a:pt x="1077" y="1248"/>
                    </a:cubicBezTo>
                    <a:cubicBezTo>
                      <a:pt x="1014" y="1248"/>
                      <a:pt x="1014" y="1248"/>
                      <a:pt x="1014" y="1248"/>
                    </a:cubicBezTo>
                    <a:lnTo>
                      <a:pt x="1050" y="1212"/>
                    </a:lnTo>
                    <a:close/>
                    <a:moveTo>
                      <a:pt x="1479" y="451"/>
                    </a:moveTo>
                    <a:cubicBezTo>
                      <a:pt x="1440" y="596"/>
                      <a:pt x="1440" y="596"/>
                      <a:pt x="1440" y="596"/>
                    </a:cubicBezTo>
                    <a:cubicBezTo>
                      <a:pt x="1330" y="559"/>
                      <a:pt x="1330" y="559"/>
                      <a:pt x="1330" y="559"/>
                    </a:cubicBezTo>
                    <a:cubicBezTo>
                      <a:pt x="1367" y="423"/>
                      <a:pt x="1367" y="423"/>
                      <a:pt x="1367" y="423"/>
                    </a:cubicBezTo>
                    <a:cubicBezTo>
                      <a:pt x="1373" y="400"/>
                      <a:pt x="1394" y="384"/>
                      <a:pt x="1418" y="384"/>
                    </a:cubicBezTo>
                    <a:cubicBezTo>
                      <a:pt x="1428" y="384"/>
                      <a:pt x="1428" y="384"/>
                      <a:pt x="1428" y="384"/>
                    </a:cubicBezTo>
                    <a:cubicBezTo>
                      <a:pt x="1457" y="384"/>
                      <a:pt x="1481" y="408"/>
                      <a:pt x="1481" y="437"/>
                    </a:cubicBezTo>
                    <a:cubicBezTo>
                      <a:pt x="1481" y="441"/>
                      <a:pt x="1480" y="446"/>
                      <a:pt x="1479" y="451"/>
                    </a:cubicBezTo>
                    <a:close/>
                    <a:moveTo>
                      <a:pt x="1313" y="621"/>
                    </a:moveTo>
                    <a:cubicBezTo>
                      <a:pt x="1423" y="657"/>
                      <a:pt x="1423" y="657"/>
                      <a:pt x="1423" y="657"/>
                    </a:cubicBezTo>
                    <a:cubicBezTo>
                      <a:pt x="1405" y="723"/>
                      <a:pt x="1405" y="723"/>
                      <a:pt x="1405" y="723"/>
                    </a:cubicBezTo>
                    <a:cubicBezTo>
                      <a:pt x="1296" y="686"/>
                      <a:pt x="1296" y="686"/>
                      <a:pt x="1296" y="686"/>
                    </a:cubicBezTo>
                    <a:lnTo>
                      <a:pt x="1313" y="621"/>
                    </a:lnTo>
                    <a:close/>
                    <a:moveTo>
                      <a:pt x="1353" y="1184"/>
                    </a:moveTo>
                    <a:cubicBezTo>
                      <a:pt x="1370" y="1184"/>
                      <a:pt x="1385" y="1198"/>
                      <a:pt x="1385" y="1216"/>
                    </a:cubicBezTo>
                    <a:cubicBezTo>
                      <a:pt x="1385" y="1234"/>
                      <a:pt x="1370" y="1248"/>
                      <a:pt x="1353" y="1248"/>
                    </a:cubicBezTo>
                    <a:cubicBezTo>
                      <a:pt x="1330" y="1248"/>
                      <a:pt x="1330" y="1248"/>
                      <a:pt x="1330" y="1248"/>
                    </a:cubicBezTo>
                    <a:cubicBezTo>
                      <a:pt x="1347" y="1184"/>
                      <a:pt x="1347" y="1184"/>
                      <a:pt x="1347" y="1184"/>
                    </a:cubicBezTo>
                    <a:lnTo>
                      <a:pt x="1353" y="1184"/>
                    </a:lnTo>
                    <a:close/>
                    <a:moveTo>
                      <a:pt x="1353" y="1184"/>
                    </a:moveTo>
                    <a:cubicBezTo>
                      <a:pt x="1353" y="1184"/>
                      <a:pt x="1353" y="1184"/>
                      <a:pt x="1353" y="118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51" name="Freeform 50"/>
              <p:cNvSpPr>
                <a:spLocks noEditPoints="1"/>
              </p:cNvSpPr>
              <p:nvPr/>
            </p:nvSpPr>
            <p:spPr bwMode="auto">
              <a:xfrm>
                <a:off x="386080" y="960755"/>
                <a:ext cx="2489835" cy="957580"/>
              </a:xfrm>
              <a:custGeom>
                <a:avLst/>
                <a:gdLst>
                  <a:gd name="T0" fmla="*/ 3921 w 3921"/>
                  <a:gd name="T1" fmla="*/ 0 h 1508"/>
                  <a:gd name="T2" fmla="*/ 0 w 3921"/>
                  <a:gd name="T3" fmla="*/ 0 h 1508"/>
                  <a:gd name="T4" fmla="*/ 0 w 3921"/>
                  <a:gd name="T5" fmla="*/ 1508 h 1508"/>
                  <a:gd name="T6" fmla="*/ 3921 w 3921"/>
                  <a:gd name="T7" fmla="*/ 1508 h 1508"/>
                  <a:gd name="T8" fmla="*/ 3921 w 3921"/>
                  <a:gd name="T9" fmla="*/ 0 h 1508"/>
                  <a:gd name="T10" fmla="*/ 3620 w 3921"/>
                  <a:gd name="T11" fmla="*/ 1206 h 1508"/>
                  <a:gd name="T12" fmla="*/ 302 w 3921"/>
                  <a:gd name="T13" fmla="*/ 1206 h 1508"/>
                  <a:gd name="T14" fmla="*/ 302 w 3921"/>
                  <a:gd name="T15" fmla="*/ 302 h 1508"/>
                  <a:gd name="T16" fmla="*/ 3620 w 3921"/>
                  <a:gd name="T17" fmla="*/ 302 h 1508"/>
                  <a:gd name="T18" fmla="*/ 3620 w 3921"/>
                  <a:gd name="T19" fmla="*/ 1206 h 1508"/>
                  <a:gd name="T20" fmla="*/ 3620 w 3921"/>
                  <a:gd name="T21" fmla="*/ 1206 h 1508"/>
                  <a:gd name="T22" fmla="*/ 3620 w 3921"/>
                  <a:gd name="T23" fmla="*/ 1206 h 1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1" h="1508">
                    <a:moveTo>
                      <a:pt x="3921" y="0"/>
                    </a:moveTo>
                    <a:lnTo>
                      <a:pt x="0" y="0"/>
                    </a:lnTo>
                    <a:lnTo>
                      <a:pt x="0" y="1508"/>
                    </a:lnTo>
                    <a:lnTo>
                      <a:pt x="3921" y="1508"/>
                    </a:lnTo>
                    <a:lnTo>
                      <a:pt x="3921" y="0"/>
                    </a:lnTo>
                    <a:close/>
                    <a:moveTo>
                      <a:pt x="3620" y="1206"/>
                    </a:moveTo>
                    <a:lnTo>
                      <a:pt x="302" y="1206"/>
                    </a:lnTo>
                    <a:lnTo>
                      <a:pt x="302" y="302"/>
                    </a:lnTo>
                    <a:lnTo>
                      <a:pt x="3620" y="302"/>
                    </a:lnTo>
                    <a:lnTo>
                      <a:pt x="3620" y="1206"/>
                    </a:lnTo>
                    <a:close/>
                    <a:moveTo>
                      <a:pt x="3620" y="1206"/>
                    </a:moveTo>
                    <a:lnTo>
                      <a:pt x="3620" y="1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52" name="Freeform 51"/>
              <p:cNvSpPr>
                <a:spLocks noEditPoints="1"/>
              </p:cNvSpPr>
              <p:nvPr/>
            </p:nvSpPr>
            <p:spPr bwMode="auto">
              <a:xfrm>
                <a:off x="386080" y="960755"/>
                <a:ext cx="2489835" cy="957580"/>
              </a:xfrm>
              <a:custGeom>
                <a:avLst/>
                <a:gdLst>
                  <a:gd name="T0" fmla="*/ 3921 w 3921"/>
                  <a:gd name="T1" fmla="*/ 0 h 1508"/>
                  <a:gd name="T2" fmla="*/ 0 w 3921"/>
                  <a:gd name="T3" fmla="*/ 0 h 1508"/>
                  <a:gd name="T4" fmla="*/ 0 w 3921"/>
                  <a:gd name="T5" fmla="*/ 1508 h 1508"/>
                  <a:gd name="T6" fmla="*/ 3921 w 3921"/>
                  <a:gd name="T7" fmla="*/ 1508 h 1508"/>
                  <a:gd name="T8" fmla="*/ 3921 w 3921"/>
                  <a:gd name="T9" fmla="*/ 0 h 1508"/>
                  <a:gd name="T10" fmla="*/ 3620 w 3921"/>
                  <a:gd name="T11" fmla="*/ 1206 h 1508"/>
                  <a:gd name="T12" fmla="*/ 302 w 3921"/>
                  <a:gd name="T13" fmla="*/ 1206 h 1508"/>
                  <a:gd name="T14" fmla="*/ 302 w 3921"/>
                  <a:gd name="T15" fmla="*/ 302 h 1508"/>
                  <a:gd name="T16" fmla="*/ 3620 w 3921"/>
                  <a:gd name="T17" fmla="*/ 302 h 1508"/>
                  <a:gd name="T18" fmla="*/ 3620 w 3921"/>
                  <a:gd name="T19" fmla="*/ 1206 h 1508"/>
                  <a:gd name="T20" fmla="*/ 3620 w 3921"/>
                  <a:gd name="T21" fmla="*/ 1206 h 1508"/>
                  <a:gd name="T22" fmla="*/ 3620 w 3921"/>
                  <a:gd name="T23" fmla="*/ 1206 h 1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1" h="1508">
                    <a:moveTo>
                      <a:pt x="3921" y="0"/>
                    </a:moveTo>
                    <a:lnTo>
                      <a:pt x="0" y="0"/>
                    </a:lnTo>
                    <a:lnTo>
                      <a:pt x="0" y="1508"/>
                    </a:lnTo>
                    <a:lnTo>
                      <a:pt x="3921" y="1508"/>
                    </a:lnTo>
                    <a:lnTo>
                      <a:pt x="3921" y="0"/>
                    </a:lnTo>
                    <a:moveTo>
                      <a:pt x="3620" y="1206"/>
                    </a:moveTo>
                    <a:lnTo>
                      <a:pt x="302" y="1206"/>
                    </a:lnTo>
                    <a:lnTo>
                      <a:pt x="302" y="302"/>
                    </a:lnTo>
                    <a:lnTo>
                      <a:pt x="3620" y="302"/>
                    </a:lnTo>
                    <a:lnTo>
                      <a:pt x="3620" y="1206"/>
                    </a:lnTo>
                    <a:moveTo>
                      <a:pt x="3620" y="1206"/>
                    </a:moveTo>
                    <a:lnTo>
                      <a:pt x="3620" y="120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53" name="Rectangle 52"/>
              <p:cNvSpPr>
                <a:spLocks noChangeArrowheads="1"/>
              </p:cNvSpPr>
              <p:nvPr/>
            </p:nvSpPr>
            <p:spPr bwMode="auto">
              <a:xfrm>
                <a:off x="768985" y="1343660"/>
                <a:ext cx="191770" cy="19177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endParaRPr lang="en-US"/>
              </a:p>
            </p:txBody>
          </p:sp>
          <p:sp>
            <p:nvSpPr>
              <p:cNvPr id="54" name="Rectangle 53"/>
              <p:cNvSpPr>
                <a:spLocks noChangeArrowheads="1"/>
              </p:cNvSpPr>
              <p:nvPr/>
            </p:nvSpPr>
            <p:spPr bwMode="auto">
              <a:xfrm>
                <a:off x="1152525" y="1343660"/>
                <a:ext cx="191135" cy="19177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endParaRPr lang="en-US"/>
              </a:p>
            </p:txBody>
          </p:sp>
          <p:sp>
            <p:nvSpPr>
              <p:cNvPr id="55" name="Rectangle 54"/>
              <p:cNvSpPr>
                <a:spLocks noChangeArrowheads="1"/>
              </p:cNvSpPr>
              <p:nvPr/>
            </p:nvSpPr>
            <p:spPr bwMode="auto">
              <a:xfrm>
                <a:off x="1535430" y="1343660"/>
                <a:ext cx="191135" cy="19177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endParaRPr lang="en-US"/>
              </a:p>
            </p:txBody>
          </p:sp>
          <p:sp>
            <p:nvSpPr>
              <p:cNvPr id="56" name="Rectangle 55"/>
              <p:cNvSpPr>
                <a:spLocks noChangeArrowheads="1"/>
              </p:cNvSpPr>
              <p:nvPr/>
            </p:nvSpPr>
            <p:spPr bwMode="auto">
              <a:xfrm>
                <a:off x="1918335" y="1343660"/>
                <a:ext cx="191770" cy="19177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endParaRPr lang="en-US"/>
              </a:p>
            </p:txBody>
          </p:sp>
          <p:sp>
            <p:nvSpPr>
              <p:cNvPr id="57" name="Rectangle 56"/>
              <p:cNvSpPr>
                <a:spLocks noChangeArrowheads="1"/>
              </p:cNvSpPr>
              <p:nvPr/>
            </p:nvSpPr>
            <p:spPr bwMode="auto">
              <a:xfrm>
                <a:off x="2301240" y="1343660"/>
                <a:ext cx="191770" cy="19177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endParaRPr lang="en-US"/>
              </a:p>
            </p:txBody>
          </p:sp>
          <p:sp>
            <p:nvSpPr>
              <p:cNvPr id="58" name="Freeform 57"/>
              <p:cNvSpPr>
                <a:spLocks noEditPoints="1"/>
              </p:cNvSpPr>
              <p:nvPr/>
            </p:nvSpPr>
            <p:spPr bwMode="auto">
              <a:xfrm>
                <a:off x="386080" y="2493010"/>
                <a:ext cx="1149350" cy="1149350"/>
              </a:xfrm>
              <a:custGeom>
                <a:avLst/>
                <a:gdLst>
                  <a:gd name="T0" fmla="*/ 1810 w 1810"/>
                  <a:gd name="T1" fmla="*/ 905 h 1810"/>
                  <a:gd name="T2" fmla="*/ 1508 w 1810"/>
                  <a:gd name="T3" fmla="*/ 905 h 1810"/>
                  <a:gd name="T4" fmla="*/ 1508 w 1810"/>
                  <a:gd name="T5" fmla="*/ 1508 h 1810"/>
                  <a:gd name="T6" fmla="*/ 302 w 1810"/>
                  <a:gd name="T7" fmla="*/ 1508 h 1810"/>
                  <a:gd name="T8" fmla="*/ 302 w 1810"/>
                  <a:gd name="T9" fmla="*/ 302 h 1810"/>
                  <a:gd name="T10" fmla="*/ 1207 w 1810"/>
                  <a:gd name="T11" fmla="*/ 302 h 1810"/>
                  <a:gd name="T12" fmla="*/ 1207 w 1810"/>
                  <a:gd name="T13" fmla="*/ 0 h 1810"/>
                  <a:gd name="T14" fmla="*/ 0 w 1810"/>
                  <a:gd name="T15" fmla="*/ 0 h 1810"/>
                  <a:gd name="T16" fmla="*/ 0 w 1810"/>
                  <a:gd name="T17" fmla="*/ 1810 h 1810"/>
                  <a:gd name="T18" fmla="*/ 1810 w 1810"/>
                  <a:gd name="T19" fmla="*/ 1810 h 1810"/>
                  <a:gd name="T20" fmla="*/ 1810 w 1810"/>
                  <a:gd name="T21" fmla="*/ 905 h 1810"/>
                  <a:gd name="T22" fmla="*/ 1810 w 1810"/>
                  <a:gd name="T23" fmla="*/ 905 h 1810"/>
                  <a:gd name="T24" fmla="*/ 1810 w 1810"/>
                  <a:gd name="T25" fmla="*/ 905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10" h="1810">
                    <a:moveTo>
                      <a:pt x="1810" y="905"/>
                    </a:moveTo>
                    <a:lnTo>
                      <a:pt x="1508" y="905"/>
                    </a:lnTo>
                    <a:lnTo>
                      <a:pt x="1508" y="1508"/>
                    </a:lnTo>
                    <a:lnTo>
                      <a:pt x="302" y="1508"/>
                    </a:lnTo>
                    <a:lnTo>
                      <a:pt x="302" y="302"/>
                    </a:lnTo>
                    <a:lnTo>
                      <a:pt x="1207" y="302"/>
                    </a:lnTo>
                    <a:lnTo>
                      <a:pt x="1207" y="0"/>
                    </a:lnTo>
                    <a:lnTo>
                      <a:pt x="0" y="0"/>
                    </a:lnTo>
                    <a:lnTo>
                      <a:pt x="0" y="1810"/>
                    </a:lnTo>
                    <a:lnTo>
                      <a:pt x="1810" y="1810"/>
                    </a:lnTo>
                    <a:lnTo>
                      <a:pt x="1810" y="905"/>
                    </a:lnTo>
                    <a:close/>
                    <a:moveTo>
                      <a:pt x="1810" y="905"/>
                    </a:moveTo>
                    <a:lnTo>
                      <a:pt x="1810"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59" name="Freeform 58"/>
              <p:cNvSpPr>
                <a:spLocks noEditPoints="1"/>
              </p:cNvSpPr>
              <p:nvPr/>
            </p:nvSpPr>
            <p:spPr bwMode="auto">
              <a:xfrm>
                <a:off x="386080" y="2493010"/>
                <a:ext cx="1149350" cy="1149350"/>
              </a:xfrm>
              <a:custGeom>
                <a:avLst/>
                <a:gdLst>
                  <a:gd name="T0" fmla="*/ 1810 w 1810"/>
                  <a:gd name="T1" fmla="*/ 905 h 1810"/>
                  <a:gd name="T2" fmla="*/ 1508 w 1810"/>
                  <a:gd name="T3" fmla="*/ 905 h 1810"/>
                  <a:gd name="T4" fmla="*/ 1508 w 1810"/>
                  <a:gd name="T5" fmla="*/ 1508 h 1810"/>
                  <a:gd name="T6" fmla="*/ 302 w 1810"/>
                  <a:gd name="T7" fmla="*/ 1508 h 1810"/>
                  <a:gd name="T8" fmla="*/ 302 w 1810"/>
                  <a:gd name="T9" fmla="*/ 302 h 1810"/>
                  <a:gd name="T10" fmla="*/ 1207 w 1810"/>
                  <a:gd name="T11" fmla="*/ 302 h 1810"/>
                  <a:gd name="T12" fmla="*/ 1207 w 1810"/>
                  <a:gd name="T13" fmla="*/ 0 h 1810"/>
                  <a:gd name="T14" fmla="*/ 0 w 1810"/>
                  <a:gd name="T15" fmla="*/ 0 h 1810"/>
                  <a:gd name="T16" fmla="*/ 0 w 1810"/>
                  <a:gd name="T17" fmla="*/ 1810 h 1810"/>
                  <a:gd name="T18" fmla="*/ 1810 w 1810"/>
                  <a:gd name="T19" fmla="*/ 1810 h 1810"/>
                  <a:gd name="T20" fmla="*/ 1810 w 1810"/>
                  <a:gd name="T21" fmla="*/ 905 h 1810"/>
                  <a:gd name="T22" fmla="*/ 1810 w 1810"/>
                  <a:gd name="T23" fmla="*/ 905 h 1810"/>
                  <a:gd name="T24" fmla="*/ 1810 w 1810"/>
                  <a:gd name="T25" fmla="*/ 905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10" h="1810">
                    <a:moveTo>
                      <a:pt x="1810" y="905"/>
                    </a:moveTo>
                    <a:lnTo>
                      <a:pt x="1508" y="905"/>
                    </a:lnTo>
                    <a:lnTo>
                      <a:pt x="1508" y="1508"/>
                    </a:lnTo>
                    <a:lnTo>
                      <a:pt x="302" y="1508"/>
                    </a:lnTo>
                    <a:lnTo>
                      <a:pt x="302" y="302"/>
                    </a:lnTo>
                    <a:lnTo>
                      <a:pt x="1207" y="302"/>
                    </a:lnTo>
                    <a:lnTo>
                      <a:pt x="1207" y="0"/>
                    </a:lnTo>
                    <a:lnTo>
                      <a:pt x="0" y="0"/>
                    </a:lnTo>
                    <a:lnTo>
                      <a:pt x="0" y="1810"/>
                    </a:lnTo>
                    <a:lnTo>
                      <a:pt x="1810" y="1810"/>
                    </a:lnTo>
                    <a:lnTo>
                      <a:pt x="1810" y="905"/>
                    </a:lnTo>
                    <a:moveTo>
                      <a:pt x="1810" y="905"/>
                    </a:moveTo>
                    <a:lnTo>
                      <a:pt x="1810" y="90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60" name="Freeform 59"/>
              <p:cNvSpPr>
                <a:spLocks noEditPoints="1"/>
              </p:cNvSpPr>
              <p:nvPr/>
            </p:nvSpPr>
            <p:spPr bwMode="auto">
              <a:xfrm>
                <a:off x="700405" y="2136775"/>
                <a:ext cx="1286510" cy="1161415"/>
              </a:xfrm>
              <a:custGeom>
                <a:avLst/>
                <a:gdLst>
                  <a:gd name="T0" fmla="*/ 1810 w 2026"/>
                  <a:gd name="T1" fmla="*/ 0 h 1829"/>
                  <a:gd name="T2" fmla="*/ 410 w 2026"/>
                  <a:gd name="T3" fmla="*/ 1405 h 1829"/>
                  <a:gd name="T4" fmla="*/ 217 w 2026"/>
                  <a:gd name="T5" fmla="*/ 1207 h 1829"/>
                  <a:gd name="T6" fmla="*/ 0 w 2026"/>
                  <a:gd name="T7" fmla="*/ 1423 h 1829"/>
                  <a:gd name="T8" fmla="*/ 410 w 2026"/>
                  <a:gd name="T9" fmla="*/ 1829 h 1829"/>
                  <a:gd name="T10" fmla="*/ 2026 w 2026"/>
                  <a:gd name="T11" fmla="*/ 217 h 1829"/>
                  <a:gd name="T12" fmla="*/ 1810 w 2026"/>
                  <a:gd name="T13" fmla="*/ 0 h 1829"/>
                  <a:gd name="T14" fmla="*/ 1810 w 2026"/>
                  <a:gd name="T15" fmla="*/ 0 h 1829"/>
                  <a:gd name="T16" fmla="*/ 1810 w 2026"/>
                  <a:gd name="T17" fmla="*/ 0 h 1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26" h="1829">
                    <a:moveTo>
                      <a:pt x="1810" y="0"/>
                    </a:moveTo>
                    <a:lnTo>
                      <a:pt x="410" y="1405"/>
                    </a:lnTo>
                    <a:lnTo>
                      <a:pt x="217" y="1207"/>
                    </a:lnTo>
                    <a:lnTo>
                      <a:pt x="0" y="1423"/>
                    </a:lnTo>
                    <a:lnTo>
                      <a:pt x="410" y="1829"/>
                    </a:lnTo>
                    <a:lnTo>
                      <a:pt x="2026" y="217"/>
                    </a:lnTo>
                    <a:lnTo>
                      <a:pt x="1810" y="0"/>
                    </a:lnTo>
                    <a:close/>
                    <a:moveTo>
                      <a:pt x="1810" y="0"/>
                    </a:moveTo>
                    <a:lnTo>
                      <a:pt x="18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61" name="Freeform 60"/>
              <p:cNvSpPr>
                <a:spLocks noEditPoints="1"/>
              </p:cNvSpPr>
              <p:nvPr/>
            </p:nvSpPr>
            <p:spPr bwMode="auto">
              <a:xfrm>
                <a:off x="700405" y="2136775"/>
                <a:ext cx="1286510" cy="1161415"/>
              </a:xfrm>
              <a:custGeom>
                <a:avLst/>
                <a:gdLst>
                  <a:gd name="T0" fmla="*/ 1810 w 2026"/>
                  <a:gd name="T1" fmla="*/ 0 h 1829"/>
                  <a:gd name="T2" fmla="*/ 410 w 2026"/>
                  <a:gd name="T3" fmla="*/ 1405 h 1829"/>
                  <a:gd name="T4" fmla="*/ 217 w 2026"/>
                  <a:gd name="T5" fmla="*/ 1207 h 1829"/>
                  <a:gd name="T6" fmla="*/ 0 w 2026"/>
                  <a:gd name="T7" fmla="*/ 1423 h 1829"/>
                  <a:gd name="T8" fmla="*/ 410 w 2026"/>
                  <a:gd name="T9" fmla="*/ 1829 h 1829"/>
                  <a:gd name="T10" fmla="*/ 2026 w 2026"/>
                  <a:gd name="T11" fmla="*/ 217 h 1829"/>
                  <a:gd name="T12" fmla="*/ 1810 w 2026"/>
                  <a:gd name="T13" fmla="*/ 0 h 1829"/>
                  <a:gd name="T14" fmla="*/ 1810 w 2026"/>
                  <a:gd name="T15" fmla="*/ 0 h 1829"/>
                  <a:gd name="T16" fmla="*/ 1810 w 2026"/>
                  <a:gd name="T17" fmla="*/ 0 h 1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26" h="1829">
                    <a:moveTo>
                      <a:pt x="1810" y="0"/>
                    </a:moveTo>
                    <a:lnTo>
                      <a:pt x="410" y="1405"/>
                    </a:lnTo>
                    <a:lnTo>
                      <a:pt x="217" y="1207"/>
                    </a:lnTo>
                    <a:lnTo>
                      <a:pt x="0" y="1423"/>
                    </a:lnTo>
                    <a:lnTo>
                      <a:pt x="410" y="1829"/>
                    </a:lnTo>
                    <a:lnTo>
                      <a:pt x="2026" y="217"/>
                    </a:lnTo>
                    <a:lnTo>
                      <a:pt x="1810" y="0"/>
                    </a:lnTo>
                    <a:moveTo>
                      <a:pt x="1810" y="0"/>
                    </a:moveTo>
                    <a:lnTo>
                      <a:pt x="181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62" name="Freeform 61"/>
              <p:cNvSpPr>
                <a:spLocks noEditPoints="1"/>
              </p:cNvSpPr>
              <p:nvPr/>
            </p:nvSpPr>
            <p:spPr bwMode="auto">
              <a:xfrm>
                <a:off x="386080" y="4121150"/>
                <a:ext cx="1149350" cy="1149350"/>
              </a:xfrm>
              <a:custGeom>
                <a:avLst/>
                <a:gdLst>
                  <a:gd name="T0" fmla="*/ 1508 w 1810"/>
                  <a:gd name="T1" fmla="*/ 1508 h 1810"/>
                  <a:gd name="T2" fmla="*/ 302 w 1810"/>
                  <a:gd name="T3" fmla="*/ 1508 h 1810"/>
                  <a:gd name="T4" fmla="*/ 302 w 1810"/>
                  <a:gd name="T5" fmla="*/ 301 h 1810"/>
                  <a:gd name="T6" fmla="*/ 1207 w 1810"/>
                  <a:gd name="T7" fmla="*/ 301 h 1810"/>
                  <a:gd name="T8" fmla="*/ 1207 w 1810"/>
                  <a:gd name="T9" fmla="*/ 0 h 1810"/>
                  <a:gd name="T10" fmla="*/ 0 w 1810"/>
                  <a:gd name="T11" fmla="*/ 0 h 1810"/>
                  <a:gd name="T12" fmla="*/ 0 w 1810"/>
                  <a:gd name="T13" fmla="*/ 1810 h 1810"/>
                  <a:gd name="T14" fmla="*/ 1810 w 1810"/>
                  <a:gd name="T15" fmla="*/ 1810 h 1810"/>
                  <a:gd name="T16" fmla="*/ 1810 w 1810"/>
                  <a:gd name="T17" fmla="*/ 905 h 1810"/>
                  <a:gd name="T18" fmla="*/ 1508 w 1810"/>
                  <a:gd name="T19" fmla="*/ 905 h 1810"/>
                  <a:gd name="T20" fmla="*/ 1508 w 1810"/>
                  <a:gd name="T21" fmla="*/ 1508 h 1810"/>
                  <a:gd name="T22" fmla="*/ 1508 w 1810"/>
                  <a:gd name="T23" fmla="*/ 1508 h 1810"/>
                  <a:gd name="T24" fmla="*/ 1508 w 1810"/>
                  <a:gd name="T25" fmla="*/ 1508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10" h="1810">
                    <a:moveTo>
                      <a:pt x="1508" y="1508"/>
                    </a:moveTo>
                    <a:lnTo>
                      <a:pt x="302" y="1508"/>
                    </a:lnTo>
                    <a:lnTo>
                      <a:pt x="302" y="301"/>
                    </a:lnTo>
                    <a:lnTo>
                      <a:pt x="1207" y="301"/>
                    </a:lnTo>
                    <a:lnTo>
                      <a:pt x="1207" y="0"/>
                    </a:lnTo>
                    <a:lnTo>
                      <a:pt x="0" y="0"/>
                    </a:lnTo>
                    <a:lnTo>
                      <a:pt x="0" y="1810"/>
                    </a:lnTo>
                    <a:lnTo>
                      <a:pt x="1810" y="1810"/>
                    </a:lnTo>
                    <a:lnTo>
                      <a:pt x="1810" y="905"/>
                    </a:lnTo>
                    <a:lnTo>
                      <a:pt x="1508" y="905"/>
                    </a:lnTo>
                    <a:lnTo>
                      <a:pt x="1508" y="1508"/>
                    </a:lnTo>
                    <a:close/>
                    <a:moveTo>
                      <a:pt x="1508" y="1508"/>
                    </a:moveTo>
                    <a:lnTo>
                      <a:pt x="1508" y="15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63" name="Freeform 62"/>
              <p:cNvSpPr>
                <a:spLocks noEditPoints="1"/>
              </p:cNvSpPr>
              <p:nvPr/>
            </p:nvSpPr>
            <p:spPr bwMode="auto">
              <a:xfrm>
                <a:off x="386080" y="4121150"/>
                <a:ext cx="1149350" cy="1149350"/>
              </a:xfrm>
              <a:custGeom>
                <a:avLst/>
                <a:gdLst>
                  <a:gd name="T0" fmla="*/ 1508 w 1810"/>
                  <a:gd name="T1" fmla="*/ 1508 h 1810"/>
                  <a:gd name="T2" fmla="*/ 302 w 1810"/>
                  <a:gd name="T3" fmla="*/ 1508 h 1810"/>
                  <a:gd name="T4" fmla="*/ 302 w 1810"/>
                  <a:gd name="T5" fmla="*/ 301 h 1810"/>
                  <a:gd name="T6" fmla="*/ 1207 w 1810"/>
                  <a:gd name="T7" fmla="*/ 301 h 1810"/>
                  <a:gd name="T8" fmla="*/ 1207 w 1810"/>
                  <a:gd name="T9" fmla="*/ 0 h 1810"/>
                  <a:gd name="T10" fmla="*/ 0 w 1810"/>
                  <a:gd name="T11" fmla="*/ 0 h 1810"/>
                  <a:gd name="T12" fmla="*/ 0 w 1810"/>
                  <a:gd name="T13" fmla="*/ 1810 h 1810"/>
                  <a:gd name="T14" fmla="*/ 1810 w 1810"/>
                  <a:gd name="T15" fmla="*/ 1810 h 1810"/>
                  <a:gd name="T16" fmla="*/ 1810 w 1810"/>
                  <a:gd name="T17" fmla="*/ 905 h 1810"/>
                  <a:gd name="T18" fmla="*/ 1508 w 1810"/>
                  <a:gd name="T19" fmla="*/ 905 h 1810"/>
                  <a:gd name="T20" fmla="*/ 1508 w 1810"/>
                  <a:gd name="T21" fmla="*/ 1508 h 1810"/>
                  <a:gd name="T22" fmla="*/ 1508 w 1810"/>
                  <a:gd name="T23" fmla="*/ 1508 h 1810"/>
                  <a:gd name="T24" fmla="*/ 1508 w 1810"/>
                  <a:gd name="T25" fmla="*/ 1508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10" h="1810">
                    <a:moveTo>
                      <a:pt x="1508" y="1508"/>
                    </a:moveTo>
                    <a:lnTo>
                      <a:pt x="302" y="1508"/>
                    </a:lnTo>
                    <a:lnTo>
                      <a:pt x="302" y="301"/>
                    </a:lnTo>
                    <a:lnTo>
                      <a:pt x="1207" y="301"/>
                    </a:lnTo>
                    <a:lnTo>
                      <a:pt x="1207" y="0"/>
                    </a:lnTo>
                    <a:lnTo>
                      <a:pt x="0" y="0"/>
                    </a:lnTo>
                    <a:lnTo>
                      <a:pt x="0" y="1810"/>
                    </a:lnTo>
                    <a:lnTo>
                      <a:pt x="1810" y="1810"/>
                    </a:lnTo>
                    <a:lnTo>
                      <a:pt x="1810" y="905"/>
                    </a:lnTo>
                    <a:lnTo>
                      <a:pt x="1508" y="905"/>
                    </a:lnTo>
                    <a:lnTo>
                      <a:pt x="1508" y="1508"/>
                    </a:lnTo>
                    <a:moveTo>
                      <a:pt x="1508" y="1508"/>
                    </a:moveTo>
                    <a:lnTo>
                      <a:pt x="1508" y="150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64" name="Freeform 63"/>
              <p:cNvSpPr>
                <a:spLocks noEditPoints="1"/>
              </p:cNvSpPr>
              <p:nvPr/>
            </p:nvSpPr>
            <p:spPr bwMode="auto">
              <a:xfrm>
                <a:off x="700405" y="3764915"/>
                <a:ext cx="1286510" cy="1161415"/>
              </a:xfrm>
              <a:custGeom>
                <a:avLst/>
                <a:gdLst>
                  <a:gd name="T0" fmla="*/ 217 w 2026"/>
                  <a:gd name="T1" fmla="*/ 1206 h 1829"/>
                  <a:gd name="T2" fmla="*/ 0 w 2026"/>
                  <a:gd name="T3" fmla="*/ 1423 h 1829"/>
                  <a:gd name="T4" fmla="*/ 410 w 2026"/>
                  <a:gd name="T5" fmla="*/ 1829 h 1829"/>
                  <a:gd name="T6" fmla="*/ 2026 w 2026"/>
                  <a:gd name="T7" fmla="*/ 217 h 1829"/>
                  <a:gd name="T8" fmla="*/ 1810 w 2026"/>
                  <a:gd name="T9" fmla="*/ 0 h 1829"/>
                  <a:gd name="T10" fmla="*/ 410 w 2026"/>
                  <a:gd name="T11" fmla="*/ 1404 h 1829"/>
                  <a:gd name="T12" fmla="*/ 217 w 2026"/>
                  <a:gd name="T13" fmla="*/ 1206 h 1829"/>
                  <a:gd name="T14" fmla="*/ 217 w 2026"/>
                  <a:gd name="T15" fmla="*/ 1206 h 1829"/>
                  <a:gd name="T16" fmla="*/ 217 w 2026"/>
                  <a:gd name="T17" fmla="*/ 1206 h 1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26" h="1829">
                    <a:moveTo>
                      <a:pt x="217" y="1206"/>
                    </a:moveTo>
                    <a:lnTo>
                      <a:pt x="0" y="1423"/>
                    </a:lnTo>
                    <a:lnTo>
                      <a:pt x="410" y="1829"/>
                    </a:lnTo>
                    <a:lnTo>
                      <a:pt x="2026" y="217"/>
                    </a:lnTo>
                    <a:lnTo>
                      <a:pt x="1810" y="0"/>
                    </a:lnTo>
                    <a:lnTo>
                      <a:pt x="410" y="1404"/>
                    </a:lnTo>
                    <a:lnTo>
                      <a:pt x="217" y="1206"/>
                    </a:lnTo>
                    <a:close/>
                    <a:moveTo>
                      <a:pt x="217" y="1206"/>
                    </a:moveTo>
                    <a:lnTo>
                      <a:pt x="217" y="1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65" name="Freeform 64"/>
              <p:cNvSpPr>
                <a:spLocks noEditPoints="1"/>
              </p:cNvSpPr>
              <p:nvPr/>
            </p:nvSpPr>
            <p:spPr bwMode="auto">
              <a:xfrm>
                <a:off x="700405" y="3764915"/>
                <a:ext cx="1286510" cy="1161415"/>
              </a:xfrm>
              <a:custGeom>
                <a:avLst/>
                <a:gdLst>
                  <a:gd name="T0" fmla="*/ 217 w 2026"/>
                  <a:gd name="T1" fmla="*/ 1206 h 1829"/>
                  <a:gd name="T2" fmla="*/ 0 w 2026"/>
                  <a:gd name="T3" fmla="*/ 1423 h 1829"/>
                  <a:gd name="T4" fmla="*/ 410 w 2026"/>
                  <a:gd name="T5" fmla="*/ 1829 h 1829"/>
                  <a:gd name="T6" fmla="*/ 2026 w 2026"/>
                  <a:gd name="T7" fmla="*/ 217 h 1829"/>
                  <a:gd name="T8" fmla="*/ 1810 w 2026"/>
                  <a:gd name="T9" fmla="*/ 0 h 1829"/>
                  <a:gd name="T10" fmla="*/ 410 w 2026"/>
                  <a:gd name="T11" fmla="*/ 1404 h 1829"/>
                  <a:gd name="T12" fmla="*/ 217 w 2026"/>
                  <a:gd name="T13" fmla="*/ 1206 h 1829"/>
                  <a:gd name="T14" fmla="*/ 217 w 2026"/>
                  <a:gd name="T15" fmla="*/ 1206 h 1829"/>
                  <a:gd name="T16" fmla="*/ 217 w 2026"/>
                  <a:gd name="T17" fmla="*/ 1206 h 1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26" h="1829">
                    <a:moveTo>
                      <a:pt x="217" y="1206"/>
                    </a:moveTo>
                    <a:lnTo>
                      <a:pt x="0" y="1423"/>
                    </a:lnTo>
                    <a:lnTo>
                      <a:pt x="410" y="1829"/>
                    </a:lnTo>
                    <a:lnTo>
                      <a:pt x="2026" y="217"/>
                    </a:lnTo>
                    <a:lnTo>
                      <a:pt x="1810" y="0"/>
                    </a:lnTo>
                    <a:lnTo>
                      <a:pt x="410" y="1404"/>
                    </a:lnTo>
                    <a:lnTo>
                      <a:pt x="217" y="1206"/>
                    </a:lnTo>
                    <a:moveTo>
                      <a:pt x="217" y="1206"/>
                    </a:moveTo>
                    <a:lnTo>
                      <a:pt x="217" y="120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66" name="Rectangle 65"/>
              <p:cNvSpPr>
                <a:spLocks noChangeArrowheads="1"/>
              </p:cNvSpPr>
              <p:nvPr/>
            </p:nvSpPr>
            <p:spPr bwMode="auto">
              <a:xfrm>
                <a:off x="3067685" y="5270500"/>
                <a:ext cx="191135" cy="19113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endParaRPr lang="en-US"/>
              </a:p>
            </p:txBody>
          </p:sp>
          <p:sp>
            <p:nvSpPr>
              <p:cNvPr id="67" name="Rectangle 66"/>
              <p:cNvSpPr>
                <a:spLocks noChangeArrowheads="1"/>
              </p:cNvSpPr>
              <p:nvPr/>
            </p:nvSpPr>
            <p:spPr bwMode="auto">
              <a:xfrm>
                <a:off x="1822450" y="5270500"/>
                <a:ext cx="1053465" cy="19113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endParaRPr lang="en-US"/>
              </a:p>
            </p:txBody>
          </p:sp>
          <p:sp>
            <p:nvSpPr>
              <p:cNvPr id="68" name="Rectangle 67"/>
              <p:cNvSpPr>
                <a:spLocks noChangeArrowheads="1"/>
              </p:cNvSpPr>
              <p:nvPr/>
            </p:nvSpPr>
            <p:spPr bwMode="auto">
              <a:xfrm>
                <a:off x="2014220" y="2588895"/>
                <a:ext cx="1244600" cy="19113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endParaRPr lang="en-US"/>
              </a:p>
            </p:txBody>
          </p:sp>
        </p:grpSp>
      </p:grpSp>
      <p:sp>
        <p:nvSpPr>
          <p:cNvPr id="3" name="TextBox 2"/>
          <p:cNvSpPr txBox="1"/>
          <p:nvPr/>
        </p:nvSpPr>
        <p:spPr>
          <a:xfrm>
            <a:off x="5116853" y="1412855"/>
            <a:ext cx="2282638" cy="430887"/>
          </a:xfrm>
          <a:prstGeom prst="rect">
            <a:avLst/>
          </a:prstGeom>
          <a:noFill/>
        </p:spPr>
        <p:txBody>
          <a:bodyPr wrap="square" lIns="0" tIns="0" rIns="0" bIns="0" numCol="1" rtlCol="0">
            <a:spAutoFit/>
          </a:bodyPr>
          <a:lstStyle/>
          <a:p>
            <a:r>
              <a:rPr lang="en-US" sz="1400" dirty="0">
                <a:latin typeface="Times New Roman" pitchFamily="18" charset="0"/>
                <a:cs typeface="Times New Roman" pitchFamily="18" charset="0"/>
              </a:rPr>
              <a:t>Advantages and Disadvantages</a:t>
            </a:r>
          </a:p>
          <a:p>
            <a:pPr algn="l"/>
            <a:endParaRPr lang="en-US" sz="1400" kern="0" dirty="0" smtClean="0"/>
          </a:p>
        </p:txBody>
      </p:sp>
    </p:spTree>
    <p:custDataLst>
      <p:tags r:id="rId2"/>
    </p:custDataLst>
    <p:extLst>
      <p:ext uri="{BB962C8B-B14F-4D97-AF65-F5344CB8AC3E}">
        <p14:creationId xmlns:p14="http://schemas.microsoft.com/office/powerpoint/2010/main" val="928790664"/>
      </p:ext>
    </p:extLst>
  </p:cSld>
  <p:clrMapOvr>
    <a:masterClrMapping/>
  </p:clrMapOvr>
  <p:transition spd="slow">
    <p:wip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E18B07EE-A45E-4446-A223-5B883B13E13D}"/>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4" name="think-cell Slide" r:id="rId5" imgW="344" imgH="344" progId="TCLayout.ActiveDocument.1">
                  <p:embed/>
                </p:oleObj>
              </mc:Choice>
              <mc:Fallback>
                <p:oleObj name="think-cell Slide" r:id="rId5" imgW="344" imgH="344" progId="TCLayout.ActiveDocument.1">
                  <p:embed/>
                  <p:pic>
                    <p:nvPicPr>
                      <p:cNvPr id="10" name="Object 9" hidden="1">
                        <a:extLst>
                          <a:ext uri="{FF2B5EF4-FFF2-40B4-BE49-F238E27FC236}">
                            <a16:creationId xmlns="" xmlns:a16="http://schemas.microsoft.com/office/drawing/2014/main" id="{E18B07EE-A45E-4446-A223-5B883B13E1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Freeform: Shape 11">
            <a:extLst>
              <a:ext uri="{FF2B5EF4-FFF2-40B4-BE49-F238E27FC236}">
                <a16:creationId xmlns="" xmlns:a16="http://schemas.microsoft.com/office/drawing/2014/main" id="{B2177B33-B554-4A4B-86C2-5A3E9EC75F4C}"/>
              </a:ext>
            </a:extLst>
          </p:cNvPr>
          <p:cNvSpPr/>
          <p:nvPr/>
        </p:nvSpPr>
        <p:spPr>
          <a:xfrm>
            <a:off x="321609" y="2118551"/>
            <a:ext cx="2754139" cy="2220995"/>
          </a:xfrm>
          <a:custGeom>
            <a:avLst/>
            <a:gdLst/>
            <a:ahLst/>
            <a:cxnLst/>
            <a:rect l="l" t="t" r="r" b="b"/>
            <a:pathLst>
              <a:path w="2754139" h="2220995">
                <a:moveTo>
                  <a:pt x="706208" y="345686"/>
                </a:moveTo>
                <a:cubicBezTo>
                  <a:pt x="655765" y="345686"/>
                  <a:pt x="610762" y="361759"/>
                  <a:pt x="571198" y="393904"/>
                </a:cubicBezTo>
                <a:cubicBezTo>
                  <a:pt x="531635" y="426049"/>
                  <a:pt x="500973" y="483664"/>
                  <a:pt x="479213" y="566747"/>
                </a:cubicBezTo>
                <a:cubicBezTo>
                  <a:pt x="450530" y="674558"/>
                  <a:pt x="436188" y="856055"/>
                  <a:pt x="436188" y="1111239"/>
                </a:cubicBezTo>
                <a:cubicBezTo>
                  <a:pt x="436188" y="1366424"/>
                  <a:pt x="449046" y="1541739"/>
                  <a:pt x="474762" y="1637186"/>
                </a:cubicBezTo>
                <a:cubicBezTo>
                  <a:pt x="500478" y="1732633"/>
                  <a:pt x="532871" y="1796182"/>
                  <a:pt x="571940" y="1827833"/>
                </a:cubicBezTo>
                <a:cubicBezTo>
                  <a:pt x="611009" y="1859484"/>
                  <a:pt x="655765" y="1875309"/>
                  <a:pt x="706208" y="1875309"/>
                </a:cubicBezTo>
                <a:cubicBezTo>
                  <a:pt x="756652" y="1875309"/>
                  <a:pt x="801655" y="1859236"/>
                  <a:pt x="841219" y="1827091"/>
                </a:cubicBezTo>
                <a:cubicBezTo>
                  <a:pt x="880782" y="1794946"/>
                  <a:pt x="911444" y="1737331"/>
                  <a:pt x="933204" y="1654248"/>
                </a:cubicBezTo>
                <a:cubicBezTo>
                  <a:pt x="961887" y="1547427"/>
                  <a:pt x="976229" y="1366424"/>
                  <a:pt x="976229" y="1111239"/>
                </a:cubicBezTo>
                <a:cubicBezTo>
                  <a:pt x="976229" y="856055"/>
                  <a:pt x="963371" y="680739"/>
                  <a:pt x="937655" y="585292"/>
                </a:cubicBezTo>
                <a:cubicBezTo>
                  <a:pt x="911939" y="489846"/>
                  <a:pt x="879546" y="426049"/>
                  <a:pt x="840477" y="393904"/>
                </a:cubicBezTo>
                <a:cubicBezTo>
                  <a:pt x="801408" y="361759"/>
                  <a:pt x="756652" y="345686"/>
                  <a:pt x="706208" y="345686"/>
                </a:cubicBezTo>
                <a:close/>
                <a:moveTo>
                  <a:pt x="2415871" y="0"/>
                </a:moveTo>
                <a:lnTo>
                  <a:pt x="2754139" y="0"/>
                </a:lnTo>
                <a:lnTo>
                  <a:pt x="2754139" y="2183904"/>
                </a:lnTo>
                <a:lnTo>
                  <a:pt x="2337239" y="2183904"/>
                </a:lnTo>
                <a:lnTo>
                  <a:pt x="2337239" y="612740"/>
                </a:lnTo>
                <a:cubicBezTo>
                  <a:pt x="2184920" y="755168"/>
                  <a:pt x="2005400" y="860506"/>
                  <a:pt x="1798681" y="928753"/>
                </a:cubicBezTo>
                <a:lnTo>
                  <a:pt x="1798681" y="550427"/>
                </a:lnTo>
                <a:cubicBezTo>
                  <a:pt x="1907481" y="514820"/>
                  <a:pt x="2025677" y="447315"/>
                  <a:pt x="2153269" y="347912"/>
                </a:cubicBezTo>
                <a:cubicBezTo>
                  <a:pt x="2280861" y="248508"/>
                  <a:pt x="2368395" y="132538"/>
                  <a:pt x="2415871" y="0"/>
                </a:cubicBezTo>
                <a:close/>
                <a:moveTo>
                  <a:pt x="706208" y="0"/>
                </a:moveTo>
                <a:cubicBezTo>
                  <a:pt x="916884" y="0"/>
                  <a:pt x="1081567" y="75171"/>
                  <a:pt x="1200257" y="225512"/>
                </a:cubicBezTo>
                <a:cubicBezTo>
                  <a:pt x="1341697" y="403548"/>
                  <a:pt x="1412417" y="698790"/>
                  <a:pt x="1412417" y="1111239"/>
                </a:cubicBezTo>
                <a:cubicBezTo>
                  <a:pt x="1412417" y="1522700"/>
                  <a:pt x="1341202" y="1818437"/>
                  <a:pt x="1198774" y="1998450"/>
                </a:cubicBezTo>
                <a:cubicBezTo>
                  <a:pt x="1081072" y="2146813"/>
                  <a:pt x="916884" y="2220995"/>
                  <a:pt x="706208" y="2220995"/>
                </a:cubicBezTo>
                <a:cubicBezTo>
                  <a:pt x="494544" y="2220995"/>
                  <a:pt x="323926" y="2139643"/>
                  <a:pt x="194356" y="1976938"/>
                </a:cubicBezTo>
                <a:cubicBezTo>
                  <a:pt x="64786" y="1814233"/>
                  <a:pt x="0" y="1524183"/>
                  <a:pt x="0" y="1106789"/>
                </a:cubicBezTo>
                <a:cubicBezTo>
                  <a:pt x="0" y="697307"/>
                  <a:pt x="71215" y="402559"/>
                  <a:pt x="213643" y="222545"/>
                </a:cubicBezTo>
                <a:cubicBezTo>
                  <a:pt x="331345" y="74182"/>
                  <a:pt x="495533" y="0"/>
                  <a:pt x="706208" y="0"/>
                </a:cubicBezTo>
                <a:close/>
              </a:path>
            </a:pathLst>
          </a:custGeom>
          <a:blipFill>
            <a:blip r:embed="rId7"/>
            <a:stretch>
              <a:fillRect r="-37232" b="-3723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7" name="Rectangle 6">
            <a:extLst>
              <a:ext uri="{FF2B5EF4-FFF2-40B4-BE49-F238E27FC236}">
                <a16:creationId xmlns="" xmlns:a16="http://schemas.microsoft.com/office/drawing/2014/main" id="{CA8813BB-D448-4521-9F33-B74EFDC2BCD9}"/>
              </a:ext>
            </a:extLst>
          </p:cNvPr>
          <p:cNvSpPr/>
          <p:nvPr/>
        </p:nvSpPr>
        <p:spPr>
          <a:xfrm>
            <a:off x="3251079" y="2118551"/>
            <a:ext cx="171127"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 name="TextBox 2"/>
          <p:cNvSpPr txBox="1"/>
          <p:nvPr/>
        </p:nvSpPr>
        <p:spPr>
          <a:xfrm>
            <a:off x="6165668" y="378823"/>
            <a:ext cx="3036088" cy="492443"/>
          </a:xfrm>
          <a:prstGeom prst="rect">
            <a:avLst/>
          </a:prstGeom>
          <a:noFill/>
        </p:spPr>
        <p:txBody>
          <a:bodyPr wrap="none" lIns="0" tIns="0" rIns="0" bIns="0" numCol="1" rtlCol="0">
            <a:spAutoFit/>
          </a:bodyPr>
          <a:lstStyle/>
          <a:p>
            <a:pPr algn="l"/>
            <a:r>
              <a:rPr lang="en-US" sz="3200" kern="0" dirty="0" smtClean="0">
                <a:solidFill>
                  <a:srgbClr val="FDAF1F"/>
                </a:solidFill>
              </a:rPr>
              <a:t>INTRODUCTION</a:t>
            </a:r>
          </a:p>
        </p:txBody>
      </p:sp>
      <p:sp>
        <p:nvSpPr>
          <p:cNvPr id="4" name="TextBox 3"/>
          <p:cNvSpPr txBox="1"/>
          <p:nvPr/>
        </p:nvSpPr>
        <p:spPr>
          <a:xfrm>
            <a:off x="5264331" y="1881051"/>
            <a:ext cx="5447211" cy="3693319"/>
          </a:xfrm>
          <a:prstGeom prst="rect">
            <a:avLst/>
          </a:prstGeom>
          <a:noFill/>
        </p:spPr>
        <p:txBody>
          <a:bodyPr wrap="square" lIns="0" tIns="0" rIns="0" bIns="0" numCol="1" rtlCol="0">
            <a:spAutoFit/>
          </a:bodyPr>
          <a:lstStyle/>
          <a:p>
            <a:pPr marL="285750" indent="-285750">
              <a:buClr>
                <a:schemeClr val="tx1"/>
              </a:buClr>
              <a:buFont typeface="Arial" panose="020B0604020202020204" pitchFamily="34" charset="0"/>
              <a:buChar char="•"/>
            </a:pPr>
            <a:r>
              <a:rPr lang="en-US" sz="1600" dirty="0"/>
              <a:t>A smart attendance system refers to a technological solution that automates and streamlines the process of recording and managing attendance in various settings, such as schools, colleges, workplaces, and events</a:t>
            </a:r>
            <a:r>
              <a:rPr lang="en-US" sz="1600" dirty="0" smtClean="0"/>
              <a:t>.</a:t>
            </a:r>
          </a:p>
          <a:p>
            <a:pPr marL="285750" indent="-285750">
              <a:buClr>
                <a:schemeClr val="tx1"/>
              </a:buClr>
              <a:buFont typeface="Arial" panose="020B0604020202020204" pitchFamily="34" charset="0"/>
              <a:buChar char="•"/>
            </a:pPr>
            <a:endParaRPr lang="en-US" sz="1600" dirty="0"/>
          </a:p>
          <a:p>
            <a:pPr marL="285750" indent="-285750">
              <a:buClr>
                <a:schemeClr val="tx1"/>
              </a:buClr>
              <a:buFont typeface="Arial" panose="020B0604020202020204" pitchFamily="34" charset="0"/>
              <a:buChar char="•"/>
            </a:pPr>
            <a:endParaRPr lang="en-US" sz="1600" dirty="0" smtClean="0"/>
          </a:p>
          <a:p>
            <a:pPr marL="285750" indent="-285750">
              <a:buClr>
                <a:schemeClr val="tx1"/>
              </a:buClr>
              <a:buFont typeface="Arial" panose="020B0604020202020204" pitchFamily="34" charset="0"/>
              <a:buChar char="•"/>
            </a:pPr>
            <a:r>
              <a:rPr lang="en-US" sz="1600" dirty="0"/>
              <a:t>They can automatically identify individuals using biometric features such as fingerprints, facial recognition, or iris scans, ensuring a high level of accuracy and preventing proxy attendance. </a:t>
            </a:r>
            <a:endParaRPr lang="en-US" sz="1600" dirty="0" smtClean="0"/>
          </a:p>
          <a:p>
            <a:pPr marL="285750" indent="-285750">
              <a:buClr>
                <a:schemeClr val="tx1"/>
              </a:buClr>
              <a:buFont typeface="Arial" panose="020B0604020202020204" pitchFamily="34" charset="0"/>
              <a:buChar char="•"/>
            </a:pPr>
            <a:endParaRPr lang="en-US" sz="1600" kern="0" dirty="0"/>
          </a:p>
          <a:p>
            <a:pPr marL="285750" indent="-285750">
              <a:buClr>
                <a:schemeClr val="tx1"/>
              </a:buClr>
              <a:buFont typeface="Arial" panose="020B0604020202020204" pitchFamily="34" charset="0"/>
              <a:buChar char="•"/>
            </a:pPr>
            <a:r>
              <a:rPr lang="en-US" sz="1600" dirty="0"/>
              <a:t>The implementation of smart attendance systems brings various advantages. It reduces administrative workload by automating attendance tracking and generating comprehensive reports. </a:t>
            </a:r>
            <a:endParaRPr lang="en-US" sz="1600" kern="0" dirty="0" smtClean="0"/>
          </a:p>
        </p:txBody>
      </p:sp>
    </p:spTree>
    <p:custDataLst>
      <p:tags r:id="rId2"/>
    </p:custDataLst>
    <p:extLst>
      <p:ext uri="{BB962C8B-B14F-4D97-AF65-F5344CB8AC3E}">
        <p14:creationId xmlns:p14="http://schemas.microsoft.com/office/powerpoint/2010/main" val="1577662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5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1250" fill="hold"/>
                                        <p:tgtEl>
                                          <p:spTgt spid="12"/>
                                        </p:tgtEl>
                                        <p:attrNameLst>
                                          <p:attrName>ppt_x</p:attrName>
                                        </p:attrNameLst>
                                      </p:cBhvr>
                                      <p:tavLst>
                                        <p:tav tm="0">
                                          <p:val>
                                            <p:strVal val="1+#ppt_w/2"/>
                                          </p:val>
                                        </p:tav>
                                        <p:tav tm="100000">
                                          <p:val>
                                            <p:strVal val="#ppt_x"/>
                                          </p:val>
                                        </p:tav>
                                      </p:tavLst>
                                    </p:anim>
                                    <p:anim calcmode="lin" valueType="num">
                                      <p:cBhvr additive="base">
                                        <p:cTn id="12" dur="125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E18B07EE-A45E-4446-A223-5B883B13E13D}"/>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3" name="think-cell Slide" r:id="rId5" imgW="344" imgH="344" progId="TCLayout.ActiveDocument.1">
                  <p:embed/>
                </p:oleObj>
              </mc:Choice>
              <mc:Fallback>
                <p:oleObj name="think-cell Slide" r:id="rId5" imgW="344" imgH="344" progId="TCLayout.ActiveDocument.1">
                  <p:embed/>
                  <p:pic>
                    <p:nvPicPr>
                      <p:cNvPr id="10" name="Object 9" hidden="1">
                        <a:extLst>
                          <a:ext uri="{FF2B5EF4-FFF2-40B4-BE49-F238E27FC236}">
                            <a16:creationId xmlns="" xmlns:a16="http://schemas.microsoft.com/office/drawing/2014/main" id="{E18B07EE-A45E-4446-A223-5B883B13E1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 xmlns:a16="http://schemas.microsoft.com/office/drawing/2014/main" id="{226F08B3-37B7-4D5C-80DD-85ECEA54CD23}"/>
              </a:ext>
            </a:extLst>
          </p:cNvPr>
          <p:cNvSpPr/>
          <p:nvPr/>
        </p:nvSpPr>
        <p:spPr>
          <a:xfrm>
            <a:off x="5500914" y="1566250"/>
            <a:ext cx="6691086" cy="3725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8" name="TextBox 7">
            <a:extLst>
              <a:ext uri="{FF2B5EF4-FFF2-40B4-BE49-F238E27FC236}">
                <a16:creationId xmlns="" xmlns:a16="http://schemas.microsoft.com/office/drawing/2014/main" id="{DF7833B0-BA71-4453-853F-974C3C7535A2}"/>
              </a:ext>
            </a:extLst>
          </p:cNvPr>
          <p:cNvSpPr txBox="1"/>
          <p:nvPr/>
        </p:nvSpPr>
        <p:spPr>
          <a:xfrm>
            <a:off x="5654692" y="333641"/>
            <a:ext cx="3898503" cy="1107996"/>
          </a:xfrm>
          <a:prstGeom prst="rect">
            <a:avLst/>
          </a:prstGeom>
          <a:noFill/>
        </p:spPr>
        <p:txBody>
          <a:bodyPr wrap="none" lIns="0" tIns="0" rIns="0" bIns="0" numCol="1" rtlCol="0">
            <a:spAutoFit/>
          </a:bodyPr>
          <a:lstStyle/>
          <a:p>
            <a:r>
              <a:rPr lang="en-US" sz="3600" b="1" dirty="0">
                <a:solidFill>
                  <a:srgbClr val="FDAF1F"/>
                </a:solidFill>
                <a:latin typeface="Times New Roman" pitchFamily="18" charset="0"/>
                <a:cs typeface="Times New Roman" pitchFamily="18" charset="0"/>
              </a:rPr>
              <a:t>Aim and Objectives</a:t>
            </a:r>
          </a:p>
          <a:p>
            <a:endParaRPr lang="de-DE" altLang="de-DE" sz="3600" dirty="0">
              <a:latin typeface="+mj-lt"/>
            </a:endParaRPr>
          </a:p>
        </p:txBody>
      </p:sp>
      <p:sp>
        <p:nvSpPr>
          <p:cNvPr id="9" name="TextBox 8">
            <a:extLst>
              <a:ext uri="{FF2B5EF4-FFF2-40B4-BE49-F238E27FC236}">
                <a16:creationId xmlns="" xmlns:a16="http://schemas.microsoft.com/office/drawing/2014/main" id="{60CD49EC-E6A4-4053-A5B4-CB9DBB8C3F88}"/>
              </a:ext>
            </a:extLst>
          </p:cNvPr>
          <p:cNvSpPr txBox="1"/>
          <p:nvPr/>
        </p:nvSpPr>
        <p:spPr>
          <a:xfrm>
            <a:off x="6326051" y="1808053"/>
            <a:ext cx="5038635" cy="3570208"/>
          </a:xfrm>
          <a:prstGeom prst="rect">
            <a:avLst/>
          </a:prstGeom>
          <a:noFill/>
        </p:spPr>
        <p:txBody>
          <a:bodyPr wrap="square" lIns="0" tIns="0" rIns="0" bIns="0" numCol="1" rtlCol="0">
            <a:spAutoFit/>
          </a:bodyPr>
          <a:lstStyle/>
          <a:p>
            <a:pPr marL="285750" indent="-285750">
              <a:buFont typeface="Arial" panose="020B0604020202020204" pitchFamily="34" charset="0"/>
              <a:buChar char="•"/>
            </a:pPr>
            <a:r>
              <a:rPr lang="en-US" sz="1600" dirty="0"/>
              <a:t>The aim of a smart attendance system is to provide an efficient, accurate, and automated method for recording and managing attendance in various settings. </a:t>
            </a:r>
          </a:p>
          <a:p>
            <a:endParaRPr lang="en-US" sz="1600" dirty="0"/>
          </a:p>
          <a:p>
            <a:pPr marL="285750" indent="-285750">
              <a:buFont typeface="Arial" panose="020B0604020202020204" pitchFamily="34" charset="0"/>
              <a:buChar char="•"/>
            </a:pPr>
            <a:r>
              <a:rPr lang="en-US" sz="1600" dirty="0" smtClean="0"/>
              <a:t>The </a:t>
            </a:r>
            <a:r>
              <a:rPr lang="en-US" sz="1600" dirty="0"/>
              <a:t>system aims to replace traditional manual methods with advanced technologies to streamline the attendance management process</a:t>
            </a:r>
            <a:r>
              <a:rPr lang="en-US" sz="1600" dirty="0" smtClean="0"/>
              <a:t>.</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The system aims to automate the attendance tracking process, eliminating the need for manual entry and reducing administrative workload</a:t>
            </a:r>
          </a:p>
          <a:p>
            <a:r>
              <a:rPr lang="en-US" sz="1600" dirty="0"/>
              <a:t> </a:t>
            </a:r>
          </a:p>
          <a:p>
            <a:endParaRPr lang="de-DE" altLang="de-DE" sz="2400" dirty="0">
              <a:solidFill>
                <a:schemeClr val="accent5"/>
              </a:solidFill>
            </a:endParaRPr>
          </a:p>
        </p:txBody>
      </p:sp>
      <p:sp>
        <p:nvSpPr>
          <p:cNvPr id="11" name="Oval 10">
            <a:extLst>
              <a:ext uri="{FF2B5EF4-FFF2-40B4-BE49-F238E27FC236}">
                <a16:creationId xmlns="" xmlns:a16="http://schemas.microsoft.com/office/drawing/2014/main" id="{A023AAB1-A975-49E3-B0C3-55A4D47324D4}"/>
              </a:ext>
            </a:extLst>
          </p:cNvPr>
          <p:cNvSpPr/>
          <p:nvPr/>
        </p:nvSpPr>
        <p:spPr>
          <a:xfrm>
            <a:off x="2756012" y="1649538"/>
            <a:ext cx="1512270" cy="3361142"/>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a:extLst>
              <a:ext uri="{FF2B5EF4-FFF2-40B4-BE49-F238E27FC236}">
                <a16:creationId xmlns="" xmlns:a16="http://schemas.microsoft.com/office/drawing/2014/main" id="{FB1C1E0D-3089-4D56-A14E-8F902AF1A2FF}"/>
              </a:ext>
            </a:extLst>
          </p:cNvPr>
          <p:cNvSpPr/>
          <p:nvPr/>
        </p:nvSpPr>
        <p:spPr>
          <a:xfrm>
            <a:off x="2761151" y="2113340"/>
            <a:ext cx="1135961" cy="252476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 name="Group 13">
            <a:extLst>
              <a:ext uri="{FF2B5EF4-FFF2-40B4-BE49-F238E27FC236}">
                <a16:creationId xmlns="" xmlns:a16="http://schemas.microsoft.com/office/drawing/2014/main" id="{8D1E7AFD-5B19-4E8E-ACE6-547FDDC7BEBB}"/>
              </a:ext>
            </a:extLst>
          </p:cNvPr>
          <p:cNvGrpSpPr/>
          <p:nvPr/>
        </p:nvGrpSpPr>
        <p:grpSpPr>
          <a:xfrm>
            <a:off x="2791630" y="2399958"/>
            <a:ext cx="841155" cy="1869535"/>
            <a:chOff x="9659757" y="2297436"/>
            <a:chExt cx="1092533" cy="2428247"/>
          </a:xfrm>
          <a:solidFill>
            <a:schemeClr val="bg1">
              <a:lumMod val="85000"/>
            </a:schemeClr>
          </a:solidFill>
        </p:grpSpPr>
        <p:sp>
          <p:nvSpPr>
            <p:cNvPr id="15" name="Oval 14">
              <a:extLst>
                <a:ext uri="{FF2B5EF4-FFF2-40B4-BE49-F238E27FC236}">
                  <a16:creationId xmlns="" xmlns:a16="http://schemas.microsoft.com/office/drawing/2014/main" id="{B8DC52DD-BBB4-4E84-A3C2-FFB7FE188236}"/>
                </a:ext>
              </a:extLst>
            </p:cNvPr>
            <p:cNvSpPr/>
            <p:nvPr/>
          </p:nvSpPr>
          <p:spPr>
            <a:xfrm>
              <a:off x="9659757" y="2297436"/>
              <a:ext cx="1092533" cy="2428247"/>
            </a:xfrm>
            <a:prstGeom prst="ellipse">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a:extLst>
                <a:ext uri="{FF2B5EF4-FFF2-40B4-BE49-F238E27FC236}">
                  <a16:creationId xmlns="" xmlns:a16="http://schemas.microsoft.com/office/drawing/2014/main" id="{8C07236E-E0F5-494F-877D-08A4A0A7871B}"/>
                </a:ext>
              </a:extLst>
            </p:cNvPr>
            <p:cNvSpPr/>
            <p:nvPr/>
          </p:nvSpPr>
          <p:spPr>
            <a:xfrm>
              <a:off x="9692956" y="2602228"/>
              <a:ext cx="820670" cy="182400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 name="Group 16">
            <a:extLst>
              <a:ext uri="{FF2B5EF4-FFF2-40B4-BE49-F238E27FC236}">
                <a16:creationId xmlns="" xmlns:a16="http://schemas.microsoft.com/office/drawing/2014/main" id="{D59A7DBB-F240-49A0-8AD2-7F923FDCB750}"/>
              </a:ext>
            </a:extLst>
          </p:cNvPr>
          <p:cNvGrpSpPr/>
          <p:nvPr/>
        </p:nvGrpSpPr>
        <p:grpSpPr>
          <a:xfrm>
            <a:off x="2843317" y="2827889"/>
            <a:ext cx="519113" cy="1153771"/>
            <a:chOff x="9659757" y="2297436"/>
            <a:chExt cx="1092533" cy="2428247"/>
          </a:xfrm>
          <a:solidFill>
            <a:schemeClr val="bg1">
              <a:lumMod val="95000"/>
            </a:schemeClr>
          </a:solidFill>
        </p:grpSpPr>
        <p:sp>
          <p:nvSpPr>
            <p:cNvPr id="18" name="Oval 17">
              <a:extLst>
                <a:ext uri="{FF2B5EF4-FFF2-40B4-BE49-F238E27FC236}">
                  <a16:creationId xmlns="" xmlns:a16="http://schemas.microsoft.com/office/drawing/2014/main" id="{6BF09F0C-05A4-43AA-9ACA-E71A7BB1B980}"/>
                </a:ext>
              </a:extLst>
            </p:cNvPr>
            <p:cNvSpPr/>
            <p:nvPr/>
          </p:nvSpPr>
          <p:spPr>
            <a:xfrm>
              <a:off x="9659757" y="2297436"/>
              <a:ext cx="1092533" cy="2428247"/>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 xmlns:a16="http://schemas.microsoft.com/office/drawing/2014/main" id="{C6519188-ACF3-4CEA-A3C7-15C292CBABB0}"/>
                </a:ext>
              </a:extLst>
            </p:cNvPr>
            <p:cNvSpPr/>
            <p:nvPr/>
          </p:nvSpPr>
          <p:spPr>
            <a:xfrm>
              <a:off x="9692956" y="2602228"/>
              <a:ext cx="820670" cy="182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0" name="Group 19">
            <a:extLst>
              <a:ext uri="{FF2B5EF4-FFF2-40B4-BE49-F238E27FC236}">
                <a16:creationId xmlns="" xmlns:a16="http://schemas.microsoft.com/office/drawing/2014/main" id="{2EF5F586-1007-4109-ABF0-921FD5AC229E}"/>
              </a:ext>
            </a:extLst>
          </p:cNvPr>
          <p:cNvGrpSpPr/>
          <p:nvPr/>
        </p:nvGrpSpPr>
        <p:grpSpPr>
          <a:xfrm>
            <a:off x="2894591" y="3091023"/>
            <a:ext cx="262971" cy="584474"/>
            <a:chOff x="9778441" y="2906529"/>
            <a:chExt cx="553452" cy="1230094"/>
          </a:xfrm>
          <a:solidFill>
            <a:schemeClr val="bg1"/>
          </a:solidFill>
        </p:grpSpPr>
        <p:sp>
          <p:nvSpPr>
            <p:cNvPr id="21" name="Oval 20">
              <a:extLst>
                <a:ext uri="{FF2B5EF4-FFF2-40B4-BE49-F238E27FC236}">
                  <a16:creationId xmlns="" xmlns:a16="http://schemas.microsoft.com/office/drawing/2014/main" id="{B6D52D70-5AF4-4D8F-894C-0AD3C83EFE03}"/>
                </a:ext>
              </a:extLst>
            </p:cNvPr>
            <p:cNvSpPr/>
            <p:nvPr/>
          </p:nvSpPr>
          <p:spPr>
            <a:xfrm>
              <a:off x="9778441" y="2906529"/>
              <a:ext cx="553452" cy="1230094"/>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a:extLst>
                <a:ext uri="{FF2B5EF4-FFF2-40B4-BE49-F238E27FC236}">
                  <a16:creationId xmlns="" xmlns:a16="http://schemas.microsoft.com/office/drawing/2014/main" id="{31ED2BA9-91ED-4EE4-B321-F1BE33681112}"/>
                </a:ext>
              </a:extLst>
            </p:cNvPr>
            <p:cNvSpPr/>
            <p:nvPr/>
          </p:nvSpPr>
          <p:spPr>
            <a:xfrm>
              <a:off x="9852074" y="3148094"/>
              <a:ext cx="336078" cy="7469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grpSp>
      <p:sp>
        <p:nvSpPr>
          <p:cNvPr id="23" name="Oval 22">
            <a:extLst>
              <a:ext uri="{FF2B5EF4-FFF2-40B4-BE49-F238E27FC236}">
                <a16:creationId xmlns="" xmlns:a16="http://schemas.microsoft.com/office/drawing/2014/main" id="{38B04CE0-DD12-40CA-BD82-43F3AC36B4BE}"/>
              </a:ext>
            </a:extLst>
          </p:cNvPr>
          <p:cNvSpPr/>
          <p:nvPr/>
        </p:nvSpPr>
        <p:spPr>
          <a:xfrm>
            <a:off x="2951679" y="3307320"/>
            <a:ext cx="76929" cy="17098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4" name="Group 23">
            <a:extLst>
              <a:ext uri="{FF2B5EF4-FFF2-40B4-BE49-F238E27FC236}">
                <a16:creationId xmlns="" xmlns:a16="http://schemas.microsoft.com/office/drawing/2014/main" id="{7862E70D-D066-4817-8E10-F21DA6FE7CF8}"/>
              </a:ext>
            </a:extLst>
          </p:cNvPr>
          <p:cNvGrpSpPr/>
          <p:nvPr/>
        </p:nvGrpSpPr>
        <p:grpSpPr>
          <a:xfrm>
            <a:off x="247779" y="2585716"/>
            <a:ext cx="2699232" cy="1655768"/>
            <a:chOff x="4440649" y="2706547"/>
            <a:chExt cx="2699232" cy="1655768"/>
          </a:xfrm>
        </p:grpSpPr>
        <p:sp>
          <p:nvSpPr>
            <p:cNvPr id="25" name="Rectangle: Rounded Corners 790">
              <a:extLst>
                <a:ext uri="{FF2B5EF4-FFF2-40B4-BE49-F238E27FC236}">
                  <a16:creationId xmlns="" xmlns:a16="http://schemas.microsoft.com/office/drawing/2014/main" id="{ED6199C5-696F-41D6-839E-B0F088989C8F}"/>
                </a:ext>
              </a:extLst>
            </p:cNvPr>
            <p:cNvSpPr/>
            <p:nvPr/>
          </p:nvSpPr>
          <p:spPr>
            <a:xfrm>
              <a:off x="5609861" y="3189725"/>
              <a:ext cx="837305" cy="735700"/>
            </a:xfrm>
            <a:prstGeom prst="roundRect">
              <a:avLst>
                <a:gd name="adj" fmla="val 0"/>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Rounded Corners 791">
              <a:extLst>
                <a:ext uri="{FF2B5EF4-FFF2-40B4-BE49-F238E27FC236}">
                  <a16:creationId xmlns="" xmlns:a16="http://schemas.microsoft.com/office/drawing/2014/main" id="{E4C0B4BC-D07E-4897-B620-72DA18CE3DA3}"/>
                </a:ext>
              </a:extLst>
            </p:cNvPr>
            <p:cNvSpPr/>
            <p:nvPr/>
          </p:nvSpPr>
          <p:spPr>
            <a:xfrm>
              <a:off x="4440649" y="3189725"/>
              <a:ext cx="1230972" cy="735700"/>
            </a:xfrm>
            <a:prstGeom prst="roundRect">
              <a:avLst>
                <a:gd name="adj" fmla="val 8957"/>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Graphic 15">
              <a:extLst>
                <a:ext uri="{FF2B5EF4-FFF2-40B4-BE49-F238E27FC236}">
                  <a16:creationId xmlns="" xmlns:a16="http://schemas.microsoft.com/office/drawing/2014/main" id="{1BA0CDDB-B82B-4E16-B3E8-A652327A57E6}"/>
                </a:ext>
              </a:extLst>
            </p:cNvPr>
            <p:cNvSpPr/>
            <p:nvPr/>
          </p:nvSpPr>
          <p:spPr>
            <a:xfrm rot="16200000">
              <a:off x="5824722" y="3047155"/>
              <a:ext cx="1655768" cy="974551"/>
            </a:xfrm>
            <a:custGeom>
              <a:avLst/>
              <a:gdLst>
                <a:gd name="connsiteX0" fmla="*/ 5216 w 1420659"/>
                <a:gd name="connsiteY0" fmla="*/ 41980 h 999183"/>
                <a:gd name="connsiteX1" fmla="*/ 34648 w 1420659"/>
                <a:gd name="connsiteY1" fmla="*/ 1404 h 999183"/>
                <a:gd name="connsiteX2" fmla="*/ 705208 w 1420659"/>
                <a:gd name="connsiteY2" fmla="*/ 197428 h 999183"/>
                <a:gd name="connsiteX3" fmla="*/ 1386817 w 1420659"/>
                <a:gd name="connsiteY3" fmla="*/ 6452 h 999183"/>
                <a:gd name="connsiteX4" fmla="*/ 1415583 w 1420659"/>
                <a:gd name="connsiteY4" fmla="*/ 47028 h 999183"/>
                <a:gd name="connsiteX5" fmla="*/ 739784 w 1420659"/>
                <a:gd name="connsiteY5" fmla="*/ 988194 h 999183"/>
                <a:gd name="connsiteX6" fmla="*/ 697207 w 1420659"/>
                <a:gd name="connsiteY6" fmla="*/ 988384 h 999183"/>
                <a:gd name="connsiteX7" fmla="*/ 5216 w 1420659"/>
                <a:gd name="connsiteY7" fmla="*/ 41980 h 999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0659" h="999183">
                  <a:moveTo>
                    <a:pt x="5216" y="41980"/>
                  </a:moveTo>
                  <a:cubicBezTo>
                    <a:pt x="-9929" y="21311"/>
                    <a:pt x="10359" y="-6597"/>
                    <a:pt x="34648" y="1404"/>
                  </a:cubicBezTo>
                  <a:cubicBezTo>
                    <a:pt x="215814" y="61030"/>
                    <a:pt x="653869" y="202762"/>
                    <a:pt x="705208" y="197428"/>
                  </a:cubicBezTo>
                  <a:cubicBezTo>
                    <a:pt x="757120" y="192094"/>
                    <a:pt x="1207081" y="59697"/>
                    <a:pt x="1386817" y="6452"/>
                  </a:cubicBezTo>
                  <a:cubicBezTo>
                    <a:pt x="1410820" y="-692"/>
                    <a:pt x="1430251" y="26645"/>
                    <a:pt x="1415583" y="47028"/>
                  </a:cubicBezTo>
                  <a:lnTo>
                    <a:pt x="739784" y="988194"/>
                  </a:lnTo>
                  <a:cubicBezTo>
                    <a:pt x="729307" y="1002767"/>
                    <a:pt x="707780" y="1002862"/>
                    <a:pt x="697207" y="988384"/>
                  </a:cubicBezTo>
                  <a:lnTo>
                    <a:pt x="5216" y="41980"/>
                  </a:lnTo>
                  <a:close/>
                </a:path>
              </a:pathLst>
            </a:custGeom>
            <a:solidFill>
              <a:schemeClr val="tx1">
                <a:lumMod val="65000"/>
                <a:lumOff val="35000"/>
              </a:schemeClr>
            </a:solidFill>
            <a:ln w="9525" cap="flat">
              <a:noFill/>
              <a:prstDash val="solid"/>
              <a:miter/>
            </a:ln>
          </p:spPr>
          <p:txBody>
            <a:bodyPr rtlCol="0" anchor="ctr"/>
            <a:lstStyle/>
            <a:p>
              <a:endParaRPr lang="en-US" dirty="0"/>
            </a:p>
          </p:txBody>
        </p:sp>
        <p:sp>
          <p:nvSpPr>
            <p:cNvPr id="28" name="Rectangle: Rounded Corners 793">
              <a:extLst>
                <a:ext uri="{FF2B5EF4-FFF2-40B4-BE49-F238E27FC236}">
                  <a16:creationId xmlns="" xmlns:a16="http://schemas.microsoft.com/office/drawing/2014/main" id="{4F0A58E0-79C1-4EB7-9E77-0B19033259F3}"/>
                </a:ext>
              </a:extLst>
            </p:cNvPr>
            <p:cNvSpPr/>
            <p:nvPr/>
          </p:nvSpPr>
          <p:spPr>
            <a:xfrm>
              <a:off x="5104100" y="3189725"/>
              <a:ext cx="690191" cy="735700"/>
            </a:xfrm>
            <a:prstGeom prst="roundRect">
              <a:avLst>
                <a:gd name="adj" fmla="val 0"/>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Box 28">
              <a:extLst>
                <a:ext uri="{FF2B5EF4-FFF2-40B4-BE49-F238E27FC236}">
                  <a16:creationId xmlns="" xmlns:a16="http://schemas.microsoft.com/office/drawing/2014/main" id="{85967223-B437-4FB7-943C-7BFD4B515CEB}"/>
                </a:ext>
              </a:extLst>
            </p:cNvPr>
            <p:cNvSpPr txBox="1"/>
            <p:nvPr/>
          </p:nvSpPr>
          <p:spPr>
            <a:xfrm>
              <a:off x="4464419" y="3376800"/>
              <a:ext cx="639288" cy="400110"/>
            </a:xfrm>
            <a:prstGeom prst="rect">
              <a:avLst/>
            </a:prstGeom>
            <a:noFill/>
          </p:spPr>
          <p:txBody>
            <a:bodyPr wrap="square" rtlCol="0">
              <a:spAutoFit/>
            </a:bodyPr>
            <a:lstStyle/>
            <a:p>
              <a:r>
                <a:rPr lang="en-US" sz="2000" b="1" dirty="0">
                  <a:solidFill>
                    <a:schemeClr val="bg1"/>
                  </a:solidFill>
                </a:rPr>
                <a:t>01</a:t>
              </a:r>
            </a:p>
          </p:txBody>
        </p:sp>
        <p:sp>
          <p:nvSpPr>
            <p:cNvPr id="30" name="TextBox 29">
              <a:extLst>
                <a:ext uri="{FF2B5EF4-FFF2-40B4-BE49-F238E27FC236}">
                  <a16:creationId xmlns="" xmlns:a16="http://schemas.microsoft.com/office/drawing/2014/main" id="{F1191AEB-B8F1-4997-8B79-A154990A2D19}"/>
                </a:ext>
              </a:extLst>
            </p:cNvPr>
            <p:cNvSpPr txBox="1"/>
            <p:nvPr/>
          </p:nvSpPr>
          <p:spPr>
            <a:xfrm>
              <a:off x="5193110" y="3376800"/>
              <a:ext cx="639288" cy="400110"/>
            </a:xfrm>
            <a:prstGeom prst="rect">
              <a:avLst/>
            </a:prstGeom>
            <a:noFill/>
          </p:spPr>
          <p:txBody>
            <a:bodyPr wrap="square" rtlCol="0">
              <a:spAutoFit/>
            </a:bodyPr>
            <a:lstStyle/>
            <a:p>
              <a:r>
                <a:rPr lang="en-US" sz="2000" b="1" dirty="0">
                  <a:solidFill>
                    <a:schemeClr val="bg1"/>
                  </a:solidFill>
                </a:rPr>
                <a:t>02</a:t>
              </a:r>
            </a:p>
          </p:txBody>
        </p:sp>
        <p:sp>
          <p:nvSpPr>
            <p:cNvPr id="31" name="TextBox 30">
              <a:extLst>
                <a:ext uri="{FF2B5EF4-FFF2-40B4-BE49-F238E27FC236}">
                  <a16:creationId xmlns="" xmlns:a16="http://schemas.microsoft.com/office/drawing/2014/main" id="{454D6A62-9807-41E6-A4EA-3F34BD320CA2}"/>
                </a:ext>
              </a:extLst>
            </p:cNvPr>
            <p:cNvSpPr txBox="1"/>
            <p:nvPr/>
          </p:nvSpPr>
          <p:spPr>
            <a:xfrm>
              <a:off x="5825283" y="3376800"/>
              <a:ext cx="639288" cy="400110"/>
            </a:xfrm>
            <a:prstGeom prst="rect">
              <a:avLst/>
            </a:prstGeom>
            <a:noFill/>
          </p:spPr>
          <p:txBody>
            <a:bodyPr wrap="square" rtlCol="0">
              <a:spAutoFit/>
            </a:bodyPr>
            <a:lstStyle/>
            <a:p>
              <a:r>
                <a:rPr lang="en-US" sz="2000" b="1" dirty="0">
                  <a:solidFill>
                    <a:schemeClr val="bg1"/>
                  </a:solidFill>
                </a:rPr>
                <a:t>03</a:t>
              </a:r>
            </a:p>
          </p:txBody>
        </p:sp>
      </p:grpSp>
    </p:spTree>
    <p:custDataLst>
      <p:tags r:id="rId2"/>
    </p:custDataLst>
    <p:extLst>
      <p:ext uri="{BB962C8B-B14F-4D97-AF65-F5344CB8AC3E}">
        <p14:creationId xmlns:p14="http://schemas.microsoft.com/office/powerpoint/2010/main" val="676304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0" nodeType="withEffect">
                                  <p:stCondLst>
                                    <p:cond delay="260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500" fill="hold"/>
                                        <p:tgtEl>
                                          <p:spTgt spid="12"/>
                                        </p:tgtEl>
                                        <p:attrNameLst>
                                          <p:attrName>ppt_x</p:attrName>
                                        </p:attrNameLst>
                                      </p:cBhvr>
                                      <p:tavLst>
                                        <p:tav tm="0">
                                          <p:val>
                                            <p:strVal val="#ppt_x"/>
                                          </p:val>
                                        </p:tav>
                                        <p:tav tm="100000">
                                          <p:val>
                                            <p:strVal val="#ppt_x"/>
                                          </p:val>
                                        </p:tav>
                                      </p:tavLst>
                                    </p:anim>
                                    <p:anim calcmode="lin" valueType="num">
                                      <p:cBhvr additive="base">
                                        <p:cTn id="24" dur="500" fill="hold"/>
                                        <p:tgtEl>
                                          <p:spTgt spid="12"/>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cBhvr additive="base">
                                        <p:cTn id="27" dur="500" fill="hold"/>
                                        <p:tgtEl>
                                          <p:spTgt spid="14"/>
                                        </p:tgtEl>
                                        <p:attrNameLst>
                                          <p:attrName>ppt_x</p:attrName>
                                        </p:attrNameLst>
                                      </p:cBhvr>
                                      <p:tavLst>
                                        <p:tav tm="0">
                                          <p:val>
                                            <p:strVal val="#ppt_x"/>
                                          </p:val>
                                        </p:tav>
                                        <p:tav tm="100000">
                                          <p:val>
                                            <p:strVal val="#ppt_x"/>
                                          </p:val>
                                        </p:tav>
                                      </p:tavLst>
                                    </p:anim>
                                    <p:anim calcmode="lin" valueType="num">
                                      <p:cBhvr additive="base">
                                        <p:cTn id="28" dur="500" fill="hold"/>
                                        <p:tgtEl>
                                          <p:spTgt spid="14"/>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anim calcmode="lin" valueType="num">
                                      <p:cBhvr additive="base">
                                        <p:cTn id="31" dur="500" fill="hold"/>
                                        <p:tgtEl>
                                          <p:spTgt spid="17"/>
                                        </p:tgtEl>
                                        <p:attrNameLst>
                                          <p:attrName>ppt_x</p:attrName>
                                        </p:attrNameLst>
                                      </p:cBhvr>
                                      <p:tavLst>
                                        <p:tav tm="0">
                                          <p:val>
                                            <p:strVal val="#ppt_x"/>
                                          </p:val>
                                        </p:tav>
                                        <p:tav tm="100000">
                                          <p:val>
                                            <p:strVal val="#ppt_x"/>
                                          </p:val>
                                        </p:tav>
                                      </p:tavLst>
                                    </p:anim>
                                    <p:anim calcmode="lin" valueType="num">
                                      <p:cBhvr additive="base">
                                        <p:cTn id="32" dur="500" fill="hold"/>
                                        <p:tgtEl>
                                          <p:spTgt spid="17"/>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20"/>
                                        </p:tgtEl>
                                        <p:attrNameLst>
                                          <p:attrName>style.visibility</p:attrName>
                                        </p:attrNameLst>
                                      </p:cBhvr>
                                      <p:to>
                                        <p:strVal val="visible"/>
                                      </p:to>
                                    </p:set>
                                    <p:anim calcmode="lin" valueType="num">
                                      <p:cBhvr additive="base">
                                        <p:cTn id="35" dur="500" fill="hold"/>
                                        <p:tgtEl>
                                          <p:spTgt spid="20"/>
                                        </p:tgtEl>
                                        <p:attrNameLst>
                                          <p:attrName>ppt_x</p:attrName>
                                        </p:attrNameLst>
                                      </p:cBhvr>
                                      <p:tavLst>
                                        <p:tav tm="0">
                                          <p:val>
                                            <p:strVal val="#ppt_x"/>
                                          </p:val>
                                        </p:tav>
                                        <p:tav tm="100000">
                                          <p:val>
                                            <p:strVal val="#ppt_x"/>
                                          </p:val>
                                        </p:tav>
                                      </p:tavLst>
                                    </p:anim>
                                    <p:anim calcmode="lin" valueType="num">
                                      <p:cBhvr additive="base">
                                        <p:cTn id="36" dur="500" fill="hold"/>
                                        <p:tgtEl>
                                          <p:spTgt spid="20"/>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anim calcmode="lin" valueType="num">
                                      <p:cBhvr additive="base">
                                        <p:cTn id="39" dur="500" fill="hold"/>
                                        <p:tgtEl>
                                          <p:spTgt spid="23"/>
                                        </p:tgtEl>
                                        <p:attrNameLst>
                                          <p:attrName>ppt_x</p:attrName>
                                        </p:attrNameLst>
                                      </p:cBhvr>
                                      <p:tavLst>
                                        <p:tav tm="0">
                                          <p:val>
                                            <p:strVal val="#ppt_x"/>
                                          </p:val>
                                        </p:tav>
                                        <p:tav tm="100000">
                                          <p:val>
                                            <p:strVal val="#ppt_x"/>
                                          </p:val>
                                        </p:tav>
                                      </p:tavLst>
                                    </p:anim>
                                    <p:anim calcmode="lin" valueType="num">
                                      <p:cBhvr additive="base">
                                        <p:cTn id="40" dur="500" fill="hold"/>
                                        <p:tgtEl>
                                          <p:spTgt spid="23"/>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24"/>
                                        </p:tgtEl>
                                        <p:attrNameLst>
                                          <p:attrName>style.visibility</p:attrName>
                                        </p:attrNameLst>
                                      </p:cBhvr>
                                      <p:to>
                                        <p:strVal val="visible"/>
                                      </p:to>
                                    </p:set>
                                    <p:anim calcmode="lin" valueType="num">
                                      <p:cBhvr additive="base">
                                        <p:cTn id="43" dur="500" fill="hold"/>
                                        <p:tgtEl>
                                          <p:spTgt spid="24"/>
                                        </p:tgtEl>
                                        <p:attrNameLst>
                                          <p:attrName>ppt_x</p:attrName>
                                        </p:attrNameLst>
                                      </p:cBhvr>
                                      <p:tavLst>
                                        <p:tav tm="0">
                                          <p:val>
                                            <p:strVal val="#ppt_x"/>
                                          </p:val>
                                        </p:tav>
                                        <p:tav tm="100000">
                                          <p:val>
                                            <p:strVal val="#ppt_x"/>
                                          </p:val>
                                        </p:tav>
                                      </p:tavLst>
                                    </p:anim>
                                    <p:anim calcmode="lin" valueType="num">
                                      <p:cBhvr additive="base">
                                        <p:cTn id="44"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p:bldP spid="11" grpId="0" animBg="1"/>
      <p:bldP spid="12" grpId="0" animBg="1"/>
      <p:bldP spid="2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4" descr="blob:https://web.whatsapp.com/4dd0ce04-bb3f-4ccd-adbc-8627524f37cd"/>
          <p:cNvSpPr>
            <a:spLocks noChangeAspect="1" noChangeArrowheads="1"/>
          </p:cNvSpPr>
          <p:nvPr/>
        </p:nvSpPr>
        <p:spPr bwMode="auto">
          <a:xfrm>
            <a:off x="4361815" y="3330257"/>
            <a:ext cx="3240768" cy="324077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23782" y="1312274"/>
            <a:ext cx="5516834" cy="5036274"/>
          </a:xfrm>
          <a:prstGeom prst="rect">
            <a:avLst/>
          </a:prstGeom>
        </p:spPr>
      </p:pic>
      <p:sp>
        <p:nvSpPr>
          <p:cNvPr id="8" name="TextBox 7"/>
          <p:cNvSpPr txBox="1"/>
          <p:nvPr/>
        </p:nvSpPr>
        <p:spPr>
          <a:xfrm>
            <a:off x="4740673" y="470264"/>
            <a:ext cx="2483052" cy="430887"/>
          </a:xfrm>
          <a:prstGeom prst="rect">
            <a:avLst/>
          </a:prstGeom>
          <a:noFill/>
        </p:spPr>
        <p:txBody>
          <a:bodyPr wrap="none" lIns="0" tIns="0" rIns="0" bIns="0" numCol="1" rtlCol="0">
            <a:spAutoFit/>
          </a:bodyPr>
          <a:lstStyle/>
          <a:p>
            <a:pPr algn="l"/>
            <a:r>
              <a:rPr lang="en-US" sz="2800" b="1" kern="0" dirty="0" smtClean="0">
                <a:solidFill>
                  <a:srgbClr val="FFC000"/>
                </a:solidFill>
                <a:latin typeface="Times New Roman" panose="02020603050405020304" pitchFamily="18" charset="0"/>
                <a:cs typeface="Times New Roman" panose="02020603050405020304" pitchFamily="18" charset="0"/>
              </a:rPr>
              <a:t>FLOW CHART</a:t>
            </a:r>
          </a:p>
        </p:txBody>
      </p:sp>
    </p:spTree>
    <p:extLst>
      <p:ext uri="{BB962C8B-B14F-4D97-AF65-F5344CB8AC3E}">
        <p14:creationId xmlns:p14="http://schemas.microsoft.com/office/powerpoint/2010/main" val="37869154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E18B07EE-A45E-4446-A223-5B883B13E13D}"/>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2" name="think-cell Slide" r:id="rId5" imgW="344" imgH="344" progId="TCLayout.ActiveDocument.1">
                  <p:embed/>
                </p:oleObj>
              </mc:Choice>
              <mc:Fallback>
                <p:oleObj name="think-cell Slide" r:id="rId5" imgW="344" imgH="344"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a:extLst>
              <a:ext uri="{FF2B5EF4-FFF2-40B4-BE49-F238E27FC236}">
                <a16:creationId xmlns="" xmlns:a16="http://schemas.microsoft.com/office/drawing/2014/main" id="{CA8813BB-D448-4521-9F33-B74EFDC2BCD9}"/>
              </a:ext>
            </a:extLst>
          </p:cNvPr>
          <p:cNvSpPr/>
          <p:nvPr/>
        </p:nvSpPr>
        <p:spPr>
          <a:xfrm>
            <a:off x="5393227" y="2166484"/>
            <a:ext cx="5524168" cy="25980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2" name="Rectangle 1">
            <a:extLst>
              <a:ext uri="{FF2B5EF4-FFF2-40B4-BE49-F238E27FC236}">
                <a16:creationId xmlns="" xmlns:a16="http://schemas.microsoft.com/office/drawing/2014/main" id="{226F08B3-37B7-4D5C-80DD-85ECEA54CD23}"/>
              </a:ext>
            </a:extLst>
          </p:cNvPr>
          <p:cNvSpPr/>
          <p:nvPr/>
        </p:nvSpPr>
        <p:spPr>
          <a:xfrm>
            <a:off x="5500914" y="1566250"/>
            <a:ext cx="6691086" cy="3725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Rectangle 31">
            <a:extLst>
              <a:ext uri="{FF2B5EF4-FFF2-40B4-BE49-F238E27FC236}">
                <a16:creationId xmlns="" xmlns:a16="http://schemas.microsoft.com/office/drawing/2014/main" id="{F176F74B-DE35-4053-92EC-B619D774A456}"/>
              </a:ext>
            </a:extLst>
          </p:cNvPr>
          <p:cNvSpPr/>
          <p:nvPr/>
        </p:nvSpPr>
        <p:spPr>
          <a:xfrm>
            <a:off x="10196661" y="3429000"/>
            <a:ext cx="471340" cy="4454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Rectangle 32">
            <a:extLst>
              <a:ext uri="{FF2B5EF4-FFF2-40B4-BE49-F238E27FC236}">
                <a16:creationId xmlns="" xmlns:a16="http://schemas.microsoft.com/office/drawing/2014/main" id="{247245B7-D1D7-4330-8ECF-98990BE19DC0}"/>
              </a:ext>
            </a:extLst>
          </p:cNvPr>
          <p:cNvSpPr/>
          <p:nvPr/>
        </p:nvSpPr>
        <p:spPr>
          <a:xfrm>
            <a:off x="10196661" y="4041742"/>
            <a:ext cx="471340" cy="4454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Rectangle 34">
            <a:extLst>
              <a:ext uri="{FF2B5EF4-FFF2-40B4-BE49-F238E27FC236}">
                <a16:creationId xmlns="" xmlns:a16="http://schemas.microsoft.com/office/drawing/2014/main" id="{4AF2FAD2-AB80-4543-9B3E-B58399FA0C07}"/>
              </a:ext>
            </a:extLst>
          </p:cNvPr>
          <p:cNvSpPr/>
          <p:nvPr/>
        </p:nvSpPr>
        <p:spPr>
          <a:xfrm>
            <a:off x="10196661" y="4659237"/>
            <a:ext cx="471340" cy="4454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04604" y="1536306"/>
            <a:ext cx="8242663" cy="4230804"/>
          </a:xfrm>
          <a:prstGeom prst="rect">
            <a:avLst/>
          </a:prstGeom>
        </p:spPr>
      </p:pic>
      <p:sp>
        <p:nvSpPr>
          <p:cNvPr id="6" name="TextBox 5"/>
          <p:cNvSpPr txBox="1"/>
          <p:nvPr/>
        </p:nvSpPr>
        <p:spPr>
          <a:xfrm>
            <a:off x="4014776" y="510709"/>
            <a:ext cx="3374322" cy="430887"/>
          </a:xfrm>
          <a:prstGeom prst="rect">
            <a:avLst/>
          </a:prstGeom>
          <a:noFill/>
        </p:spPr>
        <p:txBody>
          <a:bodyPr wrap="none" lIns="0" tIns="0" rIns="0" bIns="0" numCol="1" rtlCol="0">
            <a:spAutoFit/>
          </a:bodyPr>
          <a:lstStyle/>
          <a:p>
            <a:pPr algn="l"/>
            <a:r>
              <a:rPr lang="en-US" sz="2800" kern="0" dirty="0" smtClean="0">
                <a:solidFill>
                  <a:srgbClr val="FFC000"/>
                </a:solidFill>
                <a:latin typeface="Times New Roman" panose="02020603050405020304" pitchFamily="18" charset="0"/>
                <a:cs typeface="Times New Roman" panose="02020603050405020304" pitchFamily="18" charset="0"/>
              </a:rPr>
              <a:t>PROGRAM OUTPUT </a:t>
            </a:r>
          </a:p>
        </p:txBody>
      </p:sp>
    </p:spTree>
    <p:custDataLst>
      <p:tags r:id="rId2"/>
    </p:custDataLst>
    <p:extLst>
      <p:ext uri="{BB962C8B-B14F-4D97-AF65-F5344CB8AC3E}">
        <p14:creationId xmlns:p14="http://schemas.microsoft.com/office/powerpoint/2010/main" val="478112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9"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 xmlns:a16="http://schemas.microsoft.com/office/drawing/2014/main" id="{3F9C22D2-90FE-454B-B032-E42C3279131E}"/>
              </a:ext>
            </a:extLst>
          </p:cNvPr>
          <p:cNvSpPr txBox="1"/>
          <p:nvPr/>
        </p:nvSpPr>
        <p:spPr>
          <a:xfrm>
            <a:off x="1765302" y="1183144"/>
            <a:ext cx="2651110" cy="430887"/>
          </a:xfrm>
          <a:prstGeom prst="rect">
            <a:avLst/>
          </a:prstGeom>
          <a:noFill/>
        </p:spPr>
        <p:txBody>
          <a:bodyPr wrap="none" lIns="0" tIns="0" rIns="0" bIns="0" numCol="1" rtlCol="0">
            <a:spAutoFit/>
          </a:bodyPr>
          <a:lstStyle/>
          <a:p>
            <a:r>
              <a:rPr lang="de-DE" altLang="de-DE" sz="2800" spc="300" dirty="0" smtClean="0">
                <a:solidFill>
                  <a:srgbClr val="CB225B"/>
                </a:solidFill>
              </a:rPr>
              <a:t>ADVANTAGES</a:t>
            </a:r>
            <a:endParaRPr lang="de-DE" altLang="de-DE" sz="2800" spc="300" dirty="0">
              <a:solidFill>
                <a:srgbClr val="CB225B"/>
              </a:solidFill>
            </a:endParaRPr>
          </a:p>
        </p:txBody>
      </p:sp>
      <p:sp>
        <p:nvSpPr>
          <p:cNvPr id="9" name="Oval 8">
            <a:extLst>
              <a:ext uri="{FF2B5EF4-FFF2-40B4-BE49-F238E27FC236}">
                <a16:creationId xmlns="" xmlns:a16="http://schemas.microsoft.com/office/drawing/2014/main" id="{67191FB7-1694-4872-81F9-FE7754259935}"/>
              </a:ext>
            </a:extLst>
          </p:cNvPr>
          <p:cNvSpPr/>
          <p:nvPr/>
        </p:nvSpPr>
        <p:spPr>
          <a:xfrm>
            <a:off x="1173191" y="814358"/>
            <a:ext cx="455584" cy="455584"/>
          </a:xfrm>
          <a:prstGeom prst="ellipse">
            <a:avLst/>
          </a:prstGeom>
          <a:solidFill>
            <a:srgbClr val="8B173E"/>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3" name="TextBox 12">
            <a:extLst>
              <a:ext uri="{FF2B5EF4-FFF2-40B4-BE49-F238E27FC236}">
                <a16:creationId xmlns="" xmlns:a16="http://schemas.microsoft.com/office/drawing/2014/main" id="{F2D56B1B-7E08-4C01-B48A-B8D3DE028C84}"/>
              </a:ext>
            </a:extLst>
          </p:cNvPr>
          <p:cNvSpPr txBox="1"/>
          <p:nvPr/>
        </p:nvSpPr>
        <p:spPr>
          <a:xfrm>
            <a:off x="6581608" y="1183144"/>
            <a:ext cx="3324372" cy="430887"/>
          </a:xfrm>
          <a:prstGeom prst="rect">
            <a:avLst/>
          </a:prstGeom>
          <a:noFill/>
        </p:spPr>
        <p:txBody>
          <a:bodyPr wrap="none" lIns="0" tIns="0" rIns="0" bIns="0" numCol="1" rtlCol="0">
            <a:spAutoFit/>
          </a:bodyPr>
          <a:lstStyle/>
          <a:p>
            <a:r>
              <a:rPr lang="de-DE" altLang="de-DE" sz="2800" spc="300" dirty="0">
                <a:solidFill>
                  <a:schemeClr val="bg2">
                    <a:lumMod val="90000"/>
                    <a:lumOff val="10000"/>
                  </a:schemeClr>
                </a:solidFill>
              </a:rPr>
              <a:t>DISADVANTAGES</a:t>
            </a:r>
          </a:p>
        </p:txBody>
      </p:sp>
      <p:sp>
        <p:nvSpPr>
          <p:cNvPr id="24" name="TextBox 23">
            <a:extLst>
              <a:ext uri="{FF2B5EF4-FFF2-40B4-BE49-F238E27FC236}">
                <a16:creationId xmlns="" xmlns:a16="http://schemas.microsoft.com/office/drawing/2014/main" id="{00A2A0F6-5FFE-4D0B-B57E-ECA81C5E7276}"/>
              </a:ext>
            </a:extLst>
          </p:cNvPr>
          <p:cNvSpPr txBox="1"/>
          <p:nvPr/>
        </p:nvSpPr>
        <p:spPr>
          <a:xfrm>
            <a:off x="1765303" y="1916569"/>
            <a:ext cx="4330698" cy="3153620"/>
          </a:xfrm>
          <a:prstGeom prst="rect">
            <a:avLst/>
          </a:prstGeom>
          <a:noFill/>
        </p:spPr>
        <p:txBody>
          <a:bodyPr wrap="square" lIns="0" tIns="0" rIns="0" bIns="0" numCol="1" rtlCol="0">
            <a:spAutoFit/>
          </a:bodyPr>
          <a:lstStyle/>
          <a:p>
            <a:pPr marL="457200" indent="-457200">
              <a:lnSpc>
                <a:spcPct val="150000"/>
              </a:lnSpc>
              <a:buFont typeface="Arial" panose="020B0604020202020204" pitchFamily="34" charset="0"/>
              <a:buChar char="•"/>
            </a:pPr>
            <a:r>
              <a:rPr lang="en-US" sz="2800" dirty="0" smtClean="0"/>
              <a:t>Accuracy</a:t>
            </a:r>
          </a:p>
          <a:p>
            <a:pPr marL="457200" indent="-457200">
              <a:lnSpc>
                <a:spcPct val="150000"/>
              </a:lnSpc>
              <a:buFont typeface="Arial" panose="020B0604020202020204" pitchFamily="34" charset="0"/>
              <a:buChar char="•"/>
            </a:pPr>
            <a:r>
              <a:rPr lang="en-US" sz="2800" dirty="0" smtClean="0"/>
              <a:t>Automation</a:t>
            </a:r>
          </a:p>
          <a:p>
            <a:pPr marL="457200" indent="-457200">
              <a:lnSpc>
                <a:spcPct val="150000"/>
              </a:lnSpc>
              <a:buFont typeface="Arial" panose="020B0604020202020204" pitchFamily="34" charset="0"/>
              <a:buChar char="•"/>
            </a:pPr>
            <a:r>
              <a:rPr lang="en-US" sz="2800" dirty="0" smtClean="0"/>
              <a:t>Time-saving</a:t>
            </a:r>
          </a:p>
          <a:p>
            <a:pPr marL="457200" indent="-457200">
              <a:lnSpc>
                <a:spcPct val="150000"/>
              </a:lnSpc>
              <a:buFont typeface="Arial" panose="020B0604020202020204" pitchFamily="34" charset="0"/>
              <a:buChar char="•"/>
            </a:pPr>
            <a:r>
              <a:rPr lang="en-US" sz="2800" dirty="0"/>
              <a:t>Improved </a:t>
            </a:r>
            <a:r>
              <a:rPr lang="en-US" sz="2800" dirty="0" smtClean="0"/>
              <a:t>Security</a:t>
            </a:r>
          </a:p>
          <a:p>
            <a:pPr marL="457200" indent="-457200">
              <a:lnSpc>
                <a:spcPct val="150000"/>
              </a:lnSpc>
              <a:buFont typeface="Arial" panose="020B0604020202020204" pitchFamily="34" charset="0"/>
              <a:buChar char="•"/>
            </a:pPr>
            <a:r>
              <a:rPr lang="en-US" sz="2800" dirty="0" smtClean="0"/>
              <a:t>Scalability</a:t>
            </a:r>
            <a:endParaRPr lang="en-US" sz="2800" dirty="0">
              <a:latin typeface="Times New Roman" pitchFamily="18" charset="0"/>
              <a:cs typeface="Times New Roman" pitchFamily="18" charset="0"/>
            </a:endParaRPr>
          </a:p>
        </p:txBody>
      </p:sp>
      <p:sp>
        <p:nvSpPr>
          <p:cNvPr id="25" name="TextBox 24">
            <a:extLst>
              <a:ext uri="{FF2B5EF4-FFF2-40B4-BE49-F238E27FC236}">
                <a16:creationId xmlns="" xmlns:a16="http://schemas.microsoft.com/office/drawing/2014/main" id="{4CECE2D3-5512-44EA-9616-221F509AEF91}"/>
              </a:ext>
            </a:extLst>
          </p:cNvPr>
          <p:cNvSpPr txBox="1"/>
          <p:nvPr/>
        </p:nvSpPr>
        <p:spPr>
          <a:xfrm>
            <a:off x="6581608" y="1916569"/>
            <a:ext cx="4992329" cy="2492990"/>
          </a:xfrm>
          <a:prstGeom prst="rect">
            <a:avLst/>
          </a:prstGeom>
          <a:noFill/>
        </p:spPr>
        <p:txBody>
          <a:bodyPr wrap="square" lIns="0" tIns="0" rIns="0" bIns="0" numCol="1" rtlCol="0">
            <a:spAutoFit/>
          </a:bodyPr>
          <a:lstStyle/>
          <a:p>
            <a:pPr marL="457200" indent="-457200">
              <a:lnSpc>
                <a:spcPct val="150000"/>
              </a:lnSpc>
              <a:buFont typeface="Arial" panose="020B0604020202020204" pitchFamily="34" charset="0"/>
              <a:buChar char="•"/>
            </a:pPr>
            <a:r>
              <a:rPr lang="en-US" dirty="0">
                <a:solidFill>
                  <a:schemeClr val="bg2">
                    <a:lumMod val="90000"/>
                    <a:lumOff val="10000"/>
                  </a:schemeClr>
                </a:solidFill>
              </a:rPr>
              <a:t>Privacy Concerns</a:t>
            </a:r>
          </a:p>
          <a:p>
            <a:pPr marL="457200" indent="-457200">
              <a:lnSpc>
                <a:spcPct val="150000"/>
              </a:lnSpc>
              <a:buFont typeface="Arial" panose="020B0604020202020204" pitchFamily="34" charset="0"/>
              <a:buChar char="•"/>
            </a:pPr>
            <a:r>
              <a:rPr lang="en-US" dirty="0">
                <a:solidFill>
                  <a:schemeClr val="bg2">
                    <a:lumMod val="90000"/>
                    <a:lumOff val="10000"/>
                  </a:schemeClr>
                </a:solidFill>
              </a:rPr>
              <a:t>False Recognition</a:t>
            </a:r>
          </a:p>
          <a:p>
            <a:pPr marL="457200" indent="-457200">
              <a:lnSpc>
                <a:spcPct val="150000"/>
              </a:lnSpc>
              <a:buFont typeface="Arial" panose="020B0604020202020204" pitchFamily="34" charset="0"/>
              <a:buChar char="•"/>
            </a:pPr>
            <a:r>
              <a:rPr lang="en-US" dirty="0">
                <a:solidFill>
                  <a:schemeClr val="bg2">
                    <a:lumMod val="90000"/>
                    <a:lumOff val="10000"/>
                  </a:schemeClr>
                </a:solidFill>
              </a:rPr>
              <a:t>Hardware Requirements</a:t>
            </a:r>
          </a:p>
          <a:p>
            <a:pPr marL="457200" indent="-457200">
              <a:lnSpc>
                <a:spcPct val="150000"/>
              </a:lnSpc>
              <a:buFont typeface="Arial" panose="020B0604020202020204" pitchFamily="34" charset="0"/>
              <a:buChar char="•"/>
            </a:pPr>
            <a:r>
              <a:rPr lang="en-US" dirty="0">
                <a:solidFill>
                  <a:schemeClr val="bg2">
                    <a:lumMod val="90000"/>
                    <a:lumOff val="10000"/>
                  </a:schemeClr>
                </a:solidFill>
              </a:rPr>
              <a:t>Technical Challenges</a:t>
            </a:r>
          </a:p>
          <a:p>
            <a:pPr marL="457200" indent="-457200">
              <a:lnSpc>
                <a:spcPct val="150000"/>
              </a:lnSpc>
              <a:buFont typeface="Arial" panose="020B0604020202020204" pitchFamily="34" charset="0"/>
              <a:buChar char="•"/>
            </a:pPr>
            <a:r>
              <a:rPr lang="en-US" dirty="0">
                <a:solidFill>
                  <a:schemeClr val="bg2">
                    <a:lumMod val="90000"/>
                    <a:lumOff val="10000"/>
                  </a:schemeClr>
                </a:solidFill>
              </a:rPr>
              <a:t>System Reliance</a:t>
            </a:r>
          </a:p>
          <a:p>
            <a:pPr marL="457200" indent="-457200">
              <a:lnSpc>
                <a:spcPct val="150000"/>
              </a:lnSpc>
              <a:buFont typeface="Arial" panose="020B0604020202020204" pitchFamily="34" charset="0"/>
              <a:buChar char="•"/>
            </a:pPr>
            <a:r>
              <a:rPr lang="en-US" dirty="0">
                <a:solidFill>
                  <a:schemeClr val="bg2">
                    <a:lumMod val="90000"/>
                    <a:lumOff val="10000"/>
                  </a:schemeClr>
                </a:solidFill>
              </a:rPr>
              <a:t>Ethical Considerations</a:t>
            </a:r>
            <a:endParaRPr lang="de-DE" altLang="de-DE" spc="300" dirty="0">
              <a:solidFill>
                <a:schemeClr val="bg2">
                  <a:lumMod val="90000"/>
                  <a:lumOff val="10000"/>
                </a:schemeClr>
              </a:solidFill>
            </a:endParaRPr>
          </a:p>
        </p:txBody>
      </p:sp>
      <p:sp>
        <p:nvSpPr>
          <p:cNvPr id="31" name="Oval 30">
            <a:extLst>
              <a:ext uri="{FF2B5EF4-FFF2-40B4-BE49-F238E27FC236}">
                <a16:creationId xmlns="" xmlns:a16="http://schemas.microsoft.com/office/drawing/2014/main" id="{02E0606A-BD57-43DB-957E-84A00723B4D6}"/>
              </a:ext>
            </a:extLst>
          </p:cNvPr>
          <p:cNvSpPr/>
          <p:nvPr/>
        </p:nvSpPr>
        <p:spPr>
          <a:xfrm>
            <a:off x="563789" y="917517"/>
            <a:ext cx="901757" cy="901757"/>
          </a:xfrm>
          <a:prstGeom prst="ellipse">
            <a:avLst/>
          </a:prstGeom>
          <a:solidFill>
            <a:srgbClr val="CB225B"/>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 xmlns:a16="http://schemas.microsoft.com/office/drawing/2014/main" id="{03074DAD-AF35-4290-BE97-98097F56DC1F}"/>
              </a:ext>
            </a:extLst>
          </p:cNvPr>
          <p:cNvSpPr/>
          <p:nvPr/>
        </p:nvSpPr>
        <p:spPr>
          <a:xfrm>
            <a:off x="70776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A11B48"/>
              </a:gs>
              <a:gs pos="100000">
                <a:srgbClr val="CB225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Tree>
    <p:custDataLst>
      <p:tags r:id="rId2"/>
    </p:custDataLst>
    <p:extLst>
      <p:ext uri="{BB962C8B-B14F-4D97-AF65-F5344CB8AC3E}">
        <p14:creationId xmlns:p14="http://schemas.microsoft.com/office/powerpoint/2010/main" val="42109908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2B414BE1-A1FD-4E35-A269-876F637B66D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2" name="think-cell Slide" r:id="rId6" imgW="344" imgH="344" progId="TCLayout.ActiveDocument.1">
                  <p:embed/>
                </p:oleObj>
              </mc:Choice>
              <mc:Fallback>
                <p:oleObj name="think-cell Slide" r:id="rId6" imgW="344" imgH="344" progId="TCLayout.ActiveDocument.1">
                  <p:embed/>
                  <p:pic>
                    <p:nvPicPr>
                      <p:cNvPr id="5" name="Object 4" hidden="1">
                        <a:extLst>
                          <a:ext uri="{FF2B5EF4-FFF2-40B4-BE49-F238E27FC236}">
                            <a16:creationId xmlns="" xmlns:a16="http://schemas.microsoft.com/office/drawing/2014/main" id="{2B414BE1-A1FD-4E35-A269-876F637B66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a:extLst>
              <a:ext uri="{FF2B5EF4-FFF2-40B4-BE49-F238E27FC236}">
                <a16:creationId xmlns="" xmlns:a16="http://schemas.microsoft.com/office/drawing/2014/main" id="{3F9C22D2-90FE-454B-B032-E42C3279131E}"/>
              </a:ext>
            </a:extLst>
          </p:cNvPr>
          <p:cNvSpPr txBox="1"/>
          <p:nvPr/>
        </p:nvSpPr>
        <p:spPr>
          <a:xfrm>
            <a:off x="587375" y="1183144"/>
            <a:ext cx="2651110" cy="430887"/>
          </a:xfrm>
          <a:prstGeom prst="rect">
            <a:avLst/>
          </a:prstGeom>
          <a:noFill/>
        </p:spPr>
        <p:txBody>
          <a:bodyPr wrap="none" lIns="0" tIns="0" rIns="0" bIns="0" numCol="1" rtlCol="0">
            <a:spAutoFit/>
          </a:bodyPr>
          <a:lstStyle/>
          <a:p>
            <a:r>
              <a:rPr lang="de-DE" altLang="de-DE" sz="2800" spc="300" dirty="0">
                <a:solidFill>
                  <a:schemeClr val="bg2">
                    <a:lumMod val="90000"/>
                    <a:lumOff val="10000"/>
                  </a:schemeClr>
                </a:solidFill>
              </a:rPr>
              <a:t>ADVANTAGES</a:t>
            </a:r>
          </a:p>
        </p:txBody>
      </p:sp>
      <p:sp>
        <p:nvSpPr>
          <p:cNvPr id="9" name="Oval 8">
            <a:extLst>
              <a:ext uri="{FF2B5EF4-FFF2-40B4-BE49-F238E27FC236}">
                <a16:creationId xmlns="" xmlns:a16="http://schemas.microsoft.com/office/drawing/2014/main" id="{67191FB7-1694-4872-81F9-FE7754259935}"/>
              </a:ext>
            </a:extLst>
          </p:cNvPr>
          <p:cNvSpPr/>
          <p:nvPr/>
        </p:nvSpPr>
        <p:spPr>
          <a:xfrm>
            <a:off x="5878541" y="814358"/>
            <a:ext cx="455584" cy="455584"/>
          </a:xfrm>
          <a:prstGeom prst="ellipse">
            <a:avLst/>
          </a:prstGeom>
          <a:solidFill>
            <a:srgbClr val="056757"/>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endParaRPr lang="de-DE" altLang="de-DE" sz="1000" kern="0" dirty="0" err="1">
              <a:solidFill>
                <a:schemeClr val="tx1"/>
              </a:solidFill>
            </a:endParaRPr>
          </a:p>
        </p:txBody>
      </p:sp>
      <p:sp>
        <p:nvSpPr>
          <p:cNvPr id="13" name="TextBox 12">
            <a:extLst>
              <a:ext uri="{FF2B5EF4-FFF2-40B4-BE49-F238E27FC236}">
                <a16:creationId xmlns="" xmlns:a16="http://schemas.microsoft.com/office/drawing/2014/main" id="{F2D56B1B-7E08-4C01-B48A-B8D3DE028C84}"/>
              </a:ext>
            </a:extLst>
          </p:cNvPr>
          <p:cNvSpPr txBox="1"/>
          <p:nvPr/>
        </p:nvSpPr>
        <p:spPr>
          <a:xfrm>
            <a:off x="6581608" y="1183144"/>
            <a:ext cx="3324372" cy="430887"/>
          </a:xfrm>
          <a:prstGeom prst="rect">
            <a:avLst/>
          </a:prstGeom>
          <a:noFill/>
        </p:spPr>
        <p:txBody>
          <a:bodyPr wrap="none" lIns="0" tIns="0" rIns="0" bIns="0" numCol="1" rtlCol="0">
            <a:spAutoFit/>
          </a:bodyPr>
          <a:lstStyle/>
          <a:p>
            <a:r>
              <a:rPr lang="de-DE" altLang="de-DE" sz="2800" spc="300" dirty="0" smtClean="0">
                <a:solidFill>
                  <a:srgbClr val="079B84"/>
                </a:solidFill>
              </a:rPr>
              <a:t>DISADVANTAGES</a:t>
            </a:r>
            <a:endParaRPr lang="de-DE" altLang="de-DE" sz="2800" spc="300" dirty="0">
              <a:solidFill>
                <a:srgbClr val="079B84"/>
              </a:solidFill>
            </a:endParaRPr>
          </a:p>
        </p:txBody>
      </p:sp>
      <p:sp>
        <p:nvSpPr>
          <p:cNvPr id="24" name="TextBox 23">
            <a:extLst>
              <a:ext uri="{FF2B5EF4-FFF2-40B4-BE49-F238E27FC236}">
                <a16:creationId xmlns="" xmlns:a16="http://schemas.microsoft.com/office/drawing/2014/main" id="{00A2A0F6-5FFE-4D0B-B57E-ECA81C5E7276}"/>
              </a:ext>
            </a:extLst>
          </p:cNvPr>
          <p:cNvSpPr txBox="1"/>
          <p:nvPr/>
        </p:nvSpPr>
        <p:spPr>
          <a:xfrm>
            <a:off x="587376" y="1916569"/>
            <a:ext cx="4330698" cy="2027350"/>
          </a:xfrm>
          <a:prstGeom prst="rect">
            <a:avLst/>
          </a:prstGeom>
          <a:noFill/>
        </p:spPr>
        <p:txBody>
          <a:bodyPr wrap="square" lIns="0" tIns="0" rIns="0" bIns="0" numCol="1" rtlCol="0">
            <a:spAutoFit/>
          </a:bodyPr>
          <a:lstStyle/>
          <a:p>
            <a:pPr marL="457200" indent="-457200">
              <a:lnSpc>
                <a:spcPct val="150000"/>
              </a:lnSpc>
              <a:buFont typeface="Arial" panose="020B0604020202020204" pitchFamily="34" charset="0"/>
              <a:buChar char="•"/>
            </a:pPr>
            <a:r>
              <a:rPr lang="en-US" dirty="0">
                <a:solidFill>
                  <a:schemeClr val="bg2">
                    <a:lumMod val="90000"/>
                    <a:lumOff val="10000"/>
                  </a:schemeClr>
                </a:solidFill>
              </a:rPr>
              <a:t>Accuracy</a:t>
            </a:r>
          </a:p>
          <a:p>
            <a:pPr marL="457200" indent="-457200">
              <a:lnSpc>
                <a:spcPct val="150000"/>
              </a:lnSpc>
              <a:buFont typeface="Arial" panose="020B0604020202020204" pitchFamily="34" charset="0"/>
              <a:buChar char="•"/>
            </a:pPr>
            <a:r>
              <a:rPr lang="en-US" dirty="0">
                <a:solidFill>
                  <a:schemeClr val="bg2">
                    <a:lumMod val="90000"/>
                    <a:lumOff val="10000"/>
                  </a:schemeClr>
                </a:solidFill>
              </a:rPr>
              <a:t>Automation</a:t>
            </a:r>
          </a:p>
          <a:p>
            <a:pPr marL="457200" indent="-457200">
              <a:lnSpc>
                <a:spcPct val="150000"/>
              </a:lnSpc>
              <a:buFont typeface="Arial" panose="020B0604020202020204" pitchFamily="34" charset="0"/>
              <a:buChar char="•"/>
            </a:pPr>
            <a:r>
              <a:rPr lang="en-US" dirty="0">
                <a:solidFill>
                  <a:schemeClr val="bg2">
                    <a:lumMod val="90000"/>
                    <a:lumOff val="10000"/>
                  </a:schemeClr>
                </a:solidFill>
              </a:rPr>
              <a:t>Time-saving</a:t>
            </a:r>
          </a:p>
          <a:p>
            <a:pPr marL="457200" indent="-457200">
              <a:lnSpc>
                <a:spcPct val="150000"/>
              </a:lnSpc>
              <a:buFont typeface="Arial" panose="020B0604020202020204" pitchFamily="34" charset="0"/>
              <a:buChar char="•"/>
            </a:pPr>
            <a:r>
              <a:rPr lang="en-US" dirty="0">
                <a:solidFill>
                  <a:schemeClr val="bg2">
                    <a:lumMod val="90000"/>
                    <a:lumOff val="10000"/>
                  </a:schemeClr>
                </a:solidFill>
              </a:rPr>
              <a:t>Improved Security</a:t>
            </a:r>
          </a:p>
          <a:p>
            <a:pPr marL="457200" indent="-457200">
              <a:lnSpc>
                <a:spcPct val="150000"/>
              </a:lnSpc>
              <a:buFont typeface="Arial" panose="020B0604020202020204" pitchFamily="34" charset="0"/>
              <a:buChar char="•"/>
            </a:pPr>
            <a:r>
              <a:rPr lang="en-US" dirty="0">
                <a:solidFill>
                  <a:schemeClr val="bg2">
                    <a:lumMod val="90000"/>
                    <a:lumOff val="10000"/>
                  </a:schemeClr>
                </a:solidFill>
              </a:rPr>
              <a:t>Scalability</a:t>
            </a:r>
            <a:endParaRPr lang="en-US" dirty="0">
              <a:solidFill>
                <a:schemeClr val="bg2">
                  <a:lumMod val="90000"/>
                  <a:lumOff val="10000"/>
                </a:schemeClr>
              </a:solidFill>
              <a:latin typeface="Times New Roman" pitchFamily="18" charset="0"/>
              <a:cs typeface="Times New Roman" pitchFamily="18" charset="0"/>
            </a:endParaRPr>
          </a:p>
        </p:txBody>
      </p:sp>
      <p:sp>
        <p:nvSpPr>
          <p:cNvPr id="25" name="TextBox 24">
            <a:extLst>
              <a:ext uri="{FF2B5EF4-FFF2-40B4-BE49-F238E27FC236}">
                <a16:creationId xmlns="" xmlns:a16="http://schemas.microsoft.com/office/drawing/2014/main" id="{4CECE2D3-5512-44EA-9616-221F509AEF91}"/>
              </a:ext>
            </a:extLst>
          </p:cNvPr>
          <p:cNvSpPr txBox="1"/>
          <p:nvPr/>
        </p:nvSpPr>
        <p:spPr>
          <a:xfrm>
            <a:off x="6581608" y="2034135"/>
            <a:ext cx="4992329" cy="3797706"/>
          </a:xfrm>
          <a:prstGeom prst="rect">
            <a:avLst/>
          </a:prstGeom>
          <a:noFill/>
        </p:spPr>
        <p:txBody>
          <a:bodyPr wrap="square" lIns="0" tIns="0" rIns="0" bIns="0" numCol="1" rtlCol="0">
            <a:spAutoFit/>
          </a:bodyPr>
          <a:lstStyle/>
          <a:p>
            <a:pPr marL="457200" indent="-457200">
              <a:lnSpc>
                <a:spcPct val="150000"/>
              </a:lnSpc>
              <a:buFont typeface="Arial" panose="020B0604020202020204" pitchFamily="34" charset="0"/>
              <a:buChar char="•"/>
            </a:pPr>
            <a:r>
              <a:rPr lang="en-US" sz="2800" dirty="0"/>
              <a:t>Privacy </a:t>
            </a:r>
            <a:r>
              <a:rPr lang="en-US" sz="2800" dirty="0" smtClean="0"/>
              <a:t>Concerns</a:t>
            </a:r>
          </a:p>
          <a:p>
            <a:pPr marL="457200" indent="-457200">
              <a:lnSpc>
                <a:spcPct val="150000"/>
              </a:lnSpc>
              <a:buFont typeface="Arial" panose="020B0604020202020204" pitchFamily="34" charset="0"/>
              <a:buChar char="•"/>
            </a:pPr>
            <a:r>
              <a:rPr lang="en-US" sz="2800" dirty="0" smtClean="0"/>
              <a:t>False Recognition</a:t>
            </a:r>
          </a:p>
          <a:p>
            <a:pPr marL="457200" indent="-457200">
              <a:lnSpc>
                <a:spcPct val="150000"/>
              </a:lnSpc>
              <a:buFont typeface="Arial" panose="020B0604020202020204" pitchFamily="34" charset="0"/>
              <a:buChar char="•"/>
            </a:pPr>
            <a:r>
              <a:rPr lang="en-US" sz="2800" dirty="0"/>
              <a:t>Hardware </a:t>
            </a:r>
            <a:r>
              <a:rPr lang="en-US" sz="2800" dirty="0" smtClean="0"/>
              <a:t>Requirements</a:t>
            </a:r>
          </a:p>
          <a:p>
            <a:pPr marL="457200" indent="-457200">
              <a:lnSpc>
                <a:spcPct val="150000"/>
              </a:lnSpc>
              <a:buFont typeface="Arial" panose="020B0604020202020204" pitchFamily="34" charset="0"/>
              <a:buChar char="•"/>
            </a:pPr>
            <a:r>
              <a:rPr lang="en-US" sz="2800" dirty="0"/>
              <a:t>Technical </a:t>
            </a:r>
            <a:r>
              <a:rPr lang="en-US" sz="2800" dirty="0" smtClean="0"/>
              <a:t>Challenges</a:t>
            </a:r>
          </a:p>
          <a:p>
            <a:pPr marL="457200" indent="-457200">
              <a:lnSpc>
                <a:spcPct val="150000"/>
              </a:lnSpc>
              <a:buFont typeface="Arial" panose="020B0604020202020204" pitchFamily="34" charset="0"/>
              <a:buChar char="•"/>
            </a:pPr>
            <a:r>
              <a:rPr lang="en-US" sz="2800" dirty="0"/>
              <a:t>System </a:t>
            </a:r>
            <a:r>
              <a:rPr lang="en-US" sz="2800" dirty="0" smtClean="0"/>
              <a:t>Reliance</a:t>
            </a:r>
          </a:p>
          <a:p>
            <a:pPr marL="457200" indent="-457200">
              <a:lnSpc>
                <a:spcPct val="150000"/>
              </a:lnSpc>
              <a:buFont typeface="Arial" panose="020B0604020202020204" pitchFamily="34" charset="0"/>
              <a:buChar char="•"/>
            </a:pPr>
            <a:r>
              <a:rPr lang="en-US" sz="2800" dirty="0"/>
              <a:t>Ethical Considerations</a:t>
            </a:r>
            <a:endParaRPr lang="de-DE" altLang="de-DE" sz="2800" spc="300" dirty="0">
              <a:solidFill>
                <a:schemeClr val="tx1">
                  <a:lumMod val="75000"/>
                  <a:lumOff val="25000"/>
                </a:schemeClr>
              </a:solidFill>
            </a:endParaRPr>
          </a:p>
        </p:txBody>
      </p:sp>
      <p:sp>
        <p:nvSpPr>
          <p:cNvPr id="31" name="Oval 30">
            <a:extLst>
              <a:ext uri="{FF2B5EF4-FFF2-40B4-BE49-F238E27FC236}">
                <a16:creationId xmlns="" xmlns:a16="http://schemas.microsoft.com/office/drawing/2014/main" id="{02E0606A-BD57-43DB-957E-84A00723B4D6}"/>
              </a:ext>
            </a:extLst>
          </p:cNvPr>
          <p:cNvSpPr/>
          <p:nvPr/>
        </p:nvSpPr>
        <p:spPr>
          <a:xfrm>
            <a:off x="5269139" y="917517"/>
            <a:ext cx="901757" cy="901757"/>
          </a:xfrm>
          <a:prstGeom prst="ellipse">
            <a:avLst/>
          </a:prstGeom>
          <a:solidFill>
            <a:srgbClr val="079B84"/>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
        <p:nvSpPr>
          <p:cNvPr id="32" name="Freeform: Shape 31">
            <a:extLst>
              <a:ext uri="{FF2B5EF4-FFF2-40B4-BE49-F238E27FC236}">
                <a16:creationId xmlns="" xmlns:a16="http://schemas.microsoft.com/office/drawing/2014/main" id="{03074DAD-AF35-4290-BE97-98097F56DC1F}"/>
              </a:ext>
            </a:extLst>
          </p:cNvPr>
          <p:cNvSpPr/>
          <p:nvPr/>
        </p:nvSpPr>
        <p:spPr>
          <a:xfrm>
            <a:off x="5413114" y="1158530"/>
            <a:ext cx="757254" cy="660745"/>
          </a:xfrm>
          <a:custGeom>
            <a:avLst/>
            <a:gdLst>
              <a:gd name="connsiteX0" fmla="*/ 647700 w 926320"/>
              <a:gd name="connsiteY0" fmla="*/ 0 h 808264"/>
              <a:gd name="connsiteX1" fmla="*/ 926320 w 926320"/>
              <a:gd name="connsiteY1" fmla="*/ 263141 h 808264"/>
              <a:gd name="connsiteX2" fmla="*/ 915762 w 926320"/>
              <a:gd name="connsiteY2" fmla="*/ 367876 h 808264"/>
              <a:gd name="connsiteX3" fmla="*/ 375424 w 926320"/>
              <a:gd name="connsiteY3" fmla="*/ 808264 h 808264"/>
              <a:gd name="connsiteX4" fmla="*/ 305962 w 926320"/>
              <a:gd name="connsiteY4" fmla="*/ 801262 h 808264"/>
              <a:gd name="connsiteX5" fmla="*/ 0 w 926320"/>
              <a:gd name="connsiteY5" fmla="*/ 495300 h 808264"/>
              <a:gd name="connsiteX6" fmla="*/ 88900 w 926320"/>
              <a:gd name="connsiteY6" fmla="*/ 76200 h 808264"/>
              <a:gd name="connsiteX7" fmla="*/ 368300 w 926320"/>
              <a:gd name="connsiteY7" fmla="*/ 101600 h 8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320" h="808264">
                <a:moveTo>
                  <a:pt x="647700" y="0"/>
                </a:moveTo>
                <a:lnTo>
                  <a:pt x="926320" y="263141"/>
                </a:lnTo>
                <a:lnTo>
                  <a:pt x="915762" y="367876"/>
                </a:lnTo>
                <a:cubicBezTo>
                  <a:pt x="864332" y="619205"/>
                  <a:pt x="641957" y="808264"/>
                  <a:pt x="375424" y="808264"/>
                </a:cubicBezTo>
                <a:lnTo>
                  <a:pt x="305962" y="801262"/>
                </a:lnTo>
                <a:lnTo>
                  <a:pt x="0" y="495300"/>
                </a:lnTo>
                <a:lnTo>
                  <a:pt x="88900" y="76200"/>
                </a:lnTo>
                <a:lnTo>
                  <a:pt x="368300" y="101600"/>
                </a:lnTo>
                <a:close/>
              </a:path>
            </a:pathLst>
          </a:custGeom>
          <a:gradFill>
            <a:gsLst>
              <a:gs pos="40000">
                <a:srgbClr val="056757"/>
              </a:gs>
              <a:gs pos="100000">
                <a:srgbClr val="079B8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de-DE" altLang="de-DE"/>
          </a:p>
        </p:txBody>
      </p:sp>
    </p:spTree>
    <p:custDataLst>
      <p:tags r:id="rId2"/>
    </p:custDataLst>
    <p:extLst>
      <p:ext uri="{BB962C8B-B14F-4D97-AF65-F5344CB8AC3E}">
        <p14:creationId xmlns:p14="http://schemas.microsoft.com/office/powerpoint/2010/main" val="3505195652"/>
      </p:ext>
    </p:extLst>
  </p:cSld>
  <p:clrMapOvr>
    <a:masterClrMapping/>
  </p:clrMapOvr>
  <mc:AlternateContent xmlns:mc="http://schemas.openxmlformats.org/markup-compatibility/2006">
    <mc:Choice xmlns="" xmlns:p159="http://schemas.microsoft.com/office/powerpoint/2015/09/main" Requires="p159">
      <p:transition spd="slow">
        <p159:morph option="byObject"/>
      </p:transition>
    </mc:Choice>
    <mc:Fallback>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4B605D22-92CB-4246-9268-4CD2AEE1D714}"/>
              </a:ext>
            </a:extLst>
          </p:cNvPr>
          <p:cNvSpPr/>
          <p:nvPr/>
        </p:nvSpPr>
        <p:spPr>
          <a:xfrm>
            <a:off x="2464231" y="5514631"/>
            <a:ext cx="7792461" cy="643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5" name="Rectangle 4">
            <a:extLst>
              <a:ext uri="{FF2B5EF4-FFF2-40B4-BE49-F238E27FC236}">
                <a16:creationId xmlns="" xmlns:a16="http://schemas.microsoft.com/office/drawing/2014/main" id="{21B9F70F-DCA3-477D-A0CD-CEB160349865}"/>
              </a:ext>
            </a:extLst>
          </p:cNvPr>
          <p:cNvSpPr/>
          <p:nvPr/>
        </p:nvSpPr>
        <p:spPr>
          <a:xfrm>
            <a:off x="2649156" y="4280088"/>
            <a:ext cx="7792461" cy="643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6" name="Rectangle 5">
            <a:extLst>
              <a:ext uri="{FF2B5EF4-FFF2-40B4-BE49-F238E27FC236}">
                <a16:creationId xmlns="" xmlns:a16="http://schemas.microsoft.com/office/drawing/2014/main" id="{0D02851B-169A-448C-ABAB-8C5036085B39}"/>
              </a:ext>
            </a:extLst>
          </p:cNvPr>
          <p:cNvSpPr/>
          <p:nvPr/>
        </p:nvSpPr>
        <p:spPr>
          <a:xfrm>
            <a:off x="2464231" y="2762466"/>
            <a:ext cx="7792461" cy="643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7" name="Rectangle 6">
            <a:extLst>
              <a:ext uri="{FF2B5EF4-FFF2-40B4-BE49-F238E27FC236}">
                <a16:creationId xmlns="" xmlns:a16="http://schemas.microsoft.com/office/drawing/2014/main" id="{B4CF114E-5A47-41A5-9586-D14A632705AC}"/>
              </a:ext>
            </a:extLst>
          </p:cNvPr>
          <p:cNvSpPr/>
          <p:nvPr/>
        </p:nvSpPr>
        <p:spPr>
          <a:xfrm>
            <a:off x="2464231" y="1320273"/>
            <a:ext cx="7792461" cy="643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grpSp>
        <p:nvGrpSpPr>
          <p:cNvPr id="8" name="Group 7">
            <a:extLst>
              <a:ext uri="{FF2B5EF4-FFF2-40B4-BE49-F238E27FC236}">
                <a16:creationId xmlns="" xmlns:a16="http://schemas.microsoft.com/office/drawing/2014/main" id="{7064E047-2FAA-4C59-A6A2-FD263A02E2C8}"/>
              </a:ext>
            </a:extLst>
          </p:cNvPr>
          <p:cNvGrpSpPr/>
          <p:nvPr/>
        </p:nvGrpSpPr>
        <p:grpSpPr>
          <a:xfrm>
            <a:off x="2464230" y="3316503"/>
            <a:ext cx="894308" cy="889078"/>
            <a:chOff x="-1834144" y="1877159"/>
            <a:chExt cx="1382721" cy="1374636"/>
          </a:xfrm>
        </p:grpSpPr>
        <p:sp>
          <p:nvSpPr>
            <p:cNvPr id="9" name="Freeform: Shape 3">
              <a:extLst>
                <a:ext uri="{FF2B5EF4-FFF2-40B4-BE49-F238E27FC236}">
                  <a16:creationId xmlns="" xmlns:a16="http://schemas.microsoft.com/office/drawing/2014/main" id="{58D64384-7429-4613-842D-BBA4B8512F80}"/>
                </a:ext>
              </a:extLst>
            </p:cNvPr>
            <p:cNvSpPr/>
            <p:nvPr/>
          </p:nvSpPr>
          <p:spPr>
            <a:xfrm flipV="1">
              <a:off x="-1834143" y="1877159"/>
              <a:ext cx="1382720" cy="687318"/>
            </a:xfrm>
            <a:custGeom>
              <a:avLst/>
              <a:gdLst>
                <a:gd name="connsiteX0" fmla="*/ 1281659 w 2563318"/>
                <a:gd name="connsiteY0" fmla="*/ 1768840 h 1768840"/>
                <a:gd name="connsiteX1" fmla="*/ 2563318 w 2563318"/>
                <a:gd name="connsiteY1" fmla="*/ 884420 h 1768840"/>
                <a:gd name="connsiteX2" fmla="*/ 1281659 w 2563318"/>
                <a:gd name="connsiteY2" fmla="*/ 0 h 1768840"/>
                <a:gd name="connsiteX3" fmla="*/ 0 w 2563318"/>
                <a:gd name="connsiteY3" fmla="*/ 884420 h 1768840"/>
              </a:gdLst>
              <a:ahLst/>
              <a:cxnLst>
                <a:cxn ang="0">
                  <a:pos x="connsiteX0" y="connsiteY0"/>
                </a:cxn>
                <a:cxn ang="0">
                  <a:pos x="connsiteX1" y="connsiteY1"/>
                </a:cxn>
                <a:cxn ang="0">
                  <a:pos x="connsiteX2" y="connsiteY2"/>
                </a:cxn>
                <a:cxn ang="0">
                  <a:pos x="connsiteX3" y="connsiteY3"/>
                </a:cxn>
              </a:cxnLst>
              <a:rect l="l" t="t" r="r" b="b"/>
              <a:pathLst>
                <a:path w="2563318" h="1768840">
                  <a:moveTo>
                    <a:pt x="1281659" y="1768840"/>
                  </a:moveTo>
                  <a:lnTo>
                    <a:pt x="2563318" y="884420"/>
                  </a:lnTo>
                  <a:lnTo>
                    <a:pt x="1281659" y="0"/>
                  </a:lnTo>
                  <a:lnTo>
                    <a:pt x="0" y="884420"/>
                  </a:lnTo>
                  <a:close/>
                </a:path>
              </a:pathLst>
            </a:custGeom>
            <a:gradFill>
              <a:gsLst>
                <a:gs pos="0">
                  <a:schemeClr val="bg1"/>
                </a:gs>
                <a:gs pos="100000">
                  <a:schemeClr val="bg1">
                    <a:lumMod val="75000"/>
                  </a:schemeClr>
                </a:gs>
              </a:gsLst>
              <a:lin ang="5400000" scaled="1"/>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10" name="Freeform: Shape 4">
              <a:extLst>
                <a:ext uri="{FF2B5EF4-FFF2-40B4-BE49-F238E27FC236}">
                  <a16:creationId xmlns="" xmlns:a16="http://schemas.microsoft.com/office/drawing/2014/main" id="{C136A5DA-91F7-47BE-AE21-CFC47F3FF4CB}"/>
                </a:ext>
              </a:extLst>
            </p:cNvPr>
            <p:cNvSpPr/>
            <p:nvPr/>
          </p:nvSpPr>
          <p:spPr>
            <a:xfrm flipV="1">
              <a:off x="-1834143" y="2564477"/>
              <a:ext cx="1382720" cy="687318"/>
            </a:xfrm>
            <a:custGeom>
              <a:avLst/>
              <a:gdLst>
                <a:gd name="connsiteX0" fmla="*/ 1281659 w 2563318"/>
                <a:gd name="connsiteY0" fmla="*/ 1768840 h 1768840"/>
                <a:gd name="connsiteX1" fmla="*/ 2563318 w 2563318"/>
                <a:gd name="connsiteY1" fmla="*/ 884420 h 1768840"/>
                <a:gd name="connsiteX2" fmla="*/ 1281659 w 2563318"/>
                <a:gd name="connsiteY2" fmla="*/ 0 h 1768840"/>
                <a:gd name="connsiteX3" fmla="*/ 0 w 2563318"/>
                <a:gd name="connsiteY3" fmla="*/ 884420 h 1768840"/>
              </a:gdLst>
              <a:ahLst/>
              <a:cxnLst>
                <a:cxn ang="0">
                  <a:pos x="connsiteX0" y="connsiteY0"/>
                </a:cxn>
                <a:cxn ang="0">
                  <a:pos x="connsiteX1" y="connsiteY1"/>
                </a:cxn>
                <a:cxn ang="0">
                  <a:pos x="connsiteX2" y="connsiteY2"/>
                </a:cxn>
                <a:cxn ang="0">
                  <a:pos x="connsiteX3" y="connsiteY3"/>
                </a:cxn>
              </a:cxnLst>
              <a:rect l="l" t="t" r="r" b="b"/>
              <a:pathLst>
                <a:path w="2563318" h="1768840">
                  <a:moveTo>
                    <a:pt x="1281659" y="1768840"/>
                  </a:moveTo>
                  <a:lnTo>
                    <a:pt x="2563318" y="884420"/>
                  </a:lnTo>
                  <a:lnTo>
                    <a:pt x="1281659" y="0"/>
                  </a:lnTo>
                  <a:lnTo>
                    <a:pt x="0" y="884420"/>
                  </a:lnTo>
                  <a:close/>
                </a:path>
              </a:pathLst>
            </a:custGeom>
            <a:solidFill>
              <a:schemeClr val="bg1">
                <a:lumMod val="85000"/>
              </a:schemeClr>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11" name="Freeform: Shape 5">
              <a:extLst>
                <a:ext uri="{FF2B5EF4-FFF2-40B4-BE49-F238E27FC236}">
                  <a16:creationId xmlns="" xmlns:a16="http://schemas.microsoft.com/office/drawing/2014/main" id="{D5EE017E-32A2-47FF-B3D4-BE95D106CBCC}"/>
                </a:ext>
              </a:extLst>
            </p:cNvPr>
            <p:cNvSpPr/>
            <p:nvPr/>
          </p:nvSpPr>
          <p:spPr>
            <a:xfrm rot="16200000" flipH="1">
              <a:off x="-2004351" y="2391026"/>
              <a:ext cx="1030976" cy="690561"/>
            </a:xfrm>
            <a:custGeom>
              <a:avLst/>
              <a:gdLst>
                <a:gd name="connsiteX0" fmla="*/ 0 w 1911245"/>
                <a:gd name="connsiteY0" fmla="*/ 0 h 1280178"/>
                <a:gd name="connsiteX1" fmla="*/ 636938 w 1911245"/>
                <a:gd name="connsiteY1" fmla="*/ 1279363 h 1280178"/>
                <a:gd name="connsiteX2" fmla="*/ 636532 w 1911245"/>
                <a:gd name="connsiteY2" fmla="*/ 1280178 h 1280178"/>
                <a:gd name="connsiteX3" fmla="*/ 637344 w 1911245"/>
                <a:gd name="connsiteY3" fmla="*/ 1280178 h 1280178"/>
                <a:gd name="connsiteX4" fmla="*/ 1911245 w 1911245"/>
                <a:gd name="connsiteY4" fmla="*/ 1280178 h 1280178"/>
                <a:gd name="connsiteX5" fmla="*/ 1274295 w 1911245"/>
                <a:gd name="connsiteY5" fmla="*/ 841 h 1280178"/>
                <a:gd name="connsiteX6" fmla="*/ 1274713 w 1911245"/>
                <a:gd name="connsiteY6" fmla="*/ 0 h 1280178"/>
                <a:gd name="connsiteX7" fmla="*/ 1273876 w 1911245"/>
                <a:gd name="connsiteY7" fmla="*/ 0 h 12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1245" h="1280178">
                  <a:moveTo>
                    <a:pt x="0" y="0"/>
                  </a:moveTo>
                  <a:lnTo>
                    <a:pt x="636938" y="1279363"/>
                  </a:lnTo>
                  <a:lnTo>
                    <a:pt x="636532" y="1280178"/>
                  </a:lnTo>
                  <a:lnTo>
                    <a:pt x="637344" y="1280178"/>
                  </a:lnTo>
                  <a:lnTo>
                    <a:pt x="1911245" y="1280178"/>
                  </a:lnTo>
                  <a:lnTo>
                    <a:pt x="1274295" y="841"/>
                  </a:lnTo>
                  <a:lnTo>
                    <a:pt x="1274713" y="0"/>
                  </a:lnTo>
                  <a:lnTo>
                    <a:pt x="1273876" y="0"/>
                  </a:lnTo>
                  <a:close/>
                </a:path>
              </a:pathLst>
            </a:custGeom>
            <a:gradFill flip="none" rotWithShape="1">
              <a:gsLst>
                <a:gs pos="0">
                  <a:schemeClr val="bg1">
                    <a:lumMod val="85000"/>
                  </a:schemeClr>
                </a:gs>
                <a:gs pos="100000">
                  <a:schemeClr val="bg1">
                    <a:lumMod val="75000"/>
                  </a:schemeClr>
                </a:gs>
              </a:gsLst>
              <a:lin ang="1620000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12" name="Freeform: Shape 6">
              <a:extLst>
                <a:ext uri="{FF2B5EF4-FFF2-40B4-BE49-F238E27FC236}">
                  <a16:creationId xmlns="" xmlns:a16="http://schemas.microsoft.com/office/drawing/2014/main" id="{0D2F9D3D-D8B2-492E-B9DD-971E613B323D}"/>
                </a:ext>
              </a:extLst>
            </p:cNvPr>
            <p:cNvSpPr/>
            <p:nvPr/>
          </p:nvSpPr>
          <p:spPr>
            <a:xfrm rot="5400000" flipH="1" flipV="1">
              <a:off x="-1312191" y="2391025"/>
              <a:ext cx="1030976" cy="690561"/>
            </a:xfrm>
            <a:custGeom>
              <a:avLst/>
              <a:gdLst>
                <a:gd name="connsiteX0" fmla="*/ 0 w 1911245"/>
                <a:gd name="connsiteY0" fmla="*/ 0 h 1280178"/>
                <a:gd name="connsiteX1" fmla="*/ 636938 w 1911245"/>
                <a:gd name="connsiteY1" fmla="*/ 1279363 h 1280178"/>
                <a:gd name="connsiteX2" fmla="*/ 636532 w 1911245"/>
                <a:gd name="connsiteY2" fmla="*/ 1280178 h 1280178"/>
                <a:gd name="connsiteX3" fmla="*/ 637344 w 1911245"/>
                <a:gd name="connsiteY3" fmla="*/ 1280178 h 1280178"/>
                <a:gd name="connsiteX4" fmla="*/ 1911245 w 1911245"/>
                <a:gd name="connsiteY4" fmla="*/ 1280178 h 1280178"/>
                <a:gd name="connsiteX5" fmla="*/ 1274295 w 1911245"/>
                <a:gd name="connsiteY5" fmla="*/ 841 h 1280178"/>
                <a:gd name="connsiteX6" fmla="*/ 1274713 w 1911245"/>
                <a:gd name="connsiteY6" fmla="*/ 0 h 1280178"/>
                <a:gd name="connsiteX7" fmla="*/ 1273876 w 1911245"/>
                <a:gd name="connsiteY7" fmla="*/ 0 h 12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1245" h="1280178">
                  <a:moveTo>
                    <a:pt x="0" y="0"/>
                  </a:moveTo>
                  <a:lnTo>
                    <a:pt x="636938" y="1279363"/>
                  </a:lnTo>
                  <a:lnTo>
                    <a:pt x="636532" y="1280178"/>
                  </a:lnTo>
                  <a:lnTo>
                    <a:pt x="637344" y="1280178"/>
                  </a:lnTo>
                  <a:lnTo>
                    <a:pt x="1911245" y="1280178"/>
                  </a:lnTo>
                  <a:lnTo>
                    <a:pt x="1274295" y="841"/>
                  </a:lnTo>
                  <a:lnTo>
                    <a:pt x="1274713" y="0"/>
                  </a:lnTo>
                  <a:lnTo>
                    <a:pt x="1273876" y="0"/>
                  </a:lnTo>
                  <a:close/>
                </a:path>
              </a:pathLst>
            </a:custGeom>
            <a:gradFill flip="none" rotWithShape="1">
              <a:gsLst>
                <a:gs pos="0">
                  <a:schemeClr val="bg1">
                    <a:lumMod val="85000"/>
                  </a:schemeClr>
                </a:gs>
                <a:gs pos="100000">
                  <a:schemeClr val="bg1">
                    <a:lumMod val="75000"/>
                  </a:schemeClr>
                </a:gs>
              </a:gsLst>
              <a:lin ang="1350000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latin typeface="Verdana" panose="020B0604030504040204" pitchFamily="34" charset="0"/>
                <a:ea typeface="Verdana" panose="020B0604030504040204" pitchFamily="34" charset="0"/>
              </a:endParaRPr>
            </a:p>
          </p:txBody>
        </p:sp>
      </p:grpSp>
      <p:grpSp>
        <p:nvGrpSpPr>
          <p:cNvPr id="13" name="Group 12">
            <a:extLst>
              <a:ext uri="{FF2B5EF4-FFF2-40B4-BE49-F238E27FC236}">
                <a16:creationId xmlns="" xmlns:a16="http://schemas.microsoft.com/office/drawing/2014/main" id="{98BFEC39-8F22-44D2-9E89-81FD2C809E7B}"/>
              </a:ext>
            </a:extLst>
          </p:cNvPr>
          <p:cNvGrpSpPr/>
          <p:nvPr/>
        </p:nvGrpSpPr>
        <p:grpSpPr>
          <a:xfrm>
            <a:off x="2023334" y="2645424"/>
            <a:ext cx="894308" cy="889078"/>
            <a:chOff x="-1834144" y="1877159"/>
            <a:chExt cx="1382721" cy="1374636"/>
          </a:xfrm>
          <a:effectLst>
            <a:outerShdw blurRad="101600" dist="38100" dir="2700000" algn="tl" rotWithShape="0">
              <a:prstClr val="black">
                <a:alpha val="29000"/>
              </a:prstClr>
            </a:outerShdw>
          </a:effectLst>
        </p:grpSpPr>
        <p:sp>
          <p:nvSpPr>
            <p:cNvPr id="14" name="Freeform: Shape 8">
              <a:extLst>
                <a:ext uri="{FF2B5EF4-FFF2-40B4-BE49-F238E27FC236}">
                  <a16:creationId xmlns="" xmlns:a16="http://schemas.microsoft.com/office/drawing/2014/main" id="{1C31E28B-46C5-47F8-9DA5-97EDAA5964F7}"/>
                </a:ext>
              </a:extLst>
            </p:cNvPr>
            <p:cNvSpPr/>
            <p:nvPr/>
          </p:nvSpPr>
          <p:spPr>
            <a:xfrm flipV="1">
              <a:off x="-1834143" y="1877159"/>
              <a:ext cx="1382720" cy="687318"/>
            </a:xfrm>
            <a:custGeom>
              <a:avLst/>
              <a:gdLst>
                <a:gd name="connsiteX0" fmla="*/ 1281659 w 2563318"/>
                <a:gd name="connsiteY0" fmla="*/ 1768840 h 1768840"/>
                <a:gd name="connsiteX1" fmla="*/ 2563318 w 2563318"/>
                <a:gd name="connsiteY1" fmla="*/ 884420 h 1768840"/>
                <a:gd name="connsiteX2" fmla="*/ 1281659 w 2563318"/>
                <a:gd name="connsiteY2" fmla="*/ 0 h 1768840"/>
                <a:gd name="connsiteX3" fmla="*/ 0 w 2563318"/>
                <a:gd name="connsiteY3" fmla="*/ 884420 h 1768840"/>
              </a:gdLst>
              <a:ahLst/>
              <a:cxnLst>
                <a:cxn ang="0">
                  <a:pos x="connsiteX0" y="connsiteY0"/>
                </a:cxn>
                <a:cxn ang="0">
                  <a:pos x="connsiteX1" y="connsiteY1"/>
                </a:cxn>
                <a:cxn ang="0">
                  <a:pos x="connsiteX2" y="connsiteY2"/>
                </a:cxn>
                <a:cxn ang="0">
                  <a:pos x="connsiteX3" y="connsiteY3"/>
                </a:cxn>
              </a:cxnLst>
              <a:rect l="l" t="t" r="r" b="b"/>
              <a:pathLst>
                <a:path w="2563318" h="1768840">
                  <a:moveTo>
                    <a:pt x="1281659" y="1768840"/>
                  </a:moveTo>
                  <a:lnTo>
                    <a:pt x="2563318" y="884420"/>
                  </a:lnTo>
                  <a:lnTo>
                    <a:pt x="1281659" y="0"/>
                  </a:lnTo>
                  <a:lnTo>
                    <a:pt x="0" y="884420"/>
                  </a:lnTo>
                  <a:close/>
                </a:path>
              </a:pathLst>
            </a:custGeom>
            <a:gradFill>
              <a:gsLst>
                <a:gs pos="0">
                  <a:schemeClr val="bg1"/>
                </a:gs>
                <a:gs pos="100000">
                  <a:schemeClr val="bg1">
                    <a:lumMod val="75000"/>
                  </a:schemeClr>
                </a:gs>
              </a:gsLst>
              <a:lin ang="5400000" scaled="1"/>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latin typeface="Verdana" panose="020B0604030504040204" pitchFamily="34" charset="0"/>
                <a:ea typeface="Verdana" panose="020B0604030504040204" pitchFamily="34" charset="0"/>
              </a:endParaRPr>
            </a:p>
          </p:txBody>
        </p:sp>
        <p:sp>
          <p:nvSpPr>
            <p:cNvPr id="15" name="Freeform: Shape 9">
              <a:extLst>
                <a:ext uri="{FF2B5EF4-FFF2-40B4-BE49-F238E27FC236}">
                  <a16:creationId xmlns="" xmlns:a16="http://schemas.microsoft.com/office/drawing/2014/main" id="{03825254-5D9D-4106-8F10-B32F62B14F51}"/>
                </a:ext>
              </a:extLst>
            </p:cNvPr>
            <p:cNvSpPr/>
            <p:nvPr/>
          </p:nvSpPr>
          <p:spPr>
            <a:xfrm flipV="1">
              <a:off x="-1834143" y="2564477"/>
              <a:ext cx="1382720" cy="687318"/>
            </a:xfrm>
            <a:custGeom>
              <a:avLst/>
              <a:gdLst>
                <a:gd name="connsiteX0" fmla="*/ 1281659 w 2563318"/>
                <a:gd name="connsiteY0" fmla="*/ 1768840 h 1768840"/>
                <a:gd name="connsiteX1" fmla="*/ 2563318 w 2563318"/>
                <a:gd name="connsiteY1" fmla="*/ 884420 h 1768840"/>
                <a:gd name="connsiteX2" fmla="*/ 1281659 w 2563318"/>
                <a:gd name="connsiteY2" fmla="*/ 0 h 1768840"/>
                <a:gd name="connsiteX3" fmla="*/ 0 w 2563318"/>
                <a:gd name="connsiteY3" fmla="*/ 884420 h 1768840"/>
              </a:gdLst>
              <a:ahLst/>
              <a:cxnLst>
                <a:cxn ang="0">
                  <a:pos x="connsiteX0" y="connsiteY0"/>
                </a:cxn>
                <a:cxn ang="0">
                  <a:pos x="connsiteX1" y="connsiteY1"/>
                </a:cxn>
                <a:cxn ang="0">
                  <a:pos x="connsiteX2" y="connsiteY2"/>
                </a:cxn>
                <a:cxn ang="0">
                  <a:pos x="connsiteX3" y="connsiteY3"/>
                </a:cxn>
              </a:cxnLst>
              <a:rect l="l" t="t" r="r" b="b"/>
              <a:pathLst>
                <a:path w="2563318" h="1768840">
                  <a:moveTo>
                    <a:pt x="1281659" y="1768840"/>
                  </a:moveTo>
                  <a:lnTo>
                    <a:pt x="2563318" y="884420"/>
                  </a:lnTo>
                  <a:lnTo>
                    <a:pt x="1281659" y="0"/>
                  </a:lnTo>
                  <a:lnTo>
                    <a:pt x="0" y="884420"/>
                  </a:lnTo>
                  <a:close/>
                </a:path>
              </a:pathLst>
            </a:custGeom>
            <a:solidFill>
              <a:schemeClr val="bg1">
                <a:lumMod val="85000"/>
              </a:schemeClr>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16" name="Freeform: Shape 10">
              <a:extLst>
                <a:ext uri="{FF2B5EF4-FFF2-40B4-BE49-F238E27FC236}">
                  <a16:creationId xmlns="" xmlns:a16="http://schemas.microsoft.com/office/drawing/2014/main" id="{9FA48DB9-FD7C-4B6F-97CC-1C91E93F4391}"/>
                </a:ext>
              </a:extLst>
            </p:cNvPr>
            <p:cNvSpPr/>
            <p:nvPr/>
          </p:nvSpPr>
          <p:spPr>
            <a:xfrm rot="16200000" flipH="1">
              <a:off x="-2004351" y="2391026"/>
              <a:ext cx="1030976" cy="690561"/>
            </a:xfrm>
            <a:custGeom>
              <a:avLst/>
              <a:gdLst>
                <a:gd name="connsiteX0" fmla="*/ 0 w 1911245"/>
                <a:gd name="connsiteY0" fmla="*/ 0 h 1280178"/>
                <a:gd name="connsiteX1" fmla="*/ 636938 w 1911245"/>
                <a:gd name="connsiteY1" fmla="*/ 1279363 h 1280178"/>
                <a:gd name="connsiteX2" fmla="*/ 636532 w 1911245"/>
                <a:gd name="connsiteY2" fmla="*/ 1280178 h 1280178"/>
                <a:gd name="connsiteX3" fmla="*/ 637344 w 1911245"/>
                <a:gd name="connsiteY3" fmla="*/ 1280178 h 1280178"/>
                <a:gd name="connsiteX4" fmla="*/ 1911245 w 1911245"/>
                <a:gd name="connsiteY4" fmla="*/ 1280178 h 1280178"/>
                <a:gd name="connsiteX5" fmla="*/ 1274295 w 1911245"/>
                <a:gd name="connsiteY5" fmla="*/ 841 h 1280178"/>
                <a:gd name="connsiteX6" fmla="*/ 1274713 w 1911245"/>
                <a:gd name="connsiteY6" fmla="*/ 0 h 1280178"/>
                <a:gd name="connsiteX7" fmla="*/ 1273876 w 1911245"/>
                <a:gd name="connsiteY7" fmla="*/ 0 h 12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1245" h="1280178">
                  <a:moveTo>
                    <a:pt x="0" y="0"/>
                  </a:moveTo>
                  <a:lnTo>
                    <a:pt x="636938" y="1279363"/>
                  </a:lnTo>
                  <a:lnTo>
                    <a:pt x="636532" y="1280178"/>
                  </a:lnTo>
                  <a:lnTo>
                    <a:pt x="637344" y="1280178"/>
                  </a:lnTo>
                  <a:lnTo>
                    <a:pt x="1911245" y="1280178"/>
                  </a:lnTo>
                  <a:lnTo>
                    <a:pt x="1274295" y="841"/>
                  </a:lnTo>
                  <a:lnTo>
                    <a:pt x="1274713" y="0"/>
                  </a:lnTo>
                  <a:lnTo>
                    <a:pt x="1273876" y="0"/>
                  </a:lnTo>
                  <a:close/>
                </a:path>
              </a:pathLst>
            </a:custGeom>
            <a:gradFill flip="none" rotWithShape="1">
              <a:gsLst>
                <a:gs pos="0">
                  <a:schemeClr val="bg1">
                    <a:lumMod val="85000"/>
                  </a:schemeClr>
                </a:gs>
                <a:gs pos="100000">
                  <a:schemeClr val="bg1">
                    <a:lumMod val="75000"/>
                  </a:schemeClr>
                </a:gs>
              </a:gsLst>
              <a:lin ang="1620000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latin typeface="Verdana" panose="020B0604030504040204" pitchFamily="34" charset="0"/>
                <a:ea typeface="Verdana" panose="020B0604030504040204" pitchFamily="34" charset="0"/>
              </a:endParaRPr>
            </a:p>
          </p:txBody>
        </p:sp>
        <p:sp>
          <p:nvSpPr>
            <p:cNvPr id="17" name="Freeform: Shape 11">
              <a:extLst>
                <a:ext uri="{FF2B5EF4-FFF2-40B4-BE49-F238E27FC236}">
                  <a16:creationId xmlns="" xmlns:a16="http://schemas.microsoft.com/office/drawing/2014/main" id="{3ADDD710-A88E-475C-A0CF-DA4D899D34B3}"/>
                </a:ext>
              </a:extLst>
            </p:cNvPr>
            <p:cNvSpPr/>
            <p:nvPr/>
          </p:nvSpPr>
          <p:spPr>
            <a:xfrm rot="5400000" flipH="1" flipV="1">
              <a:off x="-1312191" y="2391025"/>
              <a:ext cx="1030976" cy="690561"/>
            </a:xfrm>
            <a:custGeom>
              <a:avLst/>
              <a:gdLst>
                <a:gd name="connsiteX0" fmla="*/ 0 w 1911245"/>
                <a:gd name="connsiteY0" fmla="*/ 0 h 1280178"/>
                <a:gd name="connsiteX1" fmla="*/ 636938 w 1911245"/>
                <a:gd name="connsiteY1" fmla="*/ 1279363 h 1280178"/>
                <a:gd name="connsiteX2" fmla="*/ 636532 w 1911245"/>
                <a:gd name="connsiteY2" fmla="*/ 1280178 h 1280178"/>
                <a:gd name="connsiteX3" fmla="*/ 637344 w 1911245"/>
                <a:gd name="connsiteY3" fmla="*/ 1280178 h 1280178"/>
                <a:gd name="connsiteX4" fmla="*/ 1911245 w 1911245"/>
                <a:gd name="connsiteY4" fmla="*/ 1280178 h 1280178"/>
                <a:gd name="connsiteX5" fmla="*/ 1274295 w 1911245"/>
                <a:gd name="connsiteY5" fmla="*/ 841 h 1280178"/>
                <a:gd name="connsiteX6" fmla="*/ 1274713 w 1911245"/>
                <a:gd name="connsiteY6" fmla="*/ 0 h 1280178"/>
                <a:gd name="connsiteX7" fmla="*/ 1273876 w 1911245"/>
                <a:gd name="connsiteY7" fmla="*/ 0 h 12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1245" h="1280178">
                  <a:moveTo>
                    <a:pt x="0" y="0"/>
                  </a:moveTo>
                  <a:lnTo>
                    <a:pt x="636938" y="1279363"/>
                  </a:lnTo>
                  <a:lnTo>
                    <a:pt x="636532" y="1280178"/>
                  </a:lnTo>
                  <a:lnTo>
                    <a:pt x="637344" y="1280178"/>
                  </a:lnTo>
                  <a:lnTo>
                    <a:pt x="1911245" y="1280178"/>
                  </a:lnTo>
                  <a:lnTo>
                    <a:pt x="1274295" y="841"/>
                  </a:lnTo>
                  <a:lnTo>
                    <a:pt x="1274713" y="0"/>
                  </a:lnTo>
                  <a:lnTo>
                    <a:pt x="1273876" y="0"/>
                  </a:lnTo>
                  <a:close/>
                </a:path>
              </a:pathLst>
            </a:custGeom>
            <a:gradFill flip="none" rotWithShape="1">
              <a:gsLst>
                <a:gs pos="0">
                  <a:schemeClr val="bg1">
                    <a:lumMod val="85000"/>
                  </a:schemeClr>
                </a:gs>
                <a:gs pos="100000">
                  <a:schemeClr val="bg1">
                    <a:lumMod val="75000"/>
                  </a:schemeClr>
                </a:gs>
              </a:gsLst>
              <a:lin ang="1350000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latin typeface="Verdana" panose="020B0604030504040204" pitchFamily="34" charset="0"/>
                <a:ea typeface="Verdana" panose="020B0604030504040204" pitchFamily="34" charset="0"/>
              </a:endParaRPr>
            </a:p>
          </p:txBody>
        </p:sp>
      </p:grpSp>
      <p:grpSp>
        <p:nvGrpSpPr>
          <p:cNvPr id="18" name="Group 17">
            <a:extLst>
              <a:ext uri="{FF2B5EF4-FFF2-40B4-BE49-F238E27FC236}">
                <a16:creationId xmlns="" xmlns:a16="http://schemas.microsoft.com/office/drawing/2014/main" id="{BEA1CCF7-C7DC-4B67-9DBF-07C83A8E2DFF}"/>
              </a:ext>
            </a:extLst>
          </p:cNvPr>
          <p:cNvGrpSpPr/>
          <p:nvPr/>
        </p:nvGrpSpPr>
        <p:grpSpPr>
          <a:xfrm>
            <a:off x="2469972" y="1978947"/>
            <a:ext cx="894308" cy="889078"/>
            <a:chOff x="-1834144" y="1877159"/>
            <a:chExt cx="1382721" cy="1374636"/>
          </a:xfrm>
          <a:effectLst>
            <a:outerShdw blurRad="101600" dist="38100" dir="8100000" algn="tr" rotWithShape="0">
              <a:prstClr val="black">
                <a:alpha val="31000"/>
              </a:prstClr>
            </a:outerShdw>
          </a:effectLst>
        </p:grpSpPr>
        <p:sp>
          <p:nvSpPr>
            <p:cNvPr id="19" name="Freeform: Shape 13">
              <a:extLst>
                <a:ext uri="{FF2B5EF4-FFF2-40B4-BE49-F238E27FC236}">
                  <a16:creationId xmlns="" xmlns:a16="http://schemas.microsoft.com/office/drawing/2014/main" id="{D2AE46C2-1474-4256-B9ED-B5F38F9EBC1F}"/>
                </a:ext>
              </a:extLst>
            </p:cNvPr>
            <p:cNvSpPr/>
            <p:nvPr/>
          </p:nvSpPr>
          <p:spPr>
            <a:xfrm flipV="1">
              <a:off x="-1834143" y="1877159"/>
              <a:ext cx="1382720" cy="687318"/>
            </a:xfrm>
            <a:custGeom>
              <a:avLst/>
              <a:gdLst>
                <a:gd name="connsiteX0" fmla="*/ 1281659 w 2563318"/>
                <a:gd name="connsiteY0" fmla="*/ 1768840 h 1768840"/>
                <a:gd name="connsiteX1" fmla="*/ 2563318 w 2563318"/>
                <a:gd name="connsiteY1" fmla="*/ 884420 h 1768840"/>
                <a:gd name="connsiteX2" fmla="*/ 1281659 w 2563318"/>
                <a:gd name="connsiteY2" fmla="*/ 0 h 1768840"/>
                <a:gd name="connsiteX3" fmla="*/ 0 w 2563318"/>
                <a:gd name="connsiteY3" fmla="*/ 884420 h 1768840"/>
              </a:gdLst>
              <a:ahLst/>
              <a:cxnLst>
                <a:cxn ang="0">
                  <a:pos x="connsiteX0" y="connsiteY0"/>
                </a:cxn>
                <a:cxn ang="0">
                  <a:pos x="connsiteX1" y="connsiteY1"/>
                </a:cxn>
                <a:cxn ang="0">
                  <a:pos x="connsiteX2" y="connsiteY2"/>
                </a:cxn>
                <a:cxn ang="0">
                  <a:pos x="connsiteX3" y="connsiteY3"/>
                </a:cxn>
              </a:cxnLst>
              <a:rect l="l" t="t" r="r" b="b"/>
              <a:pathLst>
                <a:path w="2563318" h="1768840">
                  <a:moveTo>
                    <a:pt x="1281659" y="1768840"/>
                  </a:moveTo>
                  <a:lnTo>
                    <a:pt x="2563318" y="884420"/>
                  </a:lnTo>
                  <a:lnTo>
                    <a:pt x="1281659" y="0"/>
                  </a:lnTo>
                  <a:lnTo>
                    <a:pt x="0" y="884420"/>
                  </a:lnTo>
                  <a:close/>
                </a:path>
              </a:pathLst>
            </a:custGeom>
            <a:gradFill>
              <a:gsLst>
                <a:gs pos="0">
                  <a:schemeClr val="bg1"/>
                </a:gs>
                <a:gs pos="100000">
                  <a:schemeClr val="bg1">
                    <a:lumMod val="75000"/>
                  </a:schemeClr>
                </a:gs>
              </a:gsLst>
              <a:lin ang="5400000" scaled="1"/>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20" name="Freeform: Shape 14">
              <a:extLst>
                <a:ext uri="{FF2B5EF4-FFF2-40B4-BE49-F238E27FC236}">
                  <a16:creationId xmlns="" xmlns:a16="http://schemas.microsoft.com/office/drawing/2014/main" id="{9284EE5B-BAC9-446E-8F5C-C67B4000D604}"/>
                </a:ext>
              </a:extLst>
            </p:cNvPr>
            <p:cNvSpPr/>
            <p:nvPr/>
          </p:nvSpPr>
          <p:spPr>
            <a:xfrm flipV="1">
              <a:off x="-1834143" y="2564477"/>
              <a:ext cx="1382720" cy="687318"/>
            </a:xfrm>
            <a:custGeom>
              <a:avLst/>
              <a:gdLst>
                <a:gd name="connsiteX0" fmla="*/ 1281659 w 2563318"/>
                <a:gd name="connsiteY0" fmla="*/ 1768840 h 1768840"/>
                <a:gd name="connsiteX1" fmla="*/ 2563318 w 2563318"/>
                <a:gd name="connsiteY1" fmla="*/ 884420 h 1768840"/>
                <a:gd name="connsiteX2" fmla="*/ 1281659 w 2563318"/>
                <a:gd name="connsiteY2" fmla="*/ 0 h 1768840"/>
                <a:gd name="connsiteX3" fmla="*/ 0 w 2563318"/>
                <a:gd name="connsiteY3" fmla="*/ 884420 h 1768840"/>
              </a:gdLst>
              <a:ahLst/>
              <a:cxnLst>
                <a:cxn ang="0">
                  <a:pos x="connsiteX0" y="connsiteY0"/>
                </a:cxn>
                <a:cxn ang="0">
                  <a:pos x="connsiteX1" y="connsiteY1"/>
                </a:cxn>
                <a:cxn ang="0">
                  <a:pos x="connsiteX2" y="connsiteY2"/>
                </a:cxn>
                <a:cxn ang="0">
                  <a:pos x="connsiteX3" y="connsiteY3"/>
                </a:cxn>
              </a:cxnLst>
              <a:rect l="l" t="t" r="r" b="b"/>
              <a:pathLst>
                <a:path w="2563318" h="1768840">
                  <a:moveTo>
                    <a:pt x="1281659" y="1768840"/>
                  </a:moveTo>
                  <a:lnTo>
                    <a:pt x="2563318" y="884420"/>
                  </a:lnTo>
                  <a:lnTo>
                    <a:pt x="1281659" y="0"/>
                  </a:lnTo>
                  <a:lnTo>
                    <a:pt x="0" y="884420"/>
                  </a:lnTo>
                  <a:close/>
                </a:path>
              </a:pathLst>
            </a:custGeom>
            <a:solidFill>
              <a:schemeClr val="bg1">
                <a:lumMod val="85000"/>
              </a:schemeClr>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21" name="Freeform: Shape 15">
              <a:extLst>
                <a:ext uri="{FF2B5EF4-FFF2-40B4-BE49-F238E27FC236}">
                  <a16:creationId xmlns="" xmlns:a16="http://schemas.microsoft.com/office/drawing/2014/main" id="{F9C19CD3-9F70-4570-80D6-27DF2F45A1AB}"/>
                </a:ext>
              </a:extLst>
            </p:cNvPr>
            <p:cNvSpPr/>
            <p:nvPr/>
          </p:nvSpPr>
          <p:spPr>
            <a:xfrm rot="16200000" flipH="1">
              <a:off x="-2004351" y="2391026"/>
              <a:ext cx="1030976" cy="690561"/>
            </a:xfrm>
            <a:custGeom>
              <a:avLst/>
              <a:gdLst>
                <a:gd name="connsiteX0" fmla="*/ 0 w 1911245"/>
                <a:gd name="connsiteY0" fmla="*/ 0 h 1280178"/>
                <a:gd name="connsiteX1" fmla="*/ 636938 w 1911245"/>
                <a:gd name="connsiteY1" fmla="*/ 1279363 h 1280178"/>
                <a:gd name="connsiteX2" fmla="*/ 636532 w 1911245"/>
                <a:gd name="connsiteY2" fmla="*/ 1280178 h 1280178"/>
                <a:gd name="connsiteX3" fmla="*/ 637344 w 1911245"/>
                <a:gd name="connsiteY3" fmla="*/ 1280178 h 1280178"/>
                <a:gd name="connsiteX4" fmla="*/ 1911245 w 1911245"/>
                <a:gd name="connsiteY4" fmla="*/ 1280178 h 1280178"/>
                <a:gd name="connsiteX5" fmla="*/ 1274295 w 1911245"/>
                <a:gd name="connsiteY5" fmla="*/ 841 h 1280178"/>
                <a:gd name="connsiteX6" fmla="*/ 1274713 w 1911245"/>
                <a:gd name="connsiteY6" fmla="*/ 0 h 1280178"/>
                <a:gd name="connsiteX7" fmla="*/ 1273876 w 1911245"/>
                <a:gd name="connsiteY7" fmla="*/ 0 h 12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1245" h="1280178">
                  <a:moveTo>
                    <a:pt x="0" y="0"/>
                  </a:moveTo>
                  <a:lnTo>
                    <a:pt x="636938" y="1279363"/>
                  </a:lnTo>
                  <a:lnTo>
                    <a:pt x="636532" y="1280178"/>
                  </a:lnTo>
                  <a:lnTo>
                    <a:pt x="637344" y="1280178"/>
                  </a:lnTo>
                  <a:lnTo>
                    <a:pt x="1911245" y="1280178"/>
                  </a:lnTo>
                  <a:lnTo>
                    <a:pt x="1274295" y="841"/>
                  </a:lnTo>
                  <a:lnTo>
                    <a:pt x="1274713" y="0"/>
                  </a:lnTo>
                  <a:lnTo>
                    <a:pt x="1273876" y="0"/>
                  </a:lnTo>
                  <a:close/>
                </a:path>
              </a:pathLst>
            </a:custGeom>
            <a:gradFill flip="none" rotWithShape="1">
              <a:gsLst>
                <a:gs pos="0">
                  <a:schemeClr val="bg1">
                    <a:lumMod val="85000"/>
                  </a:schemeClr>
                </a:gs>
                <a:gs pos="100000">
                  <a:schemeClr val="bg1">
                    <a:lumMod val="75000"/>
                  </a:schemeClr>
                </a:gs>
              </a:gsLst>
              <a:lin ang="1620000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22" name="Freeform: Shape 16">
              <a:extLst>
                <a:ext uri="{FF2B5EF4-FFF2-40B4-BE49-F238E27FC236}">
                  <a16:creationId xmlns="" xmlns:a16="http://schemas.microsoft.com/office/drawing/2014/main" id="{2DC750A3-1B4E-45E2-A5F5-C3737E24ADED}"/>
                </a:ext>
              </a:extLst>
            </p:cNvPr>
            <p:cNvSpPr/>
            <p:nvPr/>
          </p:nvSpPr>
          <p:spPr>
            <a:xfrm rot="5400000" flipH="1" flipV="1">
              <a:off x="-1312191" y="2391025"/>
              <a:ext cx="1030976" cy="690561"/>
            </a:xfrm>
            <a:custGeom>
              <a:avLst/>
              <a:gdLst>
                <a:gd name="connsiteX0" fmla="*/ 0 w 1911245"/>
                <a:gd name="connsiteY0" fmla="*/ 0 h 1280178"/>
                <a:gd name="connsiteX1" fmla="*/ 636938 w 1911245"/>
                <a:gd name="connsiteY1" fmla="*/ 1279363 h 1280178"/>
                <a:gd name="connsiteX2" fmla="*/ 636532 w 1911245"/>
                <a:gd name="connsiteY2" fmla="*/ 1280178 h 1280178"/>
                <a:gd name="connsiteX3" fmla="*/ 637344 w 1911245"/>
                <a:gd name="connsiteY3" fmla="*/ 1280178 h 1280178"/>
                <a:gd name="connsiteX4" fmla="*/ 1911245 w 1911245"/>
                <a:gd name="connsiteY4" fmla="*/ 1280178 h 1280178"/>
                <a:gd name="connsiteX5" fmla="*/ 1274295 w 1911245"/>
                <a:gd name="connsiteY5" fmla="*/ 841 h 1280178"/>
                <a:gd name="connsiteX6" fmla="*/ 1274713 w 1911245"/>
                <a:gd name="connsiteY6" fmla="*/ 0 h 1280178"/>
                <a:gd name="connsiteX7" fmla="*/ 1273876 w 1911245"/>
                <a:gd name="connsiteY7" fmla="*/ 0 h 12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1245" h="1280178">
                  <a:moveTo>
                    <a:pt x="0" y="0"/>
                  </a:moveTo>
                  <a:lnTo>
                    <a:pt x="636938" y="1279363"/>
                  </a:lnTo>
                  <a:lnTo>
                    <a:pt x="636532" y="1280178"/>
                  </a:lnTo>
                  <a:lnTo>
                    <a:pt x="637344" y="1280178"/>
                  </a:lnTo>
                  <a:lnTo>
                    <a:pt x="1911245" y="1280178"/>
                  </a:lnTo>
                  <a:lnTo>
                    <a:pt x="1274295" y="841"/>
                  </a:lnTo>
                  <a:lnTo>
                    <a:pt x="1274713" y="0"/>
                  </a:lnTo>
                  <a:lnTo>
                    <a:pt x="1273876" y="0"/>
                  </a:lnTo>
                  <a:close/>
                </a:path>
              </a:pathLst>
            </a:custGeom>
            <a:gradFill flip="none" rotWithShape="1">
              <a:gsLst>
                <a:gs pos="0">
                  <a:schemeClr val="bg1">
                    <a:lumMod val="85000"/>
                  </a:schemeClr>
                </a:gs>
                <a:gs pos="100000">
                  <a:schemeClr val="bg1">
                    <a:lumMod val="75000"/>
                  </a:schemeClr>
                </a:gs>
              </a:gsLst>
              <a:lin ang="1350000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grpSp>
      <p:grpSp>
        <p:nvGrpSpPr>
          <p:cNvPr id="23" name="Group 22">
            <a:extLst>
              <a:ext uri="{FF2B5EF4-FFF2-40B4-BE49-F238E27FC236}">
                <a16:creationId xmlns="" xmlns:a16="http://schemas.microsoft.com/office/drawing/2014/main" id="{F0E495EC-2A07-4E96-BC68-427853871BAD}"/>
              </a:ext>
            </a:extLst>
          </p:cNvPr>
          <p:cNvGrpSpPr/>
          <p:nvPr/>
        </p:nvGrpSpPr>
        <p:grpSpPr>
          <a:xfrm>
            <a:off x="2023335" y="1313784"/>
            <a:ext cx="894308" cy="889078"/>
            <a:chOff x="-1834144" y="1877159"/>
            <a:chExt cx="1382721" cy="1374636"/>
          </a:xfrm>
          <a:effectLst>
            <a:outerShdw blurRad="101600" dist="38100" dir="2700000" algn="tl" rotWithShape="0">
              <a:prstClr val="black">
                <a:alpha val="25000"/>
              </a:prstClr>
            </a:outerShdw>
          </a:effectLst>
        </p:grpSpPr>
        <p:sp>
          <p:nvSpPr>
            <p:cNvPr id="24" name="Freeform: Shape 18">
              <a:extLst>
                <a:ext uri="{FF2B5EF4-FFF2-40B4-BE49-F238E27FC236}">
                  <a16:creationId xmlns="" xmlns:a16="http://schemas.microsoft.com/office/drawing/2014/main" id="{38A364B0-1704-4670-BF6E-3E78D969A4D5}"/>
                </a:ext>
              </a:extLst>
            </p:cNvPr>
            <p:cNvSpPr/>
            <p:nvPr/>
          </p:nvSpPr>
          <p:spPr>
            <a:xfrm flipV="1">
              <a:off x="-1834143" y="1877159"/>
              <a:ext cx="1382720" cy="687318"/>
            </a:xfrm>
            <a:custGeom>
              <a:avLst/>
              <a:gdLst>
                <a:gd name="connsiteX0" fmla="*/ 1281659 w 2563318"/>
                <a:gd name="connsiteY0" fmla="*/ 1768840 h 1768840"/>
                <a:gd name="connsiteX1" fmla="*/ 2563318 w 2563318"/>
                <a:gd name="connsiteY1" fmla="*/ 884420 h 1768840"/>
                <a:gd name="connsiteX2" fmla="*/ 1281659 w 2563318"/>
                <a:gd name="connsiteY2" fmla="*/ 0 h 1768840"/>
                <a:gd name="connsiteX3" fmla="*/ 0 w 2563318"/>
                <a:gd name="connsiteY3" fmla="*/ 884420 h 1768840"/>
              </a:gdLst>
              <a:ahLst/>
              <a:cxnLst>
                <a:cxn ang="0">
                  <a:pos x="connsiteX0" y="connsiteY0"/>
                </a:cxn>
                <a:cxn ang="0">
                  <a:pos x="connsiteX1" y="connsiteY1"/>
                </a:cxn>
                <a:cxn ang="0">
                  <a:pos x="connsiteX2" y="connsiteY2"/>
                </a:cxn>
                <a:cxn ang="0">
                  <a:pos x="connsiteX3" y="connsiteY3"/>
                </a:cxn>
              </a:cxnLst>
              <a:rect l="l" t="t" r="r" b="b"/>
              <a:pathLst>
                <a:path w="2563318" h="1768840">
                  <a:moveTo>
                    <a:pt x="1281659" y="1768840"/>
                  </a:moveTo>
                  <a:lnTo>
                    <a:pt x="2563318" y="884420"/>
                  </a:lnTo>
                  <a:lnTo>
                    <a:pt x="1281659" y="0"/>
                  </a:lnTo>
                  <a:lnTo>
                    <a:pt x="0" y="884420"/>
                  </a:lnTo>
                  <a:close/>
                </a:path>
              </a:pathLst>
            </a:custGeom>
            <a:gradFill flip="none" rotWithShape="1">
              <a:gsLst>
                <a:gs pos="4000">
                  <a:schemeClr val="accent2">
                    <a:shade val="67500"/>
                    <a:satMod val="115000"/>
                    <a:lumMod val="87000"/>
                  </a:schemeClr>
                </a:gs>
                <a:gs pos="100000">
                  <a:schemeClr val="accent2">
                    <a:shade val="100000"/>
                    <a:satMod val="115000"/>
                  </a:schemeClr>
                </a:gs>
              </a:gsLst>
              <a:lin ang="1620000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latin typeface="Verdana" panose="020B0604030504040204" pitchFamily="34" charset="0"/>
                <a:ea typeface="Verdana" panose="020B0604030504040204" pitchFamily="34" charset="0"/>
              </a:endParaRPr>
            </a:p>
          </p:txBody>
        </p:sp>
        <p:sp>
          <p:nvSpPr>
            <p:cNvPr id="25" name="Freeform: Shape 19">
              <a:extLst>
                <a:ext uri="{FF2B5EF4-FFF2-40B4-BE49-F238E27FC236}">
                  <a16:creationId xmlns="" xmlns:a16="http://schemas.microsoft.com/office/drawing/2014/main" id="{4B6802F8-F728-4996-A4E0-06D244DE0F1D}"/>
                </a:ext>
              </a:extLst>
            </p:cNvPr>
            <p:cNvSpPr/>
            <p:nvPr/>
          </p:nvSpPr>
          <p:spPr>
            <a:xfrm flipV="1">
              <a:off x="-1834143" y="2564477"/>
              <a:ext cx="1382720" cy="687318"/>
            </a:xfrm>
            <a:custGeom>
              <a:avLst/>
              <a:gdLst>
                <a:gd name="connsiteX0" fmla="*/ 1281659 w 2563318"/>
                <a:gd name="connsiteY0" fmla="*/ 1768840 h 1768840"/>
                <a:gd name="connsiteX1" fmla="*/ 2563318 w 2563318"/>
                <a:gd name="connsiteY1" fmla="*/ 884420 h 1768840"/>
                <a:gd name="connsiteX2" fmla="*/ 1281659 w 2563318"/>
                <a:gd name="connsiteY2" fmla="*/ 0 h 1768840"/>
                <a:gd name="connsiteX3" fmla="*/ 0 w 2563318"/>
                <a:gd name="connsiteY3" fmla="*/ 884420 h 1768840"/>
              </a:gdLst>
              <a:ahLst/>
              <a:cxnLst>
                <a:cxn ang="0">
                  <a:pos x="connsiteX0" y="connsiteY0"/>
                </a:cxn>
                <a:cxn ang="0">
                  <a:pos x="connsiteX1" y="connsiteY1"/>
                </a:cxn>
                <a:cxn ang="0">
                  <a:pos x="connsiteX2" y="connsiteY2"/>
                </a:cxn>
                <a:cxn ang="0">
                  <a:pos x="connsiteX3" y="connsiteY3"/>
                </a:cxn>
              </a:cxnLst>
              <a:rect l="l" t="t" r="r" b="b"/>
              <a:pathLst>
                <a:path w="2563318" h="1768840">
                  <a:moveTo>
                    <a:pt x="1281659" y="1768840"/>
                  </a:moveTo>
                  <a:lnTo>
                    <a:pt x="2563318" y="884420"/>
                  </a:lnTo>
                  <a:lnTo>
                    <a:pt x="1281659" y="0"/>
                  </a:lnTo>
                  <a:lnTo>
                    <a:pt x="0" y="884420"/>
                  </a:lnTo>
                  <a:close/>
                </a:path>
              </a:pathLst>
            </a:custGeom>
            <a:solidFill>
              <a:schemeClr val="bg1">
                <a:lumMod val="85000"/>
              </a:schemeClr>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26" name="Freeform: Shape 20">
              <a:extLst>
                <a:ext uri="{FF2B5EF4-FFF2-40B4-BE49-F238E27FC236}">
                  <a16:creationId xmlns="" xmlns:a16="http://schemas.microsoft.com/office/drawing/2014/main" id="{C6AC7CD5-5A66-4596-8ABD-965B217C87F6}"/>
                </a:ext>
              </a:extLst>
            </p:cNvPr>
            <p:cNvSpPr/>
            <p:nvPr/>
          </p:nvSpPr>
          <p:spPr>
            <a:xfrm rot="16200000" flipH="1">
              <a:off x="-2004351" y="2391026"/>
              <a:ext cx="1030976" cy="690561"/>
            </a:xfrm>
            <a:custGeom>
              <a:avLst/>
              <a:gdLst>
                <a:gd name="connsiteX0" fmla="*/ 0 w 1911245"/>
                <a:gd name="connsiteY0" fmla="*/ 0 h 1280178"/>
                <a:gd name="connsiteX1" fmla="*/ 636938 w 1911245"/>
                <a:gd name="connsiteY1" fmla="*/ 1279363 h 1280178"/>
                <a:gd name="connsiteX2" fmla="*/ 636532 w 1911245"/>
                <a:gd name="connsiteY2" fmla="*/ 1280178 h 1280178"/>
                <a:gd name="connsiteX3" fmla="*/ 637344 w 1911245"/>
                <a:gd name="connsiteY3" fmla="*/ 1280178 h 1280178"/>
                <a:gd name="connsiteX4" fmla="*/ 1911245 w 1911245"/>
                <a:gd name="connsiteY4" fmla="*/ 1280178 h 1280178"/>
                <a:gd name="connsiteX5" fmla="*/ 1274295 w 1911245"/>
                <a:gd name="connsiteY5" fmla="*/ 841 h 1280178"/>
                <a:gd name="connsiteX6" fmla="*/ 1274713 w 1911245"/>
                <a:gd name="connsiteY6" fmla="*/ 0 h 1280178"/>
                <a:gd name="connsiteX7" fmla="*/ 1273876 w 1911245"/>
                <a:gd name="connsiteY7" fmla="*/ 0 h 12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1245" h="1280178">
                  <a:moveTo>
                    <a:pt x="0" y="0"/>
                  </a:moveTo>
                  <a:lnTo>
                    <a:pt x="636938" y="1279363"/>
                  </a:lnTo>
                  <a:lnTo>
                    <a:pt x="636532" y="1280178"/>
                  </a:lnTo>
                  <a:lnTo>
                    <a:pt x="637344" y="1280178"/>
                  </a:lnTo>
                  <a:lnTo>
                    <a:pt x="1911245" y="1280178"/>
                  </a:lnTo>
                  <a:lnTo>
                    <a:pt x="1274295" y="841"/>
                  </a:lnTo>
                  <a:lnTo>
                    <a:pt x="1274713" y="0"/>
                  </a:lnTo>
                  <a:lnTo>
                    <a:pt x="1273876" y="0"/>
                  </a:lnTo>
                  <a:close/>
                </a:path>
              </a:pathLst>
            </a:custGeom>
            <a:gradFill flip="none" rotWithShape="1">
              <a:gsLst>
                <a:gs pos="2000">
                  <a:schemeClr val="accent2">
                    <a:shade val="67500"/>
                    <a:satMod val="115000"/>
                  </a:schemeClr>
                </a:gs>
                <a:gs pos="100000">
                  <a:schemeClr val="accent2">
                    <a:shade val="100000"/>
                    <a:satMod val="115000"/>
                  </a:schemeClr>
                </a:gs>
              </a:gsLst>
              <a:lin ang="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27" name="Freeform: Shape 21">
              <a:extLst>
                <a:ext uri="{FF2B5EF4-FFF2-40B4-BE49-F238E27FC236}">
                  <a16:creationId xmlns="" xmlns:a16="http://schemas.microsoft.com/office/drawing/2014/main" id="{DBD93B4B-0391-45BB-ABAF-35CC6DD84314}"/>
                </a:ext>
              </a:extLst>
            </p:cNvPr>
            <p:cNvSpPr/>
            <p:nvPr/>
          </p:nvSpPr>
          <p:spPr>
            <a:xfrm rot="5400000" flipH="1" flipV="1">
              <a:off x="-1312191" y="2391025"/>
              <a:ext cx="1030976" cy="690561"/>
            </a:xfrm>
            <a:custGeom>
              <a:avLst/>
              <a:gdLst>
                <a:gd name="connsiteX0" fmla="*/ 0 w 1911245"/>
                <a:gd name="connsiteY0" fmla="*/ 0 h 1280178"/>
                <a:gd name="connsiteX1" fmla="*/ 636938 w 1911245"/>
                <a:gd name="connsiteY1" fmla="*/ 1279363 h 1280178"/>
                <a:gd name="connsiteX2" fmla="*/ 636532 w 1911245"/>
                <a:gd name="connsiteY2" fmla="*/ 1280178 h 1280178"/>
                <a:gd name="connsiteX3" fmla="*/ 637344 w 1911245"/>
                <a:gd name="connsiteY3" fmla="*/ 1280178 h 1280178"/>
                <a:gd name="connsiteX4" fmla="*/ 1911245 w 1911245"/>
                <a:gd name="connsiteY4" fmla="*/ 1280178 h 1280178"/>
                <a:gd name="connsiteX5" fmla="*/ 1274295 w 1911245"/>
                <a:gd name="connsiteY5" fmla="*/ 841 h 1280178"/>
                <a:gd name="connsiteX6" fmla="*/ 1274713 w 1911245"/>
                <a:gd name="connsiteY6" fmla="*/ 0 h 1280178"/>
                <a:gd name="connsiteX7" fmla="*/ 1273876 w 1911245"/>
                <a:gd name="connsiteY7" fmla="*/ 0 h 12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1245" h="1280178">
                  <a:moveTo>
                    <a:pt x="0" y="0"/>
                  </a:moveTo>
                  <a:lnTo>
                    <a:pt x="636938" y="1279363"/>
                  </a:lnTo>
                  <a:lnTo>
                    <a:pt x="636532" y="1280178"/>
                  </a:lnTo>
                  <a:lnTo>
                    <a:pt x="637344" y="1280178"/>
                  </a:lnTo>
                  <a:lnTo>
                    <a:pt x="1911245" y="1280178"/>
                  </a:lnTo>
                  <a:lnTo>
                    <a:pt x="1274295" y="841"/>
                  </a:lnTo>
                  <a:lnTo>
                    <a:pt x="1274713" y="0"/>
                  </a:lnTo>
                  <a:lnTo>
                    <a:pt x="1273876" y="0"/>
                  </a:lnTo>
                  <a:close/>
                </a:path>
              </a:pathLst>
            </a:custGeom>
            <a:gradFill flip="none" rotWithShape="1">
              <a:gsLst>
                <a:gs pos="2000">
                  <a:schemeClr val="accent2">
                    <a:shade val="67500"/>
                    <a:satMod val="115000"/>
                  </a:schemeClr>
                </a:gs>
                <a:gs pos="100000">
                  <a:schemeClr val="accent2">
                    <a:shade val="100000"/>
                    <a:satMod val="115000"/>
                  </a:schemeClr>
                </a:gs>
              </a:gsLst>
              <a:lin ang="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grpSp>
      <p:pic>
        <p:nvPicPr>
          <p:cNvPr id="28" name="Graphic 22" descr="Gears">
            <a:extLst>
              <a:ext uri="{FF2B5EF4-FFF2-40B4-BE49-F238E27FC236}">
                <a16:creationId xmlns="" xmlns:a16="http://schemas.microsoft.com/office/drawing/2014/main" id="{DDE30D38-8DFD-4B32-BE31-2B5D1CC6A99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2323182" y="2726535"/>
            <a:ext cx="325974" cy="325974"/>
          </a:xfrm>
          <a:prstGeom prst="rect">
            <a:avLst/>
          </a:prstGeom>
          <a:scene3d>
            <a:camera prst="isometricTopUp"/>
            <a:lightRig rig="threePt" dir="t"/>
          </a:scene3d>
        </p:spPr>
      </p:pic>
      <p:pic>
        <p:nvPicPr>
          <p:cNvPr id="29" name="Graphic 23" descr="Lightbulb">
            <a:extLst>
              <a:ext uri="{FF2B5EF4-FFF2-40B4-BE49-F238E27FC236}">
                <a16:creationId xmlns="" xmlns:a16="http://schemas.microsoft.com/office/drawing/2014/main" id="{414EBC65-3D4E-4595-9829-A17DE8F9C2F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2304006" y="1370788"/>
            <a:ext cx="349258" cy="349258"/>
          </a:xfrm>
          <a:prstGeom prst="rect">
            <a:avLst/>
          </a:prstGeom>
          <a:scene3d>
            <a:camera prst="isometricTopUp"/>
            <a:lightRig rig="threePt" dir="t"/>
          </a:scene3d>
        </p:spPr>
      </p:pic>
      <p:pic>
        <p:nvPicPr>
          <p:cNvPr id="30" name="Graphic 24" descr="Research">
            <a:extLst>
              <a:ext uri="{FF2B5EF4-FFF2-40B4-BE49-F238E27FC236}">
                <a16:creationId xmlns="" xmlns:a16="http://schemas.microsoft.com/office/drawing/2014/main" id="{FF9F6291-E91F-42D1-AC14-6B1B850CE4F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2774498" y="2043030"/>
            <a:ext cx="325974" cy="325974"/>
          </a:xfrm>
          <a:prstGeom prst="rect">
            <a:avLst/>
          </a:prstGeom>
          <a:scene3d>
            <a:camera prst="isometricTopUp"/>
            <a:lightRig rig="threePt" dir="t"/>
          </a:scene3d>
        </p:spPr>
      </p:pic>
      <p:pic>
        <p:nvPicPr>
          <p:cNvPr id="31" name="Graphic 25" descr="Paint brush">
            <a:extLst>
              <a:ext uri="{FF2B5EF4-FFF2-40B4-BE49-F238E27FC236}">
                <a16:creationId xmlns="" xmlns:a16="http://schemas.microsoft.com/office/drawing/2014/main" id="{A8A16EA8-98F7-4A5D-963B-918123C8A2D9}"/>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rot="2708963">
            <a:off x="2747167" y="3352813"/>
            <a:ext cx="350368" cy="350368"/>
          </a:xfrm>
          <a:prstGeom prst="rect">
            <a:avLst/>
          </a:prstGeom>
          <a:scene3d>
            <a:camera prst="isometricTopUp"/>
            <a:lightRig rig="threePt" dir="t"/>
          </a:scene3d>
        </p:spPr>
      </p:pic>
      <p:sp>
        <p:nvSpPr>
          <p:cNvPr id="32" name="Right Triangle 31">
            <a:extLst>
              <a:ext uri="{FF2B5EF4-FFF2-40B4-BE49-F238E27FC236}">
                <a16:creationId xmlns="" xmlns:a16="http://schemas.microsoft.com/office/drawing/2014/main" id="{99677862-20CD-4641-AE62-C6831A2F2B66}"/>
              </a:ext>
            </a:extLst>
          </p:cNvPr>
          <p:cNvSpPr/>
          <p:nvPr/>
        </p:nvSpPr>
        <p:spPr>
          <a:xfrm>
            <a:off x="1945054" y="5953324"/>
            <a:ext cx="525952" cy="29348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33" name="Group 32">
            <a:extLst>
              <a:ext uri="{FF2B5EF4-FFF2-40B4-BE49-F238E27FC236}">
                <a16:creationId xmlns="" xmlns:a16="http://schemas.microsoft.com/office/drawing/2014/main" id="{5BB33BB6-4CCB-46DB-8BB9-DD6613E828ED}"/>
              </a:ext>
            </a:extLst>
          </p:cNvPr>
          <p:cNvGrpSpPr/>
          <p:nvPr/>
        </p:nvGrpSpPr>
        <p:grpSpPr>
          <a:xfrm>
            <a:off x="2022818" y="5324688"/>
            <a:ext cx="894308" cy="889078"/>
            <a:chOff x="-1834144" y="1877159"/>
            <a:chExt cx="1382721" cy="1374636"/>
          </a:xfrm>
          <a:effectLst>
            <a:outerShdw blurRad="101600" dist="38100" dir="2700000" algn="tl" rotWithShape="0">
              <a:prstClr val="black">
                <a:alpha val="29000"/>
              </a:prstClr>
            </a:outerShdw>
          </a:effectLst>
        </p:grpSpPr>
        <p:sp>
          <p:nvSpPr>
            <p:cNvPr id="34" name="Freeform: Shape 47">
              <a:extLst>
                <a:ext uri="{FF2B5EF4-FFF2-40B4-BE49-F238E27FC236}">
                  <a16:creationId xmlns="" xmlns:a16="http://schemas.microsoft.com/office/drawing/2014/main" id="{A51E2B5E-8490-46C5-9BCD-9660BDA258F1}"/>
                </a:ext>
              </a:extLst>
            </p:cNvPr>
            <p:cNvSpPr/>
            <p:nvPr/>
          </p:nvSpPr>
          <p:spPr>
            <a:xfrm flipV="1">
              <a:off x="-1834143" y="1877159"/>
              <a:ext cx="1382720" cy="687318"/>
            </a:xfrm>
            <a:custGeom>
              <a:avLst/>
              <a:gdLst>
                <a:gd name="connsiteX0" fmla="*/ 1281659 w 2563318"/>
                <a:gd name="connsiteY0" fmla="*/ 1768840 h 1768840"/>
                <a:gd name="connsiteX1" fmla="*/ 2563318 w 2563318"/>
                <a:gd name="connsiteY1" fmla="*/ 884420 h 1768840"/>
                <a:gd name="connsiteX2" fmla="*/ 1281659 w 2563318"/>
                <a:gd name="connsiteY2" fmla="*/ 0 h 1768840"/>
                <a:gd name="connsiteX3" fmla="*/ 0 w 2563318"/>
                <a:gd name="connsiteY3" fmla="*/ 884420 h 1768840"/>
              </a:gdLst>
              <a:ahLst/>
              <a:cxnLst>
                <a:cxn ang="0">
                  <a:pos x="connsiteX0" y="connsiteY0"/>
                </a:cxn>
                <a:cxn ang="0">
                  <a:pos x="connsiteX1" y="connsiteY1"/>
                </a:cxn>
                <a:cxn ang="0">
                  <a:pos x="connsiteX2" y="connsiteY2"/>
                </a:cxn>
                <a:cxn ang="0">
                  <a:pos x="connsiteX3" y="connsiteY3"/>
                </a:cxn>
              </a:cxnLst>
              <a:rect l="l" t="t" r="r" b="b"/>
              <a:pathLst>
                <a:path w="2563318" h="1768840">
                  <a:moveTo>
                    <a:pt x="1281659" y="1768840"/>
                  </a:moveTo>
                  <a:lnTo>
                    <a:pt x="2563318" y="884420"/>
                  </a:lnTo>
                  <a:lnTo>
                    <a:pt x="1281659" y="0"/>
                  </a:lnTo>
                  <a:lnTo>
                    <a:pt x="0" y="884420"/>
                  </a:lnTo>
                  <a:close/>
                </a:path>
              </a:pathLst>
            </a:custGeom>
            <a:gradFill>
              <a:gsLst>
                <a:gs pos="0">
                  <a:schemeClr val="bg1"/>
                </a:gs>
                <a:gs pos="100000">
                  <a:schemeClr val="bg1">
                    <a:lumMod val="75000"/>
                  </a:schemeClr>
                </a:gs>
              </a:gsLst>
              <a:lin ang="5400000" scaled="1"/>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35" name="Freeform: Shape 48">
              <a:extLst>
                <a:ext uri="{FF2B5EF4-FFF2-40B4-BE49-F238E27FC236}">
                  <a16:creationId xmlns="" xmlns:a16="http://schemas.microsoft.com/office/drawing/2014/main" id="{0B9DA39F-C03C-46F7-B5AB-BB29B8AECA2D}"/>
                </a:ext>
              </a:extLst>
            </p:cNvPr>
            <p:cNvSpPr/>
            <p:nvPr/>
          </p:nvSpPr>
          <p:spPr>
            <a:xfrm flipV="1">
              <a:off x="-1834143" y="2564477"/>
              <a:ext cx="1382720" cy="687318"/>
            </a:xfrm>
            <a:custGeom>
              <a:avLst/>
              <a:gdLst>
                <a:gd name="connsiteX0" fmla="*/ 1281659 w 2563318"/>
                <a:gd name="connsiteY0" fmla="*/ 1768840 h 1768840"/>
                <a:gd name="connsiteX1" fmla="*/ 2563318 w 2563318"/>
                <a:gd name="connsiteY1" fmla="*/ 884420 h 1768840"/>
                <a:gd name="connsiteX2" fmla="*/ 1281659 w 2563318"/>
                <a:gd name="connsiteY2" fmla="*/ 0 h 1768840"/>
                <a:gd name="connsiteX3" fmla="*/ 0 w 2563318"/>
                <a:gd name="connsiteY3" fmla="*/ 884420 h 1768840"/>
              </a:gdLst>
              <a:ahLst/>
              <a:cxnLst>
                <a:cxn ang="0">
                  <a:pos x="connsiteX0" y="connsiteY0"/>
                </a:cxn>
                <a:cxn ang="0">
                  <a:pos x="connsiteX1" y="connsiteY1"/>
                </a:cxn>
                <a:cxn ang="0">
                  <a:pos x="connsiteX2" y="connsiteY2"/>
                </a:cxn>
                <a:cxn ang="0">
                  <a:pos x="connsiteX3" y="connsiteY3"/>
                </a:cxn>
              </a:cxnLst>
              <a:rect l="l" t="t" r="r" b="b"/>
              <a:pathLst>
                <a:path w="2563318" h="1768840">
                  <a:moveTo>
                    <a:pt x="1281659" y="1768840"/>
                  </a:moveTo>
                  <a:lnTo>
                    <a:pt x="2563318" y="884420"/>
                  </a:lnTo>
                  <a:lnTo>
                    <a:pt x="1281659" y="0"/>
                  </a:lnTo>
                  <a:lnTo>
                    <a:pt x="0" y="884420"/>
                  </a:lnTo>
                  <a:close/>
                </a:path>
              </a:pathLst>
            </a:custGeom>
            <a:solidFill>
              <a:schemeClr val="bg1">
                <a:lumMod val="85000"/>
              </a:schemeClr>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36" name="Freeform: Shape 49">
              <a:extLst>
                <a:ext uri="{FF2B5EF4-FFF2-40B4-BE49-F238E27FC236}">
                  <a16:creationId xmlns="" xmlns:a16="http://schemas.microsoft.com/office/drawing/2014/main" id="{04DFA017-DDD1-4985-8808-515893710CB3}"/>
                </a:ext>
              </a:extLst>
            </p:cNvPr>
            <p:cNvSpPr/>
            <p:nvPr/>
          </p:nvSpPr>
          <p:spPr>
            <a:xfrm rot="16200000" flipH="1">
              <a:off x="-2004351" y="2391026"/>
              <a:ext cx="1030976" cy="690561"/>
            </a:xfrm>
            <a:custGeom>
              <a:avLst/>
              <a:gdLst>
                <a:gd name="connsiteX0" fmla="*/ 0 w 1911245"/>
                <a:gd name="connsiteY0" fmla="*/ 0 h 1280178"/>
                <a:gd name="connsiteX1" fmla="*/ 636938 w 1911245"/>
                <a:gd name="connsiteY1" fmla="*/ 1279363 h 1280178"/>
                <a:gd name="connsiteX2" fmla="*/ 636532 w 1911245"/>
                <a:gd name="connsiteY2" fmla="*/ 1280178 h 1280178"/>
                <a:gd name="connsiteX3" fmla="*/ 637344 w 1911245"/>
                <a:gd name="connsiteY3" fmla="*/ 1280178 h 1280178"/>
                <a:gd name="connsiteX4" fmla="*/ 1911245 w 1911245"/>
                <a:gd name="connsiteY4" fmla="*/ 1280178 h 1280178"/>
                <a:gd name="connsiteX5" fmla="*/ 1274295 w 1911245"/>
                <a:gd name="connsiteY5" fmla="*/ 841 h 1280178"/>
                <a:gd name="connsiteX6" fmla="*/ 1274713 w 1911245"/>
                <a:gd name="connsiteY6" fmla="*/ 0 h 1280178"/>
                <a:gd name="connsiteX7" fmla="*/ 1273876 w 1911245"/>
                <a:gd name="connsiteY7" fmla="*/ 0 h 12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1245" h="1280178">
                  <a:moveTo>
                    <a:pt x="0" y="0"/>
                  </a:moveTo>
                  <a:lnTo>
                    <a:pt x="636938" y="1279363"/>
                  </a:lnTo>
                  <a:lnTo>
                    <a:pt x="636532" y="1280178"/>
                  </a:lnTo>
                  <a:lnTo>
                    <a:pt x="637344" y="1280178"/>
                  </a:lnTo>
                  <a:lnTo>
                    <a:pt x="1911245" y="1280178"/>
                  </a:lnTo>
                  <a:lnTo>
                    <a:pt x="1274295" y="841"/>
                  </a:lnTo>
                  <a:lnTo>
                    <a:pt x="1274713" y="0"/>
                  </a:lnTo>
                  <a:lnTo>
                    <a:pt x="1273876" y="0"/>
                  </a:lnTo>
                  <a:close/>
                </a:path>
              </a:pathLst>
            </a:custGeom>
            <a:gradFill flip="none" rotWithShape="1">
              <a:gsLst>
                <a:gs pos="0">
                  <a:schemeClr val="bg1">
                    <a:lumMod val="85000"/>
                  </a:schemeClr>
                </a:gs>
                <a:gs pos="100000">
                  <a:schemeClr val="bg1">
                    <a:lumMod val="75000"/>
                  </a:schemeClr>
                </a:gs>
              </a:gsLst>
              <a:lin ang="1620000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37" name="Freeform: Shape 50">
              <a:extLst>
                <a:ext uri="{FF2B5EF4-FFF2-40B4-BE49-F238E27FC236}">
                  <a16:creationId xmlns="" xmlns:a16="http://schemas.microsoft.com/office/drawing/2014/main" id="{9BA4ABD8-0571-44F9-80F9-6D847DCF88FA}"/>
                </a:ext>
              </a:extLst>
            </p:cNvPr>
            <p:cNvSpPr/>
            <p:nvPr/>
          </p:nvSpPr>
          <p:spPr>
            <a:xfrm rot="5400000" flipH="1" flipV="1">
              <a:off x="-1312191" y="2391025"/>
              <a:ext cx="1030976" cy="690561"/>
            </a:xfrm>
            <a:custGeom>
              <a:avLst/>
              <a:gdLst>
                <a:gd name="connsiteX0" fmla="*/ 0 w 1911245"/>
                <a:gd name="connsiteY0" fmla="*/ 0 h 1280178"/>
                <a:gd name="connsiteX1" fmla="*/ 636938 w 1911245"/>
                <a:gd name="connsiteY1" fmla="*/ 1279363 h 1280178"/>
                <a:gd name="connsiteX2" fmla="*/ 636532 w 1911245"/>
                <a:gd name="connsiteY2" fmla="*/ 1280178 h 1280178"/>
                <a:gd name="connsiteX3" fmla="*/ 637344 w 1911245"/>
                <a:gd name="connsiteY3" fmla="*/ 1280178 h 1280178"/>
                <a:gd name="connsiteX4" fmla="*/ 1911245 w 1911245"/>
                <a:gd name="connsiteY4" fmla="*/ 1280178 h 1280178"/>
                <a:gd name="connsiteX5" fmla="*/ 1274295 w 1911245"/>
                <a:gd name="connsiteY5" fmla="*/ 841 h 1280178"/>
                <a:gd name="connsiteX6" fmla="*/ 1274713 w 1911245"/>
                <a:gd name="connsiteY6" fmla="*/ 0 h 1280178"/>
                <a:gd name="connsiteX7" fmla="*/ 1273876 w 1911245"/>
                <a:gd name="connsiteY7" fmla="*/ 0 h 12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1245" h="1280178">
                  <a:moveTo>
                    <a:pt x="0" y="0"/>
                  </a:moveTo>
                  <a:lnTo>
                    <a:pt x="636938" y="1279363"/>
                  </a:lnTo>
                  <a:lnTo>
                    <a:pt x="636532" y="1280178"/>
                  </a:lnTo>
                  <a:lnTo>
                    <a:pt x="637344" y="1280178"/>
                  </a:lnTo>
                  <a:lnTo>
                    <a:pt x="1911245" y="1280178"/>
                  </a:lnTo>
                  <a:lnTo>
                    <a:pt x="1274295" y="841"/>
                  </a:lnTo>
                  <a:lnTo>
                    <a:pt x="1274713" y="0"/>
                  </a:lnTo>
                  <a:lnTo>
                    <a:pt x="1273876" y="0"/>
                  </a:lnTo>
                  <a:close/>
                </a:path>
              </a:pathLst>
            </a:custGeom>
            <a:gradFill flip="none" rotWithShape="1">
              <a:gsLst>
                <a:gs pos="0">
                  <a:schemeClr val="bg1">
                    <a:lumMod val="85000"/>
                  </a:schemeClr>
                </a:gs>
                <a:gs pos="100000">
                  <a:schemeClr val="bg1">
                    <a:lumMod val="75000"/>
                  </a:schemeClr>
                </a:gs>
              </a:gsLst>
              <a:lin ang="1350000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grpSp>
      <p:grpSp>
        <p:nvGrpSpPr>
          <p:cNvPr id="38" name="Group 37">
            <a:extLst>
              <a:ext uri="{FF2B5EF4-FFF2-40B4-BE49-F238E27FC236}">
                <a16:creationId xmlns="" xmlns:a16="http://schemas.microsoft.com/office/drawing/2014/main" id="{C59D37CC-78FA-439F-9C02-6FA44E446FBA}"/>
              </a:ext>
            </a:extLst>
          </p:cNvPr>
          <p:cNvGrpSpPr/>
          <p:nvPr/>
        </p:nvGrpSpPr>
        <p:grpSpPr>
          <a:xfrm>
            <a:off x="2469972" y="4657492"/>
            <a:ext cx="894308" cy="889078"/>
            <a:chOff x="-1834144" y="1877159"/>
            <a:chExt cx="1382721" cy="1374636"/>
          </a:xfrm>
          <a:effectLst>
            <a:outerShdw blurRad="101600" dist="38100" dir="8100000" algn="tr" rotWithShape="0">
              <a:prstClr val="black">
                <a:alpha val="31000"/>
              </a:prstClr>
            </a:outerShdw>
          </a:effectLst>
        </p:grpSpPr>
        <p:sp>
          <p:nvSpPr>
            <p:cNvPr id="39" name="Freeform: Shape 43">
              <a:extLst>
                <a:ext uri="{FF2B5EF4-FFF2-40B4-BE49-F238E27FC236}">
                  <a16:creationId xmlns="" xmlns:a16="http://schemas.microsoft.com/office/drawing/2014/main" id="{3E0A6452-B8D0-4C59-90B1-BCBF2F801957}"/>
                </a:ext>
              </a:extLst>
            </p:cNvPr>
            <p:cNvSpPr/>
            <p:nvPr/>
          </p:nvSpPr>
          <p:spPr>
            <a:xfrm flipV="1">
              <a:off x="-1834143" y="1877159"/>
              <a:ext cx="1382720" cy="687318"/>
            </a:xfrm>
            <a:custGeom>
              <a:avLst/>
              <a:gdLst>
                <a:gd name="connsiteX0" fmla="*/ 1281659 w 2563318"/>
                <a:gd name="connsiteY0" fmla="*/ 1768840 h 1768840"/>
                <a:gd name="connsiteX1" fmla="*/ 2563318 w 2563318"/>
                <a:gd name="connsiteY1" fmla="*/ 884420 h 1768840"/>
                <a:gd name="connsiteX2" fmla="*/ 1281659 w 2563318"/>
                <a:gd name="connsiteY2" fmla="*/ 0 h 1768840"/>
                <a:gd name="connsiteX3" fmla="*/ 0 w 2563318"/>
                <a:gd name="connsiteY3" fmla="*/ 884420 h 1768840"/>
              </a:gdLst>
              <a:ahLst/>
              <a:cxnLst>
                <a:cxn ang="0">
                  <a:pos x="connsiteX0" y="connsiteY0"/>
                </a:cxn>
                <a:cxn ang="0">
                  <a:pos x="connsiteX1" y="connsiteY1"/>
                </a:cxn>
                <a:cxn ang="0">
                  <a:pos x="connsiteX2" y="connsiteY2"/>
                </a:cxn>
                <a:cxn ang="0">
                  <a:pos x="connsiteX3" y="connsiteY3"/>
                </a:cxn>
              </a:cxnLst>
              <a:rect l="l" t="t" r="r" b="b"/>
              <a:pathLst>
                <a:path w="2563318" h="1768840">
                  <a:moveTo>
                    <a:pt x="1281659" y="1768840"/>
                  </a:moveTo>
                  <a:lnTo>
                    <a:pt x="2563318" y="884420"/>
                  </a:lnTo>
                  <a:lnTo>
                    <a:pt x="1281659" y="0"/>
                  </a:lnTo>
                  <a:lnTo>
                    <a:pt x="0" y="884420"/>
                  </a:lnTo>
                  <a:close/>
                </a:path>
              </a:pathLst>
            </a:custGeom>
            <a:gradFill>
              <a:gsLst>
                <a:gs pos="0">
                  <a:schemeClr val="bg1"/>
                </a:gs>
                <a:gs pos="100000">
                  <a:schemeClr val="bg1">
                    <a:lumMod val="75000"/>
                  </a:schemeClr>
                </a:gs>
              </a:gsLst>
              <a:lin ang="5400000" scaled="1"/>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40" name="Freeform: Shape 44">
              <a:extLst>
                <a:ext uri="{FF2B5EF4-FFF2-40B4-BE49-F238E27FC236}">
                  <a16:creationId xmlns="" xmlns:a16="http://schemas.microsoft.com/office/drawing/2014/main" id="{231839C2-631E-4CF6-BDBE-A7F9EEFF8158}"/>
                </a:ext>
              </a:extLst>
            </p:cNvPr>
            <p:cNvSpPr/>
            <p:nvPr/>
          </p:nvSpPr>
          <p:spPr>
            <a:xfrm flipV="1">
              <a:off x="-1834143" y="2564477"/>
              <a:ext cx="1382720" cy="687318"/>
            </a:xfrm>
            <a:custGeom>
              <a:avLst/>
              <a:gdLst>
                <a:gd name="connsiteX0" fmla="*/ 1281659 w 2563318"/>
                <a:gd name="connsiteY0" fmla="*/ 1768840 h 1768840"/>
                <a:gd name="connsiteX1" fmla="*/ 2563318 w 2563318"/>
                <a:gd name="connsiteY1" fmla="*/ 884420 h 1768840"/>
                <a:gd name="connsiteX2" fmla="*/ 1281659 w 2563318"/>
                <a:gd name="connsiteY2" fmla="*/ 0 h 1768840"/>
                <a:gd name="connsiteX3" fmla="*/ 0 w 2563318"/>
                <a:gd name="connsiteY3" fmla="*/ 884420 h 1768840"/>
              </a:gdLst>
              <a:ahLst/>
              <a:cxnLst>
                <a:cxn ang="0">
                  <a:pos x="connsiteX0" y="connsiteY0"/>
                </a:cxn>
                <a:cxn ang="0">
                  <a:pos x="connsiteX1" y="connsiteY1"/>
                </a:cxn>
                <a:cxn ang="0">
                  <a:pos x="connsiteX2" y="connsiteY2"/>
                </a:cxn>
                <a:cxn ang="0">
                  <a:pos x="connsiteX3" y="connsiteY3"/>
                </a:cxn>
              </a:cxnLst>
              <a:rect l="l" t="t" r="r" b="b"/>
              <a:pathLst>
                <a:path w="2563318" h="1768840">
                  <a:moveTo>
                    <a:pt x="1281659" y="1768840"/>
                  </a:moveTo>
                  <a:lnTo>
                    <a:pt x="2563318" y="884420"/>
                  </a:lnTo>
                  <a:lnTo>
                    <a:pt x="1281659" y="0"/>
                  </a:lnTo>
                  <a:lnTo>
                    <a:pt x="0" y="884420"/>
                  </a:lnTo>
                  <a:close/>
                </a:path>
              </a:pathLst>
            </a:custGeom>
            <a:solidFill>
              <a:schemeClr val="bg1">
                <a:lumMod val="85000"/>
              </a:schemeClr>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41" name="Freeform: Shape 45">
              <a:extLst>
                <a:ext uri="{FF2B5EF4-FFF2-40B4-BE49-F238E27FC236}">
                  <a16:creationId xmlns="" xmlns:a16="http://schemas.microsoft.com/office/drawing/2014/main" id="{D9AE6AD6-05DC-4EB8-925F-E11979C35A16}"/>
                </a:ext>
              </a:extLst>
            </p:cNvPr>
            <p:cNvSpPr/>
            <p:nvPr/>
          </p:nvSpPr>
          <p:spPr>
            <a:xfrm rot="16200000" flipH="1">
              <a:off x="-2004351" y="2391026"/>
              <a:ext cx="1030976" cy="690561"/>
            </a:xfrm>
            <a:custGeom>
              <a:avLst/>
              <a:gdLst>
                <a:gd name="connsiteX0" fmla="*/ 0 w 1911245"/>
                <a:gd name="connsiteY0" fmla="*/ 0 h 1280178"/>
                <a:gd name="connsiteX1" fmla="*/ 636938 w 1911245"/>
                <a:gd name="connsiteY1" fmla="*/ 1279363 h 1280178"/>
                <a:gd name="connsiteX2" fmla="*/ 636532 w 1911245"/>
                <a:gd name="connsiteY2" fmla="*/ 1280178 h 1280178"/>
                <a:gd name="connsiteX3" fmla="*/ 637344 w 1911245"/>
                <a:gd name="connsiteY3" fmla="*/ 1280178 h 1280178"/>
                <a:gd name="connsiteX4" fmla="*/ 1911245 w 1911245"/>
                <a:gd name="connsiteY4" fmla="*/ 1280178 h 1280178"/>
                <a:gd name="connsiteX5" fmla="*/ 1274295 w 1911245"/>
                <a:gd name="connsiteY5" fmla="*/ 841 h 1280178"/>
                <a:gd name="connsiteX6" fmla="*/ 1274713 w 1911245"/>
                <a:gd name="connsiteY6" fmla="*/ 0 h 1280178"/>
                <a:gd name="connsiteX7" fmla="*/ 1273876 w 1911245"/>
                <a:gd name="connsiteY7" fmla="*/ 0 h 12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1245" h="1280178">
                  <a:moveTo>
                    <a:pt x="0" y="0"/>
                  </a:moveTo>
                  <a:lnTo>
                    <a:pt x="636938" y="1279363"/>
                  </a:lnTo>
                  <a:lnTo>
                    <a:pt x="636532" y="1280178"/>
                  </a:lnTo>
                  <a:lnTo>
                    <a:pt x="637344" y="1280178"/>
                  </a:lnTo>
                  <a:lnTo>
                    <a:pt x="1911245" y="1280178"/>
                  </a:lnTo>
                  <a:lnTo>
                    <a:pt x="1274295" y="841"/>
                  </a:lnTo>
                  <a:lnTo>
                    <a:pt x="1274713" y="0"/>
                  </a:lnTo>
                  <a:lnTo>
                    <a:pt x="1273876" y="0"/>
                  </a:lnTo>
                  <a:close/>
                </a:path>
              </a:pathLst>
            </a:custGeom>
            <a:gradFill flip="none" rotWithShape="1">
              <a:gsLst>
                <a:gs pos="0">
                  <a:schemeClr val="bg1">
                    <a:lumMod val="85000"/>
                  </a:schemeClr>
                </a:gs>
                <a:gs pos="100000">
                  <a:schemeClr val="bg1">
                    <a:lumMod val="75000"/>
                  </a:schemeClr>
                </a:gs>
              </a:gsLst>
              <a:lin ang="1620000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42" name="Freeform: Shape 46">
              <a:extLst>
                <a:ext uri="{FF2B5EF4-FFF2-40B4-BE49-F238E27FC236}">
                  <a16:creationId xmlns="" xmlns:a16="http://schemas.microsoft.com/office/drawing/2014/main" id="{D525A2FD-ED5D-4210-BAF6-48B0D953CED8}"/>
                </a:ext>
              </a:extLst>
            </p:cNvPr>
            <p:cNvSpPr/>
            <p:nvPr/>
          </p:nvSpPr>
          <p:spPr>
            <a:xfrm rot="5400000" flipH="1" flipV="1">
              <a:off x="-1312191" y="2391025"/>
              <a:ext cx="1030976" cy="690561"/>
            </a:xfrm>
            <a:custGeom>
              <a:avLst/>
              <a:gdLst>
                <a:gd name="connsiteX0" fmla="*/ 0 w 1911245"/>
                <a:gd name="connsiteY0" fmla="*/ 0 h 1280178"/>
                <a:gd name="connsiteX1" fmla="*/ 636938 w 1911245"/>
                <a:gd name="connsiteY1" fmla="*/ 1279363 h 1280178"/>
                <a:gd name="connsiteX2" fmla="*/ 636532 w 1911245"/>
                <a:gd name="connsiteY2" fmla="*/ 1280178 h 1280178"/>
                <a:gd name="connsiteX3" fmla="*/ 637344 w 1911245"/>
                <a:gd name="connsiteY3" fmla="*/ 1280178 h 1280178"/>
                <a:gd name="connsiteX4" fmla="*/ 1911245 w 1911245"/>
                <a:gd name="connsiteY4" fmla="*/ 1280178 h 1280178"/>
                <a:gd name="connsiteX5" fmla="*/ 1274295 w 1911245"/>
                <a:gd name="connsiteY5" fmla="*/ 841 h 1280178"/>
                <a:gd name="connsiteX6" fmla="*/ 1274713 w 1911245"/>
                <a:gd name="connsiteY6" fmla="*/ 0 h 1280178"/>
                <a:gd name="connsiteX7" fmla="*/ 1273876 w 1911245"/>
                <a:gd name="connsiteY7" fmla="*/ 0 h 12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1245" h="1280178">
                  <a:moveTo>
                    <a:pt x="0" y="0"/>
                  </a:moveTo>
                  <a:lnTo>
                    <a:pt x="636938" y="1279363"/>
                  </a:lnTo>
                  <a:lnTo>
                    <a:pt x="636532" y="1280178"/>
                  </a:lnTo>
                  <a:lnTo>
                    <a:pt x="637344" y="1280178"/>
                  </a:lnTo>
                  <a:lnTo>
                    <a:pt x="1911245" y="1280178"/>
                  </a:lnTo>
                  <a:lnTo>
                    <a:pt x="1274295" y="841"/>
                  </a:lnTo>
                  <a:lnTo>
                    <a:pt x="1274713" y="0"/>
                  </a:lnTo>
                  <a:lnTo>
                    <a:pt x="1273876" y="0"/>
                  </a:lnTo>
                  <a:close/>
                </a:path>
              </a:pathLst>
            </a:custGeom>
            <a:gradFill flip="none" rotWithShape="1">
              <a:gsLst>
                <a:gs pos="0">
                  <a:schemeClr val="bg1">
                    <a:lumMod val="85000"/>
                  </a:schemeClr>
                </a:gs>
                <a:gs pos="100000">
                  <a:schemeClr val="bg1">
                    <a:lumMod val="75000"/>
                  </a:schemeClr>
                </a:gs>
              </a:gsLst>
              <a:lin ang="1350000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grpSp>
      <p:sp>
        <p:nvSpPr>
          <p:cNvPr id="43" name="Freeform: Shape 40">
            <a:extLst>
              <a:ext uri="{FF2B5EF4-FFF2-40B4-BE49-F238E27FC236}">
                <a16:creationId xmlns="" xmlns:a16="http://schemas.microsoft.com/office/drawing/2014/main" id="{A019EDE5-3003-4493-AFB3-06FF7D3AE9F9}"/>
              </a:ext>
            </a:extLst>
          </p:cNvPr>
          <p:cNvSpPr/>
          <p:nvPr/>
        </p:nvSpPr>
        <p:spPr>
          <a:xfrm flipV="1">
            <a:off x="2023337" y="4435555"/>
            <a:ext cx="894307" cy="444539"/>
          </a:xfrm>
          <a:custGeom>
            <a:avLst/>
            <a:gdLst>
              <a:gd name="connsiteX0" fmla="*/ 1281659 w 2563318"/>
              <a:gd name="connsiteY0" fmla="*/ 1768840 h 1768840"/>
              <a:gd name="connsiteX1" fmla="*/ 2563318 w 2563318"/>
              <a:gd name="connsiteY1" fmla="*/ 884420 h 1768840"/>
              <a:gd name="connsiteX2" fmla="*/ 1281659 w 2563318"/>
              <a:gd name="connsiteY2" fmla="*/ 0 h 1768840"/>
              <a:gd name="connsiteX3" fmla="*/ 0 w 2563318"/>
              <a:gd name="connsiteY3" fmla="*/ 884420 h 1768840"/>
            </a:gdLst>
            <a:ahLst/>
            <a:cxnLst>
              <a:cxn ang="0">
                <a:pos x="connsiteX0" y="connsiteY0"/>
              </a:cxn>
              <a:cxn ang="0">
                <a:pos x="connsiteX1" y="connsiteY1"/>
              </a:cxn>
              <a:cxn ang="0">
                <a:pos x="connsiteX2" y="connsiteY2"/>
              </a:cxn>
              <a:cxn ang="0">
                <a:pos x="connsiteX3" y="connsiteY3"/>
              </a:cxn>
            </a:cxnLst>
            <a:rect l="l" t="t" r="r" b="b"/>
            <a:pathLst>
              <a:path w="2563318" h="1768840">
                <a:moveTo>
                  <a:pt x="1281659" y="1768840"/>
                </a:moveTo>
                <a:lnTo>
                  <a:pt x="2563318" y="884420"/>
                </a:lnTo>
                <a:lnTo>
                  <a:pt x="1281659" y="0"/>
                </a:lnTo>
                <a:lnTo>
                  <a:pt x="0" y="884420"/>
                </a:lnTo>
                <a:close/>
              </a:path>
            </a:pathLst>
          </a:custGeom>
          <a:solidFill>
            <a:schemeClr val="bg1">
              <a:lumMod val="85000"/>
            </a:schemeClr>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grpSp>
        <p:nvGrpSpPr>
          <p:cNvPr id="44" name="Group 43">
            <a:extLst>
              <a:ext uri="{FF2B5EF4-FFF2-40B4-BE49-F238E27FC236}">
                <a16:creationId xmlns="" xmlns:a16="http://schemas.microsoft.com/office/drawing/2014/main" id="{D95CB181-707E-48D7-880F-70A99356C4A5}"/>
              </a:ext>
            </a:extLst>
          </p:cNvPr>
          <p:cNvGrpSpPr/>
          <p:nvPr/>
        </p:nvGrpSpPr>
        <p:grpSpPr>
          <a:xfrm>
            <a:off x="2023051" y="3991015"/>
            <a:ext cx="894593" cy="889078"/>
            <a:chOff x="459861" y="3964889"/>
            <a:chExt cx="894593" cy="889078"/>
          </a:xfrm>
        </p:grpSpPr>
        <p:sp>
          <p:nvSpPr>
            <p:cNvPr id="45" name="Freeform: Shape 39">
              <a:extLst>
                <a:ext uri="{FF2B5EF4-FFF2-40B4-BE49-F238E27FC236}">
                  <a16:creationId xmlns="" xmlns:a16="http://schemas.microsoft.com/office/drawing/2014/main" id="{DA235E5D-F2AC-42CE-B40F-5260886784B7}"/>
                </a:ext>
              </a:extLst>
            </p:cNvPr>
            <p:cNvSpPr/>
            <p:nvPr/>
          </p:nvSpPr>
          <p:spPr>
            <a:xfrm flipV="1">
              <a:off x="460147" y="3964889"/>
              <a:ext cx="894307" cy="444539"/>
            </a:xfrm>
            <a:custGeom>
              <a:avLst/>
              <a:gdLst>
                <a:gd name="connsiteX0" fmla="*/ 1281659 w 2563318"/>
                <a:gd name="connsiteY0" fmla="*/ 1768840 h 1768840"/>
                <a:gd name="connsiteX1" fmla="*/ 2563318 w 2563318"/>
                <a:gd name="connsiteY1" fmla="*/ 884420 h 1768840"/>
                <a:gd name="connsiteX2" fmla="*/ 1281659 w 2563318"/>
                <a:gd name="connsiteY2" fmla="*/ 0 h 1768840"/>
                <a:gd name="connsiteX3" fmla="*/ 0 w 2563318"/>
                <a:gd name="connsiteY3" fmla="*/ 884420 h 1768840"/>
              </a:gdLst>
              <a:ahLst/>
              <a:cxnLst>
                <a:cxn ang="0">
                  <a:pos x="connsiteX0" y="connsiteY0"/>
                </a:cxn>
                <a:cxn ang="0">
                  <a:pos x="connsiteX1" y="connsiteY1"/>
                </a:cxn>
                <a:cxn ang="0">
                  <a:pos x="connsiteX2" y="connsiteY2"/>
                </a:cxn>
                <a:cxn ang="0">
                  <a:pos x="connsiteX3" y="connsiteY3"/>
                </a:cxn>
              </a:cxnLst>
              <a:rect l="l" t="t" r="r" b="b"/>
              <a:pathLst>
                <a:path w="2563318" h="1768840">
                  <a:moveTo>
                    <a:pt x="1281659" y="1768840"/>
                  </a:moveTo>
                  <a:lnTo>
                    <a:pt x="2563318" y="884420"/>
                  </a:lnTo>
                  <a:lnTo>
                    <a:pt x="1281659" y="0"/>
                  </a:lnTo>
                  <a:lnTo>
                    <a:pt x="0" y="884420"/>
                  </a:lnTo>
                  <a:close/>
                </a:path>
              </a:pathLst>
            </a:custGeom>
            <a:gradFill>
              <a:gsLst>
                <a:gs pos="0">
                  <a:schemeClr val="bg1"/>
                </a:gs>
                <a:gs pos="100000">
                  <a:schemeClr val="bg1">
                    <a:lumMod val="75000"/>
                  </a:schemeClr>
                </a:gs>
              </a:gsLst>
              <a:lin ang="5400000" scaled="1"/>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latin typeface="Verdana" panose="020B0604030504040204" pitchFamily="34" charset="0"/>
                <a:ea typeface="Verdana" panose="020B0604030504040204" pitchFamily="34" charset="0"/>
              </a:endParaRPr>
            </a:p>
          </p:txBody>
        </p:sp>
        <p:sp>
          <p:nvSpPr>
            <p:cNvPr id="46" name="Freeform: Shape 41">
              <a:extLst>
                <a:ext uri="{FF2B5EF4-FFF2-40B4-BE49-F238E27FC236}">
                  <a16:creationId xmlns="" xmlns:a16="http://schemas.microsoft.com/office/drawing/2014/main" id="{9421C548-C232-43F1-978C-49D5400BF9D2}"/>
                </a:ext>
              </a:extLst>
            </p:cNvPr>
            <p:cNvSpPr/>
            <p:nvPr/>
          </p:nvSpPr>
          <p:spPr>
            <a:xfrm rot="16200000" flipH="1">
              <a:off x="349776" y="4296720"/>
              <a:ext cx="666808" cy="446637"/>
            </a:xfrm>
            <a:custGeom>
              <a:avLst/>
              <a:gdLst>
                <a:gd name="connsiteX0" fmla="*/ 0 w 1911245"/>
                <a:gd name="connsiteY0" fmla="*/ 0 h 1280178"/>
                <a:gd name="connsiteX1" fmla="*/ 636938 w 1911245"/>
                <a:gd name="connsiteY1" fmla="*/ 1279363 h 1280178"/>
                <a:gd name="connsiteX2" fmla="*/ 636532 w 1911245"/>
                <a:gd name="connsiteY2" fmla="*/ 1280178 h 1280178"/>
                <a:gd name="connsiteX3" fmla="*/ 637344 w 1911245"/>
                <a:gd name="connsiteY3" fmla="*/ 1280178 h 1280178"/>
                <a:gd name="connsiteX4" fmla="*/ 1911245 w 1911245"/>
                <a:gd name="connsiteY4" fmla="*/ 1280178 h 1280178"/>
                <a:gd name="connsiteX5" fmla="*/ 1274295 w 1911245"/>
                <a:gd name="connsiteY5" fmla="*/ 841 h 1280178"/>
                <a:gd name="connsiteX6" fmla="*/ 1274713 w 1911245"/>
                <a:gd name="connsiteY6" fmla="*/ 0 h 1280178"/>
                <a:gd name="connsiteX7" fmla="*/ 1273876 w 1911245"/>
                <a:gd name="connsiteY7" fmla="*/ 0 h 12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1245" h="1280178">
                  <a:moveTo>
                    <a:pt x="0" y="0"/>
                  </a:moveTo>
                  <a:lnTo>
                    <a:pt x="636938" y="1279363"/>
                  </a:lnTo>
                  <a:lnTo>
                    <a:pt x="636532" y="1280178"/>
                  </a:lnTo>
                  <a:lnTo>
                    <a:pt x="637344" y="1280178"/>
                  </a:lnTo>
                  <a:lnTo>
                    <a:pt x="1911245" y="1280178"/>
                  </a:lnTo>
                  <a:lnTo>
                    <a:pt x="1274295" y="841"/>
                  </a:lnTo>
                  <a:lnTo>
                    <a:pt x="1274713" y="0"/>
                  </a:lnTo>
                  <a:lnTo>
                    <a:pt x="1273876" y="0"/>
                  </a:lnTo>
                  <a:close/>
                </a:path>
              </a:pathLst>
            </a:custGeom>
            <a:gradFill flip="none" rotWithShape="1">
              <a:gsLst>
                <a:gs pos="0">
                  <a:schemeClr val="bg1">
                    <a:lumMod val="85000"/>
                  </a:schemeClr>
                </a:gs>
                <a:gs pos="100000">
                  <a:schemeClr val="bg1">
                    <a:lumMod val="75000"/>
                  </a:schemeClr>
                </a:gs>
              </a:gsLst>
              <a:lin ang="1620000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47" name="Freeform: Shape 42">
              <a:extLst>
                <a:ext uri="{FF2B5EF4-FFF2-40B4-BE49-F238E27FC236}">
                  <a16:creationId xmlns="" xmlns:a16="http://schemas.microsoft.com/office/drawing/2014/main" id="{1B07BAB5-FE7E-4124-A66E-38DA4503C098}"/>
                </a:ext>
              </a:extLst>
            </p:cNvPr>
            <p:cNvSpPr/>
            <p:nvPr/>
          </p:nvSpPr>
          <p:spPr>
            <a:xfrm rot="5400000" flipH="1" flipV="1">
              <a:off x="797732" y="4297244"/>
              <a:ext cx="666808" cy="446637"/>
            </a:xfrm>
            <a:custGeom>
              <a:avLst/>
              <a:gdLst>
                <a:gd name="connsiteX0" fmla="*/ 0 w 1911245"/>
                <a:gd name="connsiteY0" fmla="*/ 0 h 1280178"/>
                <a:gd name="connsiteX1" fmla="*/ 636938 w 1911245"/>
                <a:gd name="connsiteY1" fmla="*/ 1279363 h 1280178"/>
                <a:gd name="connsiteX2" fmla="*/ 636532 w 1911245"/>
                <a:gd name="connsiteY2" fmla="*/ 1280178 h 1280178"/>
                <a:gd name="connsiteX3" fmla="*/ 637344 w 1911245"/>
                <a:gd name="connsiteY3" fmla="*/ 1280178 h 1280178"/>
                <a:gd name="connsiteX4" fmla="*/ 1911245 w 1911245"/>
                <a:gd name="connsiteY4" fmla="*/ 1280178 h 1280178"/>
                <a:gd name="connsiteX5" fmla="*/ 1274295 w 1911245"/>
                <a:gd name="connsiteY5" fmla="*/ 841 h 1280178"/>
                <a:gd name="connsiteX6" fmla="*/ 1274713 w 1911245"/>
                <a:gd name="connsiteY6" fmla="*/ 0 h 1280178"/>
                <a:gd name="connsiteX7" fmla="*/ 1273876 w 1911245"/>
                <a:gd name="connsiteY7" fmla="*/ 0 h 12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1245" h="1280178">
                  <a:moveTo>
                    <a:pt x="0" y="0"/>
                  </a:moveTo>
                  <a:lnTo>
                    <a:pt x="636938" y="1279363"/>
                  </a:lnTo>
                  <a:lnTo>
                    <a:pt x="636532" y="1280178"/>
                  </a:lnTo>
                  <a:lnTo>
                    <a:pt x="637344" y="1280178"/>
                  </a:lnTo>
                  <a:lnTo>
                    <a:pt x="1911245" y="1280178"/>
                  </a:lnTo>
                  <a:lnTo>
                    <a:pt x="1274295" y="841"/>
                  </a:lnTo>
                  <a:lnTo>
                    <a:pt x="1274713" y="0"/>
                  </a:lnTo>
                  <a:lnTo>
                    <a:pt x="1273876" y="0"/>
                  </a:lnTo>
                  <a:close/>
                </a:path>
              </a:pathLst>
            </a:custGeom>
            <a:gradFill flip="none" rotWithShape="1">
              <a:gsLst>
                <a:gs pos="0">
                  <a:schemeClr val="bg1">
                    <a:lumMod val="85000"/>
                  </a:schemeClr>
                </a:gs>
                <a:gs pos="100000">
                  <a:schemeClr val="bg1">
                    <a:lumMod val="75000"/>
                  </a:schemeClr>
                </a:gs>
              </a:gsLst>
              <a:lin ang="1350000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grpSp>
      <p:sp>
        <p:nvSpPr>
          <p:cNvPr id="48" name="Right Triangle 47">
            <a:extLst>
              <a:ext uri="{FF2B5EF4-FFF2-40B4-BE49-F238E27FC236}">
                <a16:creationId xmlns="" xmlns:a16="http://schemas.microsoft.com/office/drawing/2014/main" id="{29B96800-2466-4C65-9359-5D170B4B87A9}"/>
              </a:ext>
            </a:extLst>
          </p:cNvPr>
          <p:cNvSpPr/>
          <p:nvPr/>
        </p:nvSpPr>
        <p:spPr>
          <a:xfrm rot="20048706">
            <a:off x="1874307" y="1138072"/>
            <a:ext cx="525952" cy="29348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pic>
        <p:nvPicPr>
          <p:cNvPr id="49" name="Graphic 62" descr="User">
            <a:extLst>
              <a:ext uri="{FF2B5EF4-FFF2-40B4-BE49-F238E27FC236}">
                <a16:creationId xmlns="" xmlns:a16="http://schemas.microsoft.com/office/drawing/2014/main" id="{0F8CA7DC-B1E5-407D-B3AE-D8FF0302E8F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 xmlns:asvg="http://schemas.microsoft.com/office/drawing/2016/SVG/main" r:embed="rId11"/>
              </a:ext>
            </a:extLst>
          </a:blip>
          <a:stretch>
            <a:fillRect/>
          </a:stretch>
        </p:blipFill>
        <p:spPr>
          <a:xfrm>
            <a:off x="2282565" y="4048960"/>
            <a:ext cx="327600" cy="327600"/>
          </a:xfrm>
          <a:prstGeom prst="rect">
            <a:avLst/>
          </a:prstGeom>
          <a:scene3d>
            <a:camera prst="isometricTopUp">
              <a:rot lat="19334322" lon="18553891" rev="3806094"/>
            </a:camera>
            <a:lightRig rig="threePt" dir="t"/>
          </a:scene3d>
        </p:spPr>
      </p:pic>
      <p:pic>
        <p:nvPicPr>
          <p:cNvPr id="50" name="Graphic 66" descr="Pie Chart">
            <a:extLst>
              <a:ext uri="{FF2B5EF4-FFF2-40B4-BE49-F238E27FC236}">
                <a16:creationId xmlns="" xmlns:a16="http://schemas.microsoft.com/office/drawing/2014/main" id="{6C123FB2-53CC-4D3B-94DD-22FA08A8A63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 xmlns:asvg="http://schemas.microsoft.com/office/drawing/2016/SVG/main" r:embed="rId13"/>
              </a:ext>
            </a:extLst>
          </a:blip>
          <a:stretch>
            <a:fillRect/>
          </a:stretch>
        </p:blipFill>
        <p:spPr>
          <a:xfrm>
            <a:off x="2747068" y="4696670"/>
            <a:ext cx="327600" cy="327600"/>
          </a:xfrm>
          <a:prstGeom prst="rect">
            <a:avLst/>
          </a:prstGeom>
          <a:scene3d>
            <a:camera prst="isometricTopUp"/>
            <a:lightRig rig="threePt" dir="t"/>
          </a:scene3d>
        </p:spPr>
      </p:pic>
      <p:pic>
        <p:nvPicPr>
          <p:cNvPr id="51" name="Graphic 68" descr="Bullseye">
            <a:extLst>
              <a:ext uri="{FF2B5EF4-FFF2-40B4-BE49-F238E27FC236}">
                <a16:creationId xmlns="" xmlns:a16="http://schemas.microsoft.com/office/drawing/2014/main" id="{CD794C65-1EDD-454C-9BF0-18995F48D790}"/>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 xmlns:asvg="http://schemas.microsoft.com/office/drawing/2016/SVG/main" r:embed="rId15"/>
              </a:ext>
            </a:extLst>
          </a:blip>
          <a:stretch>
            <a:fillRect/>
          </a:stretch>
        </p:blipFill>
        <p:spPr>
          <a:xfrm>
            <a:off x="2293693" y="5394027"/>
            <a:ext cx="327600" cy="327600"/>
          </a:xfrm>
          <a:prstGeom prst="rect">
            <a:avLst/>
          </a:prstGeom>
          <a:scene3d>
            <a:camera prst="isometricTopUp"/>
            <a:lightRig rig="threePt" dir="t"/>
          </a:scene3d>
        </p:spPr>
      </p:pic>
      <p:grpSp>
        <p:nvGrpSpPr>
          <p:cNvPr id="52" name="Group 51">
            <a:extLst>
              <a:ext uri="{FF2B5EF4-FFF2-40B4-BE49-F238E27FC236}">
                <a16:creationId xmlns="" xmlns:a16="http://schemas.microsoft.com/office/drawing/2014/main" id="{4F22FDCA-086B-4F8E-A21A-2ABAAB6E53BA}"/>
              </a:ext>
            </a:extLst>
          </p:cNvPr>
          <p:cNvGrpSpPr/>
          <p:nvPr/>
        </p:nvGrpSpPr>
        <p:grpSpPr>
          <a:xfrm>
            <a:off x="4142530" y="1294239"/>
            <a:ext cx="6781121" cy="530126"/>
            <a:chOff x="3979472" y="3241113"/>
            <a:chExt cx="2164274" cy="501710"/>
          </a:xfrm>
        </p:grpSpPr>
        <p:sp>
          <p:nvSpPr>
            <p:cNvPr id="53" name="TextBox 52">
              <a:extLst>
                <a:ext uri="{FF2B5EF4-FFF2-40B4-BE49-F238E27FC236}">
                  <a16:creationId xmlns="" xmlns:a16="http://schemas.microsoft.com/office/drawing/2014/main" id="{684CD8BE-EEF7-4B0D-9071-84029D49A8FD}"/>
                </a:ext>
              </a:extLst>
            </p:cNvPr>
            <p:cNvSpPr txBox="1"/>
            <p:nvPr/>
          </p:nvSpPr>
          <p:spPr>
            <a:xfrm>
              <a:off x="3979472" y="3241113"/>
              <a:ext cx="2160105" cy="262151"/>
            </a:xfrm>
            <a:prstGeom prst="rect">
              <a:avLst/>
            </a:prstGeom>
            <a:noFill/>
          </p:spPr>
          <p:txBody>
            <a:bodyPr wrap="square" rtlCol="0">
              <a:spAutoFit/>
            </a:bodyPr>
            <a:lstStyle/>
            <a:p>
              <a:endParaRPr lang="en-US" sz="1200" b="1" dirty="0">
                <a:solidFill>
                  <a:schemeClr val="accent2"/>
                </a:solidFill>
                <a:latin typeface="Verdana" panose="020B0604030504040204" pitchFamily="34" charset="0"/>
                <a:ea typeface="Verdana" panose="020B0604030504040204" pitchFamily="34" charset="0"/>
              </a:endParaRPr>
            </a:p>
          </p:txBody>
        </p:sp>
        <p:sp>
          <p:nvSpPr>
            <p:cNvPr id="54" name="TextBox 53">
              <a:extLst>
                <a:ext uri="{FF2B5EF4-FFF2-40B4-BE49-F238E27FC236}">
                  <a16:creationId xmlns="" xmlns:a16="http://schemas.microsoft.com/office/drawing/2014/main" id="{517971A8-002C-43B7-AD3E-5D419D0ABF23}"/>
                </a:ext>
              </a:extLst>
            </p:cNvPr>
            <p:cNvSpPr txBox="1"/>
            <p:nvPr/>
          </p:nvSpPr>
          <p:spPr>
            <a:xfrm>
              <a:off x="3983642" y="3473391"/>
              <a:ext cx="2160104" cy="269432"/>
            </a:xfrm>
            <a:prstGeom prst="rect">
              <a:avLst/>
            </a:prstGeom>
            <a:noFill/>
          </p:spPr>
          <p:txBody>
            <a:bodyPr wrap="square" rtlCol="0">
              <a:spAutoFit/>
            </a:bodyPr>
            <a:lstStyle/>
            <a:p>
              <a:r>
                <a:rPr lang="en-US" sz="1200" dirty="0" smtClean="0">
                  <a:solidFill>
                    <a:schemeClr val="tx1">
                      <a:lumMod val="75000"/>
                      <a:lumOff val="25000"/>
                    </a:schemeClr>
                  </a:solidFill>
                  <a:latin typeface="Verdana" panose="020B0604030504040204" pitchFamily="34" charset="0"/>
                  <a:ea typeface="Verdana" panose="020B0604030504040204" pitchFamily="34" charset="0"/>
                </a:rPr>
                <a:t>. </a:t>
              </a:r>
              <a:endParaRPr lang="en-US" sz="1200" dirty="0">
                <a:solidFill>
                  <a:schemeClr val="tx1">
                    <a:lumMod val="75000"/>
                    <a:lumOff val="25000"/>
                  </a:schemeClr>
                </a:solidFill>
                <a:latin typeface="Verdana" panose="020B0604030504040204" pitchFamily="34" charset="0"/>
                <a:ea typeface="Verdana" panose="020B0604030504040204" pitchFamily="34" charset="0"/>
              </a:endParaRPr>
            </a:p>
          </p:txBody>
        </p:sp>
      </p:grpSp>
      <p:sp>
        <p:nvSpPr>
          <p:cNvPr id="73" name="TextBox 72"/>
          <p:cNvSpPr txBox="1"/>
          <p:nvPr/>
        </p:nvSpPr>
        <p:spPr>
          <a:xfrm>
            <a:off x="4820194" y="344306"/>
            <a:ext cx="2358018" cy="430887"/>
          </a:xfrm>
          <a:prstGeom prst="rect">
            <a:avLst/>
          </a:prstGeom>
          <a:noFill/>
        </p:spPr>
        <p:txBody>
          <a:bodyPr wrap="none" lIns="0" tIns="0" rIns="0" bIns="0" numCol="1" rtlCol="0">
            <a:spAutoFit/>
          </a:bodyPr>
          <a:lstStyle/>
          <a:p>
            <a:pPr algn="l"/>
            <a:r>
              <a:rPr lang="en-US" sz="2800" kern="0" dirty="0" smtClean="0">
                <a:solidFill>
                  <a:srgbClr val="FFC000"/>
                </a:solidFill>
                <a:latin typeface="Times New Roman" panose="02020603050405020304" pitchFamily="18" charset="0"/>
                <a:cs typeface="Times New Roman" panose="02020603050405020304" pitchFamily="18" charset="0"/>
              </a:rPr>
              <a:t>APPLICATION</a:t>
            </a:r>
          </a:p>
        </p:txBody>
      </p:sp>
      <p:sp>
        <p:nvSpPr>
          <p:cNvPr id="74" name="Rectangle 73"/>
          <p:cNvSpPr/>
          <p:nvPr/>
        </p:nvSpPr>
        <p:spPr>
          <a:xfrm>
            <a:off x="3584603" y="1492535"/>
            <a:ext cx="2095445" cy="369332"/>
          </a:xfrm>
          <a:prstGeom prst="rect">
            <a:avLst/>
          </a:prstGeom>
        </p:spPr>
        <p:txBody>
          <a:bodyPr wrap="none">
            <a:spAutoFit/>
          </a:bodyPr>
          <a:lstStyle/>
          <a:p>
            <a:pPr marL="285750" indent="-285750">
              <a:buFont typeface="Arial" panose="020B0604020202020204" pitchFamily="34" charset="0"/>
              <a:buChar char="•"/>
            </a:pPr>
            <a:r>
              <a:rPr lang="en-US" dirty="0">
                <a:latin typeface="Times New Roman" panose="02020603050405020304" pitchFamily="18" charset="0"/>
                <a:ea typeface="Times New Roman" panose="02020603050405020304" pitchFamily="18" charset="0"/>
              </a:rPr>
              <a:t>Face Recognition</a:t>
            </a:r>
            <a:endParaRPr lang="en-US" dirty="0"/>
          </a:p>
        </p:txBody>
      </p:sp>
      <p:sp>
        <p:nvSpPr>
          <p:cNvPr id="75" name="Rectangle 74"/>
          <p:cNvSpPr/>
          <p:nvPr/>
        </p:nvSpPr>
        <p:spPr>
          <a:xfrm>
            <a:off x="3606131" y="2158331"/>
            <a:ext cx="1928733" cy="369332"/>
          </a:xfrm>
          <a:prstGeom prst="rect">
            <a:avLst/>
          </a:prstGeom>
        </p:spPr>
        <p:txBody>
          <a:bodyPr wrap="none">
            <a:spAutoFit/>
          </a:bodyPr>
          <a:lstStyle/>
          <a:p>
            <a:pPr marL="285750" indent="-285750">
              <a:buFont typeface="Arial" panose="020B0604020202020204" pitchFamily="34" charset="0"/>
              <a:buChar char="•"/>
            </a:pPr>
            <a:r>
              <a:rPr lang="en-US" dirty="0">
                <a:latin typeface="Times New Roman" panose="02020603050405020304" pitchFamily="18" charset="0"/>
                <a:ea typeface="Times New Roman" panose="02020603050405020304" pitchFamily="18" charset="0"/>
              </a:rPr>
              <a:t>Capture Images</a:t>
            </a:r>
            <a:endParaRPr lang="en-US" dirty="0"/>
          </a:p>
        </p:txBody>
      </p:sp>
      <p:sp>
        <p:nvSpPr>
          <p:cNvPr id="76" name="Rectangle 75"/>
          <p:cNvSpPr/>
          <p:nvPr/>
        </p:nvSpPr>
        <p:spPr>
          <a:xfrm>
            <a:off x="3606131" y="2913634"/>
            <a:ext cx="3499676" cy="369332"/>
          </a:xfrm>
          <a:prstGeom prst="rect">
            <a:avLst/>
          </a:prstGeom>
        </p:spPr>
        <p:txBody>
          <a:bodyPr wrap="none">
            <a:spAutoFit/>
          </a:bodyPr>
          <a:lstStyle/>
          <a:p>
            <a:pPr marL="342900" indent="-342900">
              <a:buFont typeface="Arial" panose="020B0604020202020204" pitchFamily="34" charset="0"/>
              <a:buChar char="•"/>
            </a:pPr>
            <a:r>
              <a:rPr lang="en-US" dirty="0">
                <a:latin typeface="Times New Roman" panose="02020603050405020304" pitchFamily="18" charset="0"/>
                <a:ea typeface="Times New Roman" panose="02020603050405020304" pitchFamily="18" charset="0"/>
              </a:rPr>
              <a:t>Face Detection and Recognition</a:t>
            </a:r>
            <a:endParaRPr lang="en-US" dirty="0"/>
          </a:p>
        </p:txBody>
      </p:sp>
      <p:sp>
        <p:nvSpPr>
          <p:cNvPr id="77" name="Rectangle 76"/>
          <p:cNvSpPr/>
          <p:nvPr/>
        </p:nvSpPr>
        <p:spPr>
          <a:xfrm>
            <a:off x="3606131" y="3557097"/>
            <a:ext cx="1787669" cy="369332"/>
          </a:xfrm>
          <a:prstGeom prst="rect">
            <a:avLst/>
          </a:prstGeom>
        </p:spPr>
        <p:txBody>
          <a:bodyPr wrap="none">
            <a:spAutoFit/>
          </a:bodyPr>
          <a:lstStyle/>
          <a:p>
            <a:pPr marL="285750" indent="-285750">
              <a:buFont typeface="Arial" panose="020B0604020202020204" pitchFamily="34" charset="0"/>
              <a:buChar char="•"/>
            </a:pPr>
            <a:r>
              <a:rPr lang="en-US" dirty="0">
                <a:latin typeface="Times New Roman" panose="02020603050405020304" pitchFamily="18" charset="0"/>
                <a:ea typeface="Times New Roman" panose="02020603050405020304" pitchFamily="18" charset="0"/>
              </a:rPr>
              <a:t>User Interface</a:t>
            </a:r>
            <a:endParaRPr lang="en-US" dirty="0"/>
          </a:p>
        </p:txBody>
      </p:sp>
      <p:sp>
        <p:nvSpPr>
          <p:cNvPr id="78" name="Rectangle 77"/>
          <p:cNvSpPr/>
          <p:nvPr/>
        </p:nvSpPr>
        <p:spPr>
          <a:xfrm>
            <a:off x="3695899" y="4328123"/>
            <a:ext cx="3608680" cy="369332"/>
          </a:xfrm>
          <a:prstGeom prst="rect">
            <a:avLst/>
          </a:prstGeom>
        </p:spPr>
        <p:txBody>
          <a:bodyPr wrap="none">
            <a:spAutoFit/>
          </a:bodyPr>
          <a:lstStyle/>
          <a:p>
            <a:pPr marL="285750" indent="-285750">
              <a:buFont typeface="Arial" panose="020B0604020202020204" pitchFamily="34" charset="0"/>
              <a:buChar char="•"/>
            </a:pPr>
            <a:r>
              <a:rPr lang="en-US" dirty="0">
                <a:latin typeface="Times New Roman" panose="02020603050405020304" pitchFamily="18" charset="0"/>
                <a:ea typeface="Times New Roman" panose="02020603050405020304" pitchFamily="18" charset="0"/>
              </a:rPr>
              <a:t>Integration with Existing Systems</a:t>
            </a:r>
            <a:endParaRPr lang="en-US" dirty="0"/>
          </a:p>
        </p:txBody>
      </p:sp>
      <p:sp>
        <p:nvSpPr>
          <p:cNvPr id="79" name="Rectangle 78"/>
          <p:cNvSpPr/>
          <p:nvPr/>
        </p:nvSpPr>
        <p:spPr>
          <a:xfrm>
            <a:off x="3696421" y="5059269"/>
            <a:ext cx="3211200" cy="369332"/>
          </a:xfrm>
          <a:prstGeom prst="rect">
            <a:avLst/>
          </a:prstGeom>
        </p:spPr>
        <p:txBody>
          <a:bodyPr wrap="none">
            <a:spAutoFit/>
          </a:bodyPr>
          <a:lstStyle/>
          <a:p>
            <a:pPr marL="285750" indent="-285750">
              <a:buFont typeface="Arial" panose="020B0604020202020204" pitchFamily="34" charset="0"/>
              <a:buChar char="•"/>
            </a:pPr>
            <a:r>
              <a:rPr lang="en-US" dirty="0">
                <a:latin typeface="Times New Roman" panose="02020603050405020304" pitchFamily="18" charset="0"/>
                <a:ea typeface="Times New Roman" panose="02020603050405020304" pitchFamily="18" charset="0"/>
              </a:rPr>
              <a:t>Data Analytics and </a:t>
            </a:r>
            <a:r>
              <a:rPr lang="en-US" dirty="0" smtClean="0">
                <a:latin typeface="Times New Roman" panose="02020603050405020304" pitchFamily="18" charset="0"/>
                <a:ea typeface="Times New Roman" panose="02020603050405020304" pitchFamily="18" charset="0"/>
              </a:rPr>
              <a:t>Reporting</a:t>
            </a:r>
            <a:endParaRPr lang="en-US" dirty="0"/>
          </a:p>
        </p:txBody>
      </p:sp>
      <p:sp>
        <p:nvSpPr>
          <p:cNvPr id="80" name="Rectangle 79"/>
          <p:cNvSpPr/>
          <p:nvPr/>
        </p:nvSpPr>
        <p:spPr>
          <a:xfrm>
            <a:off x="3748934" y="5712112"/>
            <a:ext cx="2678938" cy="369332"/>
          </a:xfrm>
          <a:prstGeom prst="rect">
            <a:avLst/>
          </a:prstGeom>
        </p:spPr>
        <p:txBody>
          <a:bodyPr wrap="none">
            <a:spAutoFit/>
          </a:bodyPr>
          <a:lstStyle/>
          <a:p>
            <a:pPr marL="285750" indent="-285750">
              <a:buFont typeface="Arial" panose="020B0604020202020204" pitchFamily="34" charset="0"/>
              <a:buChar char="•"/>
            </a:pPr>
            <a:r>
              <a:rPr lang="en-US" dirty="0">
                <a:latin typeface="Times New Roman" panose="02020603050405020304" pitchFamily="18" charset="0"/>
                <a:ea typeface="Times New Roman" panose="02020603050405020304" pitchFamily="18" charset="0"/>
              </a:rPr>
              <a:t>Scalability and Security</a:t>
            </a:r>
            <a:endParaRPr lang="en-US" dirty="0"/>
          </a:p>
        </p:txBody>
      </p:sp>
      <p:grpSp>
        <p:nvGrpSpPr>
          <p:cNvPr id="81" name="Group 80">
            <a:extLst>
              <a:ext uri="{FF2B5EF4-FFF2-40B4-BE49-F238E27FC236}">
                <a16:creationId xmlns="" xmlns:a16="http://schemas.microsoft.com/office/drawing/2014/main" id="{F0E495EC-2A07-4E96-BC68-427853871BAD}"/>
              </a:ext>
            </a:extLst>
          </p:cNvPr>
          <p:cNvGrpSpPr/>
          <p:nvPr/>
        </p:nvGrpSpPr>
        <p:grpSpPr>
          <a:xfrm>
            <a:off x="2007002" y="2668781"/>
            <a:ext cx="894308" cy="889078"/>
            <a:chOff x="-1834144" y="1877159"/>
            <a:chExt cx="1382721" cy="1374636"/>
          </a:xfrm>
          <a:effectLst>
            <a:outerShdw blurRad="101600" dist="38100" dir="2700000" algn="tl" rotWithShape="0">
              <a:prstClr val="black">
                <a:alpha val="25000"/>
              </a:prstClr>
            </a:outerShdw>
          </a:effectLst>
        </p:grpSpPr>
        <p:sp>
          <p:nvSpPr>
            <p:cNvPr id="82" name="Freeform: Shape 18">
              <a:extLst>
                <a:ext uri="{FF2B5EF4-FFF2-40B4-BE49-F238E27FC236}">
                  <a16:creationId xmlns="" xmlns:a16="http://schemas.microsoft.com/office/drawing/2014/main" id="{38A364B0-1704-4670-BF6E-3E78D969A4D5}"/>
                </a:ext>
              </a:extLst>
            </p:cNvPr>
            <p:cNvSpPr/>
            <p:nvPr/>
          </p:nvSpPr>
          <p:spPr>
            <a:xfrm flipV="1">
              <a:off x="-1834143" y="1877159"/>
              <a:ext cx="1382720" cy="687318"/>
            </a:xfrm>
            <a:custGeom>
              <a:avLst/>
              <a:gdLst>
                <a:gd name="connsiteX0" fmla="*/ 1281659 w 2563318"/>
                <a:gd name="connsiteY0" fmla="*/ 1768840 h 1768840"/>
                <a:gd name="connsiteX1" fmla="*/ 2563318 w 2563318"/>
                <a:gd name="connsiteY1" fmla="*/ 884420 h 1768840"/>
                <a:gd name="connsiteX2" fmla="*/ 1281659 w 2563318"/>
                <a:gd name="connsiteY2" fmla="*/ 0 h 1768840"/>
                <a:gd name="connsiteX3" fmla="*/ 0 w 2563318"/>
                <a:gd name="connsiteY3" fmla="*/ 884420 h 1768840"/>
              </a:gdLst>
              <a:ahLst/>
              <a:cxnLst>
                <a:cxn ang="0">
                  <a:pos x="connsiteX0" y="connsiteY0"/>
                </a:cxn>
                <a:cxn ang="0">
                  <a:pos x="connsiteX1" y="connsiteY1"/>
                </a:cxn>
                <a:cxn ang="0">
                  <a:pos x="connsiteX2" y="connsiteY2"/>
                </a:cxn>
                <a:cxn ang="0">
                  <a:pos x="connsiteX3" y="connsiteY3"/>
                </a:cxn>
              </a:cxnLst>
              <a:rect l="l" t="t" r="r" b="b"/>
              <a:pathLst>
                <a:path w="2563318" h="1768840">
                  <a:moveTo>
                    <a:pt x="1281659" y="1768840"/>
                  </a:moveTo>
                  <a:lnTo>
                    <a:pt x="2563318" y="884420"/>
                  </a:lnTo>
                  <a:lnTo>
                    <a:pt x="1281659" y="0"/>
                  </a:lnTo>
                  <a:lnTo>
                    <a:pt x="0" y="884420"/>
                  </a:lnTo>
                  <a:close/>
                </a:path>
              </a:pathLst>
            </a:custGeom>
            <a:gradFill flip="none" rotWithShape="1">
              <a:gsLst>
                <a:gs pos="4000">
                  <a:schemeClr val="accent2">
                    <a:shade val="67500"/>
                    <a:satMod val="115000"/>
                    <a:lumMod val="87000"/>
                  </a:schemeClr>
                </a:gs>
                <a:gs pos="100000">
                  <a:schemeClr val="accent2">
                    <a:shade val="100000"/>
                    <a:satMod val="115000"/>
                  </a:schemeClr>
                </a:gs>
              </a:gsLst>
              <a:lin ang="1620000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latin typeface="Verdana" panose="020B0604030504040204" pitchFamily="34" charset="0"/>
                <a:ea typeface="Verdana" panose="020B0604030504040204" pitchFamily="34" charset="0"/>
              </a:endParaRPr>
            </a:p>
          </p:txBody>
        </p:sp>
        <p:sp>
          <p:nvSpPr>
            <p:cNvPr id="83" name="Freeform: Shape 19">
              <a:extLst>
                <a:ext uri="{FF2B5EF4-FFF2-40B4-BE49-F238E27FC236}">
                  <a16:creationId xmlns="" xmlns:a16="http://schemas.microsoft.com/office/drawing/2014/main" id="{4B6802F8-F728-4996-A4E0-06D244DE0F1D}"/>
                </a:ext>
              </a:extLst>
            </p:cNvPr>
            <p:cNvSpPr/>
            <p:nvPr/>
          </p:nvSpPr>
          <p:spPr>
            <a:xfrm flipV="1">
              <a:off x="-1834143" y="2564477"/>
              <a:ext cx="1382720" cy="687318"/>
            </a:xfrm>
            <a:custGeom>
              <a:avLst/>
              <a:gdLst>
                <a:gd name="connsiteX0" fmla="*/ 1281659 w 2563318"/>
                <a:gd name="connsiteY0" fmla="*/ 1768840 h 1768840"/>
                <a:gd name="connsiteX1" fmla="*/ 2563318 w 2563318"/>
                <a:gd name="connsiteY1" fmla="*/ 884420 h 1768840"/>
                <a:gd name="connsiteX2" fmla="*/ 1281659 w 2563318"/>
                <a:gd name="connsiteY2" fmla="*/ 0 h 1768840"/>
                <a:gd name="connsiteX3" fmla="*/ 0 w 2563318"/>
                <a:gd name="connsiteY3" fmla="*/ 884420 h 1768840"/>
              </a:gdLst>
              <a:ahLst/>
              <a:cxnLst>
                <a:cxn ang="0">
                  <a:pos x="connsiteX0" y="connsiteY0"/>
                </a:cxn>
                <a:cxn ang="0">
                  <a:pos x="connsiteX1" y="connsiteY1"/>
                </a:cxn>
                <a:cxn ang="0">
                  <a:pos x="connsiteX2" y="connsiteY2"/>
                </a:cxn>
                <a:cxn ang="0">
                  <a:pos x="connsiteX3" y="connsiteY3"/>
                </a:cxn>
              </a:cxnLst>
              <a:rect l="l" t="t" r="r" b="b"/>
              <a:pathLst>
                <a:path w="2563318" h="1768840">
                  <a:moveTo>
                    <a:pt x="1281659" y="1768840"/>
                  </a:moveTo>
                  <a:lnTo>
                    <a:pt x="2563318" y="884420"/>
                  </a:lnTo>
                  <a:lnTo>
                    <a:pt x="1281659" y="0"/>
                  </a:lnTo>
                  <a:lnTo>
                    <a:pt x="0" y="884420"/>
                  </a:lnTo>
                  <a:close/>
                </a:path>
              </a:pathLst>
            </a:custGeom>
            <a:solidFill>
              <a:schemeClr val="bg1">
                <a:lumMod val="85000"/>
              </a:schemeClr>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84" name="Freeform: Shape 20">
              <a:extLst>
                <a:ext uri="{FF2B5EF4-FFF2-40B4-BE49-F238E27FC236}">
                  <a16:creationId xmlns="" xmlns:a16="http://schemas.microsoft.com/office/drawing/2014/main" id="{C6AC7CD5-5A66-4596-8ABD-965B217C87F6}"/>
                </a:ext>
              </a:extLst>
            </p:cNvPr>
            <p:cNvSpPr/>
            <p:nvPr/>
          </p:nvSpPr>
          <p:spPr>
            <a:xfrm rot="16200000" flipH="1">
              <a:off x="-2004351" y="2391026"/>
              <a:ext cx="1030976" cy="690561"/>
            </a:xfrm>
            <a:custGeom>
              <a:avLst/>
              <a:gdLst>
                <a:gd name="connsiteX0" fmla="*/ 0 w 1911245"/>
                <a:gd name="connsiteY0" fmla="*/ 0 h 1280178"/>
                <a:gd name="connsiteX1" fmla="*/ 636938 w 1911245"/>
                <a:gd name="connsiteY1" fmla="*/ 1279363 h 1280178"/>
                <a:gd name="connsiteX2" fmla="*/ 636532 w 1911245"/>
                <a:gd name="connsiteY2" fmla="*/ 1280178 h 1280178"/>
                <a:gd name="connsiteX3" fmla="*/ 637344 w 1911245"/>
                <a:gd name="connsiteY3" fmla="*/ 1280178 h 1280178"/>
                <a:gd name="connsiteX4" fmla="*/ 1911245 w 1911245"/>
                <a:gd name="connsiteY4" fmla="*/ 1280178 h 1280178"/>
                <a:gd name="connsiteX5" fmla="*/ 1274295 w 1911245"/>
                <a:gd name="connsiteY5" fmla="*/ 841 h 1280178"/>
                <a:gd name="connsiteX6" fmla="*/ 1274713 w 1911245"/>
                <a:gd name="connsiteY6" fmla="*/ 0 h 1280178"/>
                <a:gd name="connsiteX7" fmla="*/ 1273876 w 1911245"/>
                <a:gd name="connsiteY7" fmla="*/ 0 h 12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1245" h="1280178">
                  <a:moveTo>
                    <a:pt x="0" y="0"/>
                  </a:moveTo>
                  <a:lnTo>
                    <a:pt x="636938" y="1279363"/>
                  </a:lnTo>
                  <a:lnTo>
                    <a:pt x="636532" y="1280178"/>
                  </a:lnTo>
                  <a:lnTo>
                    <a:pt x="637344" y="1280178"/>
                  </a:lnTo>
                  <a:lnTo>
                    <a:pt x="1911245" y="1280178"/>
                  </a:lnTo>
                  <a:lnTo>
                    <a:pt x="1274295" y="841"/>
                  </a:lnTo>
                  <a:lnTo>
                    <a:pt x="1274713" y="0"/>
                  </a:lnTo>
                  <a:lnTo>
                    <a:pt x="1273876" y="0"/>
                  </a:lnTo>
                  <a:close/>
                </a:path>
              </a:pathLst>
            </a:custGeom>
            <a:gradFill flip="none" rotWithShape="1">
              <a:gsLst>
                <a:gs pos="2000">
                  <a:schemeClr val="accent2">
                    <a:shade val="67500"/>
                    <a:satMod val="115000"/>
                  </a:schemeClr>
                </a:gs>
                <a:gs pos="100000">
                  <a:schemeClr val="accent2">
                    <a:shade val="100000"/>
                    <a:satMod val="115000"/>
                  </a:schemeClr>
                </a:gs>
              </a:gsLst>
              <a:lin ang="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85" name="Freeform: Shape 21">
              <a:extLst>
                <a:ext uri="{FF2B5EF4-FFF2-40B4-BE49-F238E27FC236}">
                  <a16:creationId xmlns="" xmlns:a16="http://schemas.microsoft.com/office/drawing/2014/main" id="{DBD93B4B-0391-45BB-ABAF-35CC6DD84314}"/>
                </a:ext>
              </a:extLst>
            </p:cNvPr>
            <p:cNvSpPr/>
            <p:nvPr/>
          </p:nvSpPr>
          <p:spPr>
            <a:xfrm rot="5400000" flipH="1" flipV="1">
              <a:off x="-1312191" y="2391025"/>
              <a:ext cx="1030976" cy="690561"/>
            </a:xfrm>
            <a:custGeom>
              <a:avLst/>
              <a:gdLst>
                <a:gd name="connsiteX0" fmla="*/ 0 w 1911245"/>
                <a:gd name="connsiteY0" fmla="*/ 0 h 1280178"/>
                <a:gd name="connsiteX1" fmla="*/ 636938 w 1911245"/>
                <a:gd name="connsiteY1" fmla="*/ 1279363 h 1280178"/>
                <a:gd name="connsiteX2" fmla="*/ 636532 w 1911245"/>
                <a:gd name="connsiteY2" fmla="*/ 1280178 h 1280178"/>
                <a:gd name="connsiteX3" fmla="*/ 637344 w 1911245"/>
                <a:gd name="connsiteY3" fmla="*/ 1280178 h 1280178"/>
                <a:gd name="connsiteX4" fmla="*/ 1911245 w 1911245"/>
                <a:gd name="connsiteY4" fmla="*/ 1280178 h 1280178"/>
                <a:gd name="connsiteX5" fmla="*/ 1274295 w 1911245"/>
                <a:gd name="connsiteY5" fmla="*/ 841 h 1280178"/>
                <a:gd name="connsiteX6" fmla="*/ 1274713 w 1911245"/>
                <a:gd name="connsiteY6" fmla="*/ 0 h 1280178"/>
                <a:gd name="connsiteX7" fmla="*/ 1273876 w 1911245"/>
                <a:gd name="connsiteY7" fmla="*/ 0 h 12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1245" h="1280178">
                  <a:moveTo>
                    <a:pt x="0" y="0"/>
                  </a:moveTo>
                  <a:lnTo>
                    <a:pt x="636938" y="1279363"/>
                  </a:lnTo>
                  <a:lnTo>
                    <a:pt x="636532" y="1280178"/>
                  </a:lnTo>
                  <a:lnTo>
                    <a:pt x="637344" y="1280178"/>
                  </a:lnTo>
                  <a:lnTo>
                    <a:pt x="1911245" y="1280178"/>
                  </a:lnTo>
                  <a:lnTo>
                    <a:pt x="1274295" y="841"/>
                  </a:lnTo>
                  <a:lnTo>
                    <a:pt x="1274713" y="0"/>
                  </a:lnTo>
                  <a:lnTo>
                    <a:pt x="1273876" y="0"/>
                  </a:lnTo>
                  <a:close/>
                </a:path>
              </a:pathLst>
            </a:custGeom>
            <a:gradFill flip="none" rotWithShape="1">
              <a:gsLst>
                <a:gs pos="2000">
                  <a:schemeClr val="accent2">
                    <a:shade val="67500"/>
                    <a:satMod val="115000"/>
                  </a:schemeClr>
                </a:gs>
                <a:gs pos="100000">
                  <a:schemeClr val="accent2">
                    <a:shade val="100000"/>
                    <a:satMod val="115000"/>
                  </a:schemeClr>
                </a:gs>
              </a:gsLst>
              <a:lin ang="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grpSp>
      <p:grpSp>
        <p:nvGrpSpPr>
          <p:cNvPr id="86" name="Group 85">
            <a:extLst>
              <a:ext uri="{FF2B5EF4-FFF2-40B4-BE49-F238E27FC236}">
                <a16:creationId xmlns="" xmlns:a16="http://schemas.microsoft.com/office/drawing/2014/main" id="{F0E495EC-2A07-4E96-BC68-427853871BAD}"/>
              </a:ext>
            </a:extLst>
          </p:cNvPr>
          <p:cNvGrpSpPr/>
          <p:nvPr/>
        </p:nvGrpSpPr>
        <p:grpSpPr>
          <a:xfrm>
            <a:off x="2006486" y="3948001"/>
            <a:ext cx="894308" cy="889078"/>
            <a:chOff x="-1834144" y="1877159"/>
            <a:chExt cx="1382721" cy="1374636"/>
          </a:xfrm>
          <a:effectLst>
            <a:outerShdw blurRad="101600" dist="38100" dir="2700000" algn="tl" rotWithShape="0">
              <a:prstClr val="black">
                <a:alpha val="25000"/>
              </a:prstClr>
            </a:outerShdw>
          </a:effectLst>
        </p:grpSpPr>
        <p:sp>
          <p:nvSpPr>
            <p:cNvPr id="87" name="Freeform: Shape 18">
              <a:extLst>
                <a:ext uri="{FF2B5EF4-FFF2-40B4-BE49-F238E27FC236}">
                  <a16:creationId xmlns="" xmlns:a16="http://schemas.microsoft.com/office/drawing/2014/main" id="{38A364B0-1704-4670-BF6E-3E78D969A4D5}"/>
                </a:ext>
              </a:extLst>
            </p:cNvPr>
            <p:cNvSpPr/>
            <p:nvPr/>
          </p:nvSpPr>
          <p:spPr>
            <a:xfrm flipV="1">
              <a:off x="-1834143" y="1877159"/>
              <a:ext cx="1382720" cy="687318"/>
            </a:xfrm>
            <a:custGeom>
              <a:avLst/>
              <a:gdLst>
                <a:gd name="connsiteX0" fmla="*/ 1281659 w 2563318"/>
                <a:gd name="connsiteY0" fmla="*/ 1768840 h 1768840"/>
                <a:gd name="connsiteX1" fmla="*/ 2563318 w 2563318"/>
                <a:gd name="connsiteY1" fmla="*/ 884420 h 1768840"/>
                <a:gd name="connsiteX2" fmla="*/ 1281659 w 2563318"/>
                <a:gd name="connsiteY2" fmla="*/ 0 h 1768840"/>
                <a:gd name="connsiteX3" fmla="*/ 0 w 2563318"/>
                <a:gd name="connsiteY3" fmla="*/ 884420 h 1768840"/>
              </a:gdLst>
              <a:ahLst/>
              <a:cxnLst>
                <a:cxn ang="0">
                  <a:pos x="connsiteX0" y="connsiteY0"/>
                </a:cxn>
                <a:cxn ang="0">
                  <a:pos x="connsiteX1" y="connsiteY1"/>
                </a:cxn>
                <a:cxn ang="0">
                  <a:pos x="connsiteX2" y="connsiteY2"/>
                </a:cxn>
                <a:cxn ang="0">
                  <a:pos x="connsiteX3" y="connsiteY3"/>
                </a:cxn>
              </a:cxnLst>
              <a:rect l="l" t="t" r="r" b="b"/>
              <a:pathLst>
                <a:path w="2563318" h="1768840">
                  <a:moveTo>
                    <a:pt x="1281659" y="1768840"/>
                  </a:moveTo>
                  <a:lnTo>
                    <a:pt x="2563318" y="884420"/>
                  </a:lnTo>
                  <a:lnTo>
                    <a:pt x="1281659" y="0"/>
                  </a:lnTo>
                  <a:lnTo>
                    <a:pt x="0" y="884420"/>
                  </a:lnTo>
                  <a:close/>
                </a:path>
              </a:pathLst>
            </a:custGeom>
            <a:gradFill flip="none" rotWithShape="1">
              <a:gsLst>
                <a:gs pos="4000">
                  <a:schemeClr val="accent2">
                    <a:shade val="67500"/>
                    <a:satMod val="115000"/>
                    <a:lumMod val="87000"/>
                  </a:schemeClr>
                </a:gs>
                <a:gs pos="100000">
                  <a:schemeClr val="accent2">
                    <a:shade val="100000"/>
                    <a:satMod val="115000"/>
                  </a:schemeClr>
                </a:gs>
              </a:gsLst>
              <a:lin ang="1620000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latin typeface="Verdana" panose="020B0604030504040204" pitchFamily="34" charset="0"/>
                <a:ea typeface="Verdana" panose="020B0604030504040204" pitchFamily="34" charset="0"/>
              </a:endParaRPr>
            </a:p>
          </p:txBody>
        </p:sp>
        <p:sp>
          <p:nvSpPr>
            <p:cNvPr id="88" name="Freeform: Shape 19">
              <a:extLst>
                <a:ext uri="{FF2B5EF4-FFF2-40B4-BE49-F238E27FC236}">
                  <a16:creationId xmlns="" xmlns:a16="http://schemas.microsoft.com/office/drawing/2014/main" id="{4B6802F8-F728-4996-A4E0-06D244DE0F1D}"/>
                </a:ext>
              </a:extLst>
            </p:cNvPr>
            <p:cNvSpPr/>
            <p:nvPr/>
          </p:nvSpPr>
          <p:spPr>
            <a:xfrm flipV="1">
              <a:off x="-1834143" y="2564477"/>
              <a:ext cx="1382720" cy="687318"/>
            </a:xfrm>
            <a:custGeom>
              <a:avLst/>
              <a:gdLst>
                <a:gd name="connsiteX0" fmla="*/ 1281659 w 2563318"/>
                <a:gd name="connsiteY0" fmla="*/ 1768840 h 1768840"/>
                <a:gd name="connsiteX1" fmla="*/ 2563318 w 2563318"/>
                <a:gd name="connsiteY1" fmla="*/ 884420 h 1768840"/>
                <a:gd name="connsiteX2" fmla="*/ 1281659 w 2563318"/>
                <a:gd name="connsiteY2" fmla="*/ 0 h 1768840"/>
                <a:gd name="connsiteX3" fmla="*/ 0 w 2563318"/>
                <a:gd name="connsiteY3" fmla="*/ 884420 h 1768840"/>
              </a:gdLst>
              <a:ahLst/>
              <a:cxnLst>
                <a:cxn ang="0">
                  <a:pos x="connsiteX0" y="connsiteY0"/>
                </a:cxn>
                <a:cxn ang="0">
                  <a:pos x="connsiteX1" y="connsiteY1"/>
                </a:cxn>
                <a:cxn ang="0">
                  <a:pos x="connsiteX2" y="connsiteY2"/>
                </a:cxn>
                <a:cxn ang="0">
                  <a:pos x="connsiteX3" y="connsiteY3"/>
                </a:cxn>
              </a:cxnLst>
              <a:rect l="l" t="t" r="r" b="b"/>
              <a:pathLst>
                <a:path w="2563318" h="1768840">
                  <a:moveTo>
                    <a:pt x="1281659" y="1768840"/>
                  </a:moveTo>
                  <a:lnTo>
                    <a:pt x="2563318" y="884420"/>
                  </a:lnTo>
                  <a:lnTo>
                    <a:pt x="1281659" y="0"/>
                  </a:lnTo>
                  <a:lnTo>
                    <a:pt x="0" y="884420"/>
                  </a:lnTo>
                  <a:close/>
                </a:path>
              </a:pathLst>
            </a:custGeom>
            <a:solidFill>
              <a:schemeClr val="bg1">
                <a:lumMod val="85000"/>
              </a:schemeClr>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89" name="Freeform: Shape 20">
              <a:extLst>
                <a:ext uri="{FF2B5EF4-FFF2-40B4-BE49-F238E27FC236}">
                  <a16:creationId xmlns="" xmlns:a16="http://schemas.microsoft.com/office/drawing/2014/main" id="{C6AC7CD5-5A66-4596-8ABD-965B217C87F6}"/>
                </a:ext>
              </a:extLst>
            </p:cNvPr>
            <p:cNvSpPr/>
            <p:nvPr/>
          </p:nvSpPr>
          <p:spPr>
            <a:xfrm rot="16200000" flipH="1">
              <a:off x="-2004351" y="2391026"/>
              <a:ext cx="1030976" cy="690561"/>
            </a:xfrm>
            <a:custGeom>
              <a:avLst/>
              <a:gdLst>
                <a:gd name="connsiteX0" fmla="*/ 0 w 1911245"/>
                <a:gd name="connsiteY0" fmla="*/ 0 h 1280178"/>
                <a:gd name="connsiteX1" fmla="*/ 636938 w 1911245"/>
                <a:gd name="connsiteY1" fmla="*/ 1279363 h 1280178"/>
                <a:gd name="connsiteX2" fmla="*/ 636532 w 1911245"/>
                <a:gd name="connsiteY2" fmla="*/ 1280178 h 1280178"/>
                <a:gd name="connsiteX3" fmla="*/ 637344 w 1911245"/>
                <a:gd name="connsiteY3" fmla="*/ 1280178 h 1280178"/>
                <a:gd name="connsiteX4" fmla="*/ 1911245 w 1911245"/>
                <a:gd name="connsiteY4" fmla="*/ 1280178 h 1280178"/>
                <a:gd name="connsiteX5" fmla="*/ 1274295 w 1911245"/>
                <a:gd name="connsiteY5" fmla="*/ 841 h 1280178"/>
                <a:gd name="connsiteX6" fmla="*/ 1274713 w 1911245"/>
                <a:gd name="connsiteY6" fmla="*/ 0 h 1280178"/>
                <a:gd name="connsiteX7" fmla="*/ 1273876 w 1911245"/>
                <a:gd name="connsiteY7" fmla="*/ 0 h 12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1245" h="1280178">
                  <a:moveTo>
                    <a:pt x="0" y="0"/>
                  </a:moveTo>
                  <a:lnTo>
                    <a:pt x="636938" y="1279363"/>
                  </a:lnTo>
                  <a:lnTo>
                    <a:pt x="636532" y="1280178"/>
                  </a:lnTo>
                  <a:lnTo>
                    <a:pt x="637344" y="1280178"/>
                  </a:lnTo>
                  <a:lnTo>
                    <a:pt x="1911245" y="1280178"/>
                  </a:lnTo>
                  <a:lnTo>
                    <a:pt x="1274295" y="841"/>
                  </a:lnTo>
                  <a:lnTo>
                    <a:pt x="1274713" y="0"/>
                  </a:lnTo>
                  <a:lnTo>
                    <a:pt x="1273876" y="0"/>
                  </a:lnTo>
                  <a:close/>
                </a:path>
              </a:pathLst>
            </a:custGeom>
            <a:gradFill flip="none" rotWithShape="1">
              <a:gsLst>
                <a:gs pos="2000">
                  <a:schemeClr val="accent2">
                    <a:shade val="67500"/>
                    <a:satMod val="115000"/>
                  </a:schemeClr>
                </a:gs>
                <a:gs pos="100000">
                  <a:schemeClr val="accent2">
                    <a:shade val="100000"/>
                    <a:satMod val="115000"/>
                  </a:schemeClr>
                </a:gs>
              </a:gsLst>
              <a:lin ang="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90" name="Freeform: Shape 21">
              <a:extLst>
                <a:ext uri="{FF2B5EF4-FFF2-40B4-BE49-F238E27FC236}">
                  <a16:creationId xmlns="" xmlns:a16="http://schemas.microsoft.com/office/drawing/2014/main" id="{DBD93B4B-0391-45BB-ABAF-35CC6DD84314}"/>
                </a:ext>
              </a:extLst>
            </p:cNvPr>
            <p:cNvSpPr/>
            <p:nvPr/>
          </p:nvSpPr>
          <p:spPr>
            <a:xfrm rot="5400000" flipH="1" flipV="1">
              <a:off x="-1312191" y="2391025"/>
              <a:ext cx="1030976" cy="690561"/>
            </a:xfrm>
            <a:custGeom>
              <a:avLst/>
              <a:gdLst>
                <a:gd name="connsiteX0" fmla="*/ 0 w 1911245"/>
                <a:gd name="connsiteY0" fmla="*/ 0 h 1280178"/>
                <a:gd name="connsiteX1" fmla="*/ 636938 w 1911245"/>
                <a:gd name="connsiteY1" fmla="*/ 1279363 h 1280178"/>
                <a:gd name="connsiteX2" fmla="*/ 636532 w 1911245"/>
                <a:gd name="connsiteY2" fmla="*/ 1280178 h 1280178"/>
                <a:gd name="connsiteX3" fmla="*/ 637344 w 1911245"/>
                <a:gd name="connsiteY3" fmla="*/ 1280178 h 1280178"/>
                <a:gd name="connsiteX4" fmla="*/ 1911245 w 1911245"/>
                <a:gd name="connsiteY4" fmla="*/ 1280178 h 1280178"/>
                <a:gd name="connsiteX5" fmla="*/ 1274295 w 1911245"/>
                <a:gd name="connsiteY5" fmla="*/ 841 h 1280178"/>
                <a:gd name="connsiteX6" fmla="*/ 1274713 w 1911245"/>
                <a:gd name="connsiteY6" fmla="*/ 0 h 1280178"/>
                <a:gd name="connsiteX7" fmla="*/ 1273876 w 1911245"/>
                <a:gd name="connsiteY7" fmla="*/ 0 h 12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1245" h="1280178">
                  <a:moveTo>
                    <a:pt x="0" y="0"/>
                  </a:moveTo>
                  <a:lnTo>
                    <a:pt x="636938" y="1279363"/>
                  </a:lnTo>
                  <a:lnTo>
                    <a:pt x="636532" y="1280178"/>
                  </a:lnTo>
                  <a:lnTo>
                    <a:pt x="637344" y="1280178"/>
                  </a:lnTo>
                  <a:lnTo>
                    <a:pt x="1911245" y="1280178"/>
                  </a:lnTo>
                  <a:lnTo>
                    <a:pt x="1274295" y="841"/>
                  </a:lnTo>
                  <a:lnTo>
                    <a:pt x="1274713" y="0"/>
                  </a:lnTo>
                  <a:lnTo>
                    <a:pt x="1273876" y="0"/>
                  </a:lnTo>
                  <a:close/>
                </a:path>
              </a:pathLst>
            </a:custGeom>
            <a:gradFill flip="none" rotWithShape="1">
              <a:gsLst>
                <a:gs pos="2000">
                  <a:schemeClr val="accent2">
                    <a:shade val="67500"/>
                    <a:satMod val="115000"/>
                  </a:schemeClr>
                </a:gs>
                <a:gs pos="100000">
                  <a:schemeClr val="accent2">
                    <a:shade val="100000"/>
                    <a:satMod val="115000"/>
                  </a:schemeClr>
                </a:gs>
              </a:gsLst>
              <a:lin ang="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grpSp>
      <p:grpSp>
        <p:nvGrpSpPr>
          <p:cNvPr id="91" name="Group 90">
            <a:extLst>
              <a:ext uri="{FF2B5EF4-FFF2-40B4-BE49-F238E27FC236}">
                <a16:creationId xmlns="" xmlns:a16="http://schemas.microsoft.com/office/drawing/2014/main" id="{F0E495EC-2A07-4E96-BC68-427853871BAD}"/>
              </a:ext>
            </a:extLst>
          </p:cNvPr>
          <p:cNvGrpSpPr/>
          <p:nvPr/>
        </p:nvGrpSpPr>
        <p:grpSpPr>
          <a:xfrm>
            <a:off x="2005970" y="5330424"/>
            <a:ext cx="894308" cy="889078"/>
            <a:chOff x="-1834144" y="1877159"/>
            <a:chExt cx="1382721" cy="1374636"/>
          </a:xfrm>
          <a:effectLst>
            <a:outerShdw blurRad="101600" dist="38100" dir="2700000" algn="tl" rotWithShape="0">
              <a:prstClr val="black">
                <a:alpha val="25000"/>
              </a:prstClr>
            </a:outerShdw>
          </a:effectLst>
        </p:grpSpPr>
        <p:sp>
          <p:nvSpPr>
            <p:cNvPr id="92" name="Freeform: Shape 18">
              <a:extLst>
                <a:ext uri="{FF2B5EF4-FFF2-40B4-BE49-F238E27FC236}">
                  <a16:creationId xmlns="" xmlns:a16="http://schemas.microsoft.com/office/drawing/2014/main" id="{38A364B0-1704-4670-BF6E-3E78D969A4D5}"/>
                </a:ext>
              </a:extLst>
            </p:cNvPr>
            <p:cNvSpPr/>
            <p:nvPr/>
          </p:nvSpPr>
          <p:spPr>
            <a:xfrm flipV="1">
              <a:off x="-1834143" y="1877159"/>
              <a:ext cx="1382720" cy="687318"/>
            </a:xfrm>
            <a:custGeom>
              <a:avLst/>
              <a:gdLst>
                <a:gd name="connsiteX0" fmla="*/ 1281659 w 2563318"/>
                <a:gd name="connsiteY0" fmla="*/ 1768840 h 1768840"/>
                <a:gd name="connsiteX1" fmla="*/ 2563318 w 2563318"/>
                <a:gd name="connsiteY1" fmla="*/ 884420 h 1768840"/>
                <a:gd name="connsiteX2" fmla="*/ 1281659 w 2563318"/>
                <a:gd name="connsiteY2" fmla="*/ 0 h 1768840"/>
                <a:gd name="connsiteX3" fmla="*/ 0 w 2563318"/>
                <a:gd name="connsiteY3" fmla="*/ 884420 h 1768840"/>
              </a:gdLst>
              <a:ahLst/>
              <a:cxnLst>
                <a:cxn ang="0">
                  <a:pos x="connsiteX0" y="connsiteY0"/>
                </a:cxn>
                <a:cxn ang="0">
                  <a:pos x="connsiteX1" y="connsiteY1"/>
                </a:cxn>
                <a:cxn ang="0">
                  <a:pos x="connsiteX2" y="connsiteY2"/>
                </a:cxn>
                <a:cxn ang="0">
                  <a:pos x="connsiteX3" y="connsiteY3"/>
                </a:cxn>
              </a:cxnLst>
              <a:rect l="l" t="t" r="r" b="b"/>
              <a:pathLst>
                <a:path w="2563318" h="1768840">
                  <a:moveTo>
                    <a:pt x="1281659" y="1768840"/>
                  </a:moveTo>
                  <a:lnTo>
                    <a:pt x="2563318" y="884420"/>
                  </a:lnTo>
                  <a:lnTo>
                    <a:pt x="1281659" y="0"/>
                  </a:lnTo>
                  <a:lnTo>
                    <a:pt x="0" y="884420"/>
                  </a:lnTo>
                  <a:close/>
                </a:path>
              </a:pathLst>
            </a:custGeom>
            <a:gradFill flip="none" rotWithShape="1">
              <a:gsLst>
                <a:gs pos="4000">
                  <a:schemeClr val="accent2">
                    <a:shade val="67500"/>
                    <a:satMod val="115000"/>
                    <a:lumMod val="87000"/>
                  </a:schemeClr>
                </a:gs>
                <a:gs pos="100000">
                  <a:schemeClr val="accent2">
                    <a:shade val="100000"/>
                    <a:satMod val="115000"/>
                  </a:schemeClr>
                </a:gs>
              </a:gsLst>
              <a:lin ang="1620000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latin typeface="Verdana" panose="020B0604030504040204" pitchFamily="34" charset="0"/>
                <a:ea typeface="Verdana" panose="020B0604030504040204" pitchFamily="34" charset="0"/>
              </a:endParaRPr>
            </a:p>
          </p:txBody>
        </p:sp>
        <p:sp>
          <p:nvSpPr>
            <p:cNvPr id="93" name="Freeform: Shape 19">
              <a:extLst>
                <a:ext uri="{FF2B5EF4-FFF2-40B4-BE49-F238E27FC236}">
                  <a16:creationId xmlns="" xmlns:a16="http://schemas.microsoft.com/office/drawing/2014/main" id="{4B6802F8-F728-4996-A4E0-06D244DE0F1D}"/>
                </a:ext>
              </a:extLst>
            </p:cNvPr>
            <p:cNvSpPr/>
            <p:nvPr/>
          </p:nvSpPr>
          <p:spPr>
            <a:xfrm flipV="1">
              <a:off x="-1834143" y="2564477"/>
              <a:ext cx="1382720" cy="687318"/>
            </a:xfrm>
            <a:custGeom>
              <a:avLst/>
              <a:gdLst>
                <a:gd name="connsiteX0" fmla="*/ 1281659 w 2563318"/>
                <a:gd name="connsiteY0" fmla="*/ 1768840 h 1768840"/>
                <a:gd name="connsiteX1" fmla="*/ 2563318 w 2563318"/>
                <a:gd name="connsiteY1" fmla="*/ 884420 h 1768840"/>
                <a:gd name="connsiteX2" fmla="*/ 1281659 w 2563318"/>
                <a:gd name="connsiteY2" fmla="*/ 0 h 1768840"/>
                <a:gd name="connsiteX3" fmla="*/ 0 w 2563318"/>
                <a:gd name="connsiteY3" fmla="*/ 884420 h 1768840"/>
              </a:gdLst>
              <a:ahLst/>
              <a:cxnLst>
                <a:cxn ang="0">
                  <a:pos x="connsiteX0" y="connsiteY0"/>
                </a:cxn>
                <a:cxn ang="0">
                  <a:pos x="connsiteX1" y="connsiteY1"/>
                </a:cxn>
                <a:cxn ang="0">
                  <a:pos x="connsiteX2" y="connsiteY2"/>
                </a:cxn>
                <a:cxn ang="0">
                  <a:pos x="connsiteX3" y="connsiteY3"/>
                </a:cxn>
              </a:cxnLst>
              <a:rect l="l" t="t" r="r" b="b"/>
              <a:pathLst>
                <a:path w="2563318" h="1768840">
                  <a:moveTo>
                    <a:pt x="1281659" y="1768840"/>
                  </a:moveTo>
                  <a:lnTo>
                    <a:pt x="2563318" y="884420"/>
                  </a:lnTo>
                  <a:lnTo>
                    <a:pt x="1281659" y="0"/>
                  </a:lnTo>
                  <a:lnTo>
                    <a:pt x="0" y="884420"/>
                  </a:lnTo>
                  <a:close/>
                </a:path>
              </a:pathLst>
            </a:custGeom>
            <a:solidFill>
              <a:schemeClr val="bg1">
                <a:lumMod val="85000"/>
              </a:schemeClr>
            </a:soli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94" name="Freeform: Shape 20">
              <a:extLst>
                <a:ext uri="{FF2B5EF4-FFF2-40B4-BE49-F238E27FC236}">
                  <a16:creationId xmlns="" xmlns:a16="http://schemas.microsoft.com/office/drawing/2014/main" id="{C6AC7CD5-5A66-4596-8ABD-965B217C87F6}"/>
                </a:ext>
              </a:extLst>
            </p:cNvPr>
            <p:cNvSpPr/>
            <p:nvPr/>
          </p:nvSpPr>
          <p:spPr>
            <a:xfrm rot="16200000" flipH="1">
              <a:off x="-2004351" y="2391026"/>
              <a:ext cx="1030976" cy="690561"/>
            </a:xfrm>
            <a:custGeom>
              <a:avLst/>
              <a:gdLst>
                <a:gd name="connsiteX0" fmla="*/ 0 w 1911245"/>
                <a:gd name="connsiteY0" fmla="*/ 0 h 1280178"/>
                <a:gd name="connsiteX1" fmla="*/ 636938 w 1911245"/>
                <a:gd name="connsiteY1" fmla="*/ 1279363 h 1280178"/>
                <a:gd name="connsiteX2" fmla="*/ 636532 w 1911245"/>
                <a:gd name="connsiteY2" fmla="*/ 1280178 h 1280178"/>
                <a:gd name="connsiteX3" fmla="*/ 637344 w 1911245"/>
                <a:gd name="connsiteY3" fmla="*/ 1280178 h 1280178"/>
                <a:gd name="connsiteX4" fmla="*/ 1911245 w 1911245"/>
                <a:gd name="connsiteY4" fmla="*/ 1280178 h 1280178"/>
                <a:gd name="connsiteX5" fmla="*/ 1274295 w 1911245"/>
                <a:gd name="connsiteY5" fmla="*/ 841 h 1280178"/>
                <a:gd name="connsiteX6" fmla="*/ 1274713 w 1911245"/>
                <a:gd name="connsiteY6" fmla="*/ 0 h 1280178"/>
                <a:gd name="connsiteX7" fmla="*/ 1273876 w 1911245"/>
                <a:gd name="connsiteY7" fmla="*/ 0 h 12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1245" h="1280178">
                  <a:moveTo>
                    <a:pt x="0" y="0"/>
                  </a:moveTo>
                  <a:lnTo>
                    <a:pt x="636938" y="1279363"/>
                  </a:lnTo>
                  <a:lnTo>
                    <a:pt x="636532" y="1280178"/>
                  </a:lnTo>
                  <a:lnTo>
                    <a:pt x="637344" y="1280178"/>
                  </a:lnTo>
                  <a:lnTo>
                    <a:pt x="1911245" y="1280178"/>
                  </a:lnTo>
                  <a:lnTo>
                    <a:pt x="1274295" y="841"/>
                  </a:lnTo>
                  <a:lnTo>
                    <a:pt x="1274713" y="0"/>
                  </a:lnTo>
                  <a:lnTo>
                    <a:pt x="1273876" y="0"/>
                  </a:lnTo>
                  <a:close/>
                </a:path>
              </a:pathLst>
            </a:custGeom>
            <a:gradFill flip="none" rotWithShape="1">
              <a:gsLst>
                <a:gs pos="2000">
                  <a:schemeClr val="accent2">
                    <a:shade val="67500"/>
                    <a:satMod val="115000"/>
                  </a:schemeClr>
                </a:gs>
                <a:gs pos="100000">
                  <a:schemeClr val="accent2">
                    <a:shade val="100000"/>
                    <a:satMod val="115000"/>
                  </a:schemeClr>
                </a:gs>
              </a:gsLst>
              <a:lin ang="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sp>
          <p:nvSpPr>
            <p:cNvPr id="95" name="Freeform: Shape 21">
              <a:extLst>
                <a:ext uri="{FF2B5EF4-FFF2-40B4-BE49-F238E27FC236}">
                  <a16:creationId xmlns="" xmlns:a16="http://schemas.microsoft.com/office/drawing/2014/main" id="{DBD93B4B-0391-45BB-ABAF-35CC6DD84314}"/>
                </a:ext>
              </a:extLst>
            </p:cNvPr>
            <p:cNvSpPr/>
            <p:nvPr/>
          </p:nvSpPr>
          <p:spPr>
            <a:xfrm rot="5400000" flipH="1" flipV="1">
              <a:off x="-1312191" y="2391025"/>
              <a:ext cx="1030976" cy="690561"/>
            </a:xfrm>
            <a:custGeom>
              <a:avLst/>
              <a:gdLst>
                <a:gd name="connsiteX0" fmla="*/ 0 w 1911245"/>
                <a:gd name="connsiteY0" fmla="*/ 0 h 1280178"/>
                <a:gd name="connsiteX1" fmla="*/ 636938 w 1911245"/>
                <a:gd name="connsiteY1" fmla="*/ 1279363 h 1280178"/>
                <a:gd name="connsiteX2" fmla="*/ 636532 w 1911245"/>
                <a:gd name="connsiteY2" fmla="*/ 1280178 h 1280178"/>
                <a:gd name="connsiteX3" fmla="*/ 637344 w 1911245"/>
                <a:gd name="connsiteY3" fmla="*/ 1280178 h 1280178"/>
                <a:gd name="connsiteX4" fmla="*/ 1911245 w 1911245"/>
                <a:gd name="connsiteY4" fmla="*/ 1280178 h 1280178"/>
                <a:gd name="connsiteX5" fmla="*/ 1274295 w 1911245"/>
                <a:gd name="connsiteY5" fmla="*/ 841 h 1280178"/>
                <a:gd name="connsiteX6" fmla="*/ 1274713 w 1911245"/>
                <a:gd name="connsiteY6" fmla="*/ 0 h 1280178"/>
                <a:gd name="connsiteX7" fmla="*/ 1273876 w 1911245"/>
                <a:gd name="connsiteY7" fmla="*/ 0 h 12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1245" h="1280178">
                  <a:moveTo>
                    <a:pt x="0" y="0"/>
                  </a:moveTo>
                  <a:lnTo>
                    <a:pt x="636938" y="1279363"/>
                  </a:lnTo>
                  <a:lnTo>
                    <a:pt x="636532" y="1280178"/>
                  </a:lnTo>
                  <a:lnTo>
                    <a:pt x="637344" y="1280178"/>
                  </a:lnTo>
                  <a:lnTo>
                    <a:pt x="1911245" y="1280178"/>
                  </a:lnTo>
                  <a:lnTo>
                    <a:pt x="1274295" y="841"/>
                  </a:lnTo>
                  <a:lnTo>
                    <a:pt x="1274713" y="0"/>
                  </a:lnTo>
                  <a:lnTo>
                    <a:pt x="1273876" y="0"/>
                  </a:lnTo>
                  <a:close/>
                </a:path>
              </a:pathLst>
            </a:custGeom>
            <a:gradFill flip="none" rotWithShape="1">
              <a:gsLst>
                <a:gs pos="2000">
                  <a:schemeClr val="accent2">
                    <a:shade val="67500"/>
                    <a:satMod val="115000"/>
                  </a:schemeClr>
                </a:gs>
                <a:gs pos="100000">
                  <a:schemeClr val="accent2">
                    <a:shade val="100000"/>
                    <a:satMod val="115000"/>
                  </a:schemeClr>
                </a:gs>
              </a:gsLst>
              <a:lin ang="0" scaled="1"/>
              <a:tileRect/>
            </a:gradFill>
            <a:ln>
              <a:noFill/>
            </a:ln>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latin typeface="Verdana" panose="020B0604030504040204" pitchFamily="34" charset="0"/>
                <a:ea typeface="Verdana" panose="020B0604030504040204" pitchFamily="34" charset="0"/>
              </a:endParaRPr>
            </a:p>
          </p:txBody>
        </p:sp>
      </p:grpSp>
    </p:spTree>
    <p:extLst>
      <p:ext uri="{BB962C8B-B14F-4D97-AF65-F5344CB8AC3E}">
        <p14:creationId xmlns:p14="http://schemas.microsoft.com/office/powerpoint/2010/main" val="644220184"/>
      </p:ext>
    </p:extLst>
  </p:cSld>
  <p:clrMapOvr>
    <a:masterClrMapping/>
  </p:clrMapOvr>
  <p:transition spd="slow">
    <p:push dir="u"/>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DESIGN_ID_LEVEL UP! POWERPOINT" val="nCGhHneJ"/>
  <p:tag name="ARTICULATE_SLIDE_THUMBNAIL_REFRESH" val="1"/>
  <p:tag name="ARTICULATE_SLIDE_COUNT" val="2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g_ZcveFcTuSouPSNhUDFiQ"/>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xWafMjsWiZAvtFQNKyrAw"/>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2.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ppt/theme/theme3.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docProps/app.xml><?xml version="1.0" encoding="utf-8"?>
<Properties xmlns="http://schemas.openxmlformats.org/officeDocument/2006/extended-properties" xmlns:vt="http://schemas.openxmlformats.org/officeDocument/2006/docPropsVTypes">
  <Template>YouTube Template</Template>
  <TotalTime>5748</TotalTime>
  <Words>383</Words>
  <Application>Microsoft Office PowerPoint</Application>
  <PresentationFormat>Widescreen</PresentationFormat>
  <Paragraphs>97</Paragraphs>
  <Slides>13</Slides>
  <Notes>3</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5" baseType="lpstr">
      <vt:lpstr>Algerian</vt:lpstr>
      <vt:lpstr>Arial</vt:lpstr>
      <vt:lpstr>Calibri</vt:lpstr>
      <vt:lpstr>Lato</vt:lpstr>
      <vt:lpstr>Segoe UI Black</vt:lpstr>
      <vt:lpstr>Segoe UI Semibold</vt:lpstr>
      <vt:lpstr>Symbol</vt:lpstr>
      <vt:lpstr>Times New Roman</vt:lpstr>
      <vt:lpstr>Verdana</vt:lpstr>
      <vt:lpstr>Wingdings 2</vt:lpstr>
      <vt:lpstr>Level up! PowerPoint</vt:lpstr>
      <vt:lpstr>think-cell Slide</vt:lpstr>
      <vt:lpstr>PowerPoint Presentation</vt:lpstr>
      <vt:lpstr>                                        CONT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dach, Martyna</dc:creator>
  <cp:keywords/>
  <cp:lastModifiedBy>Admin</cp:lastModifiedBy>
  <cp:revision>94</cp:revision>
  <dcterms:created xsi:type="dcterms:W3CDTF">2018-05-09T07:34:30Z</dcterms:created>
  <dcterms:modified xsi:type="dcterms:W3CDTF">2023-07-08T02:4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S</vt:lpwstr>
  </property>
  <property fmtid="{D5CDD505-2E9C-101B-9397-08002B2CF9AE}" pid="3" name="ArticulateGUID">
    <vt:lpwstr>BF279434-19CC-4F2C-940F-B1DCEF3AD2ED</vt:lpwstr>
  </property>
  <property fmtid="{D5CDD505-2E9C-101B-9397-08002B2CF9AE}" pid="4" name="ArticulatePath">
    <vt:lpwstr>Create carousel effect with Morph - Template</vt:lpwstr>
  </property>
</Properties>
</file>